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29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docProps/custom.xml" ContentType="application/vnd.openxmlformats-officedocument.custom-propertie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slideLayouts/slideLayout16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Default Extension="gif" ContentType="image/gif"/>
  <Override PartName="/ppt/tags/tag3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98" r:id="rId1"/>
    <p:sldMasterId id="2147483716" r:id="rId2"/>
    <p:sldMasterId id="2147483718" r:id="rId3"/>
    <p:sldMasterId id="2147483719" r:id="rId4"/>
  </p:sldMasterIdLst>
  <p:notesMasterIdLst>
    <p:notesMasterId r:id="rId16"/>
  </p:notesMasterIdLst>
  <p:handoutMasterIdLst>
    <p:handoutMasterId r:id="rId17"/>
  </p:handoutMasterIdLst>
  <p:sldIdLst>
    <p:sldId id="353" r:id="rId5"/>
    <p:sldId id="377" r:id="rId6"/>
    <p:sldId id="356" r:id="rId7"/>
    <p:sldId id="368" r:id="rId8"/>
    <p:sldId id="367" r:id="rId9"/>
    <p:sldId id="369" r:id="rId10"/>
    <p:sldId id="359" r:id="rId11"/>
    <p:sldId id="358" r:id="rId12"/>
    <p:sldId id="375" r:id="rId13"/>
    <p:sldId id="373" r:id="rId14"/>
    <p:sldId id="376" r:id="rId15"/>
  </p:sldIdLst>
  <p:sldSz cx="9144000" cy="6858000" type="screen4x3"/>
  <p:notesSz cx="7102475" cy="8991600"/>
  <p:custDataLst>
    <p:tags r:id="rId18"/>
  </p:custDataLst>
  <p:defaultTextStyle>
    <a:defPPr>
      <a:defRPr lang="en-US"/>
    </a:defPPr>
    <a:lvl1pPr algn="ctr" rtl="0" fontAlgn="base">
      <a:lnSpc>
        <a:spcPct val="90000"/>
      </a:lnSpc>
      <a:spcBef>
        <a:spcPct val="5000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lnSpc>
        <a:spcPct val="90000"/>
      </a:lnSpc>
      <a:spcBef>
        <a:spcPct val="5000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lnSpc>
        <a:spcPct val="90000"/>
      </a:lnSpc>
      <a:spcBef>
        <a:spcPct val="5000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lnSpc>
        <a:spcPct val="90000"/>
      </a:lnSpc>
      <a:spcBef>
        <a:spcPct val="5000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lnSpc>
        <a:spcPct val="90000"/>
      </a:lnSpc>
      <a:spcBef>
        <a:spcPct val="5000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205688"/>
    <a:srgbClr val="BCBCBC"/>
    <a:srgbClr val="225D92"/>
    <a:srgbClr val="215B8F"/>
    <a:srgbClr val="89B426"/>
    <a:srgbClr val="A5A5A5"/>
    <a:srgbClr val="E05627"/>
    <a:srgbClr val="0000CC"/>
    <a:srgbClr val="FF6600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59" autoAdjust="0"/>
    <p:restoredTop sz="95101" autoAdjust="0"/>
  </p:normalViewPr>
  <p:slideViewPr>
    <p:cSldViewPr snapToGrid="0">
      <p:cViewPr varScale="1">
        <p:scale>
          <a:sx n="82" d="100"/>
          <a:sy n="82" d="100"/>
        </p:scale>
        <p:origin x="-1086" y="-90"/>
      </p:cViewPr>
      <p:guideLst>
        <p:guide orient="horz" pos="1010"/>
        <p:guide orient="horz" pos="3891"/>
        <p:guide pos="2880"/>
        <p:guide pos="372"/>
        <p:guide pos="541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54" d="100"/>
          <a:sy n="54" d="100"/>
        </p:scale>
        <p:origin x="-1776" y="-102"/>
      </p:cViewPr>
      <p:guideLst>
        <p:guide orient="horz" pos="2832"/>
        <p:guide pos="2237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492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492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623381-AFEF-490F-AA45-31EC49CF1500}" type="datetimeFigureOut">
              <a:rPr lang="en-US" smtClean="0"/>
              <a:pPr/>
              <a:t>4/12/201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540750"/>
            <a:ext cx="3078163" cy="4492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2725" y="8540750"/>
            <a:ext cx="3078163" cy="4492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5BF31A-114D-494C-A5D5-F6526D175277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492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2725" y="0"/>
            <a:ext cx="3078163" cy="4492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CA216A-1E3F-4AD2-B74F-855E5673142F}" type="datetimeFigureOut">
              <a:rPr lang="en-US" smtClean="0"/>
              <a:pPr/>
              <a:t>4/12/201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03338" y="674688"/>
            <a:ext cx="4495800" cy="33718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613" y="4270375"/>
            <a:ext cx="5683250" cy="40465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540750"/>
            <a:ext cx="3078163" cy="4492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2725" y="8540750"/>
            <a:ext cx="3078163" cy="4492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A09BFF-9304-4EE8-967B-56F816FBB8C1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2CEE6AB-1D9B-4925-8FC0-3ED77D8DBF48}" type="slidenum">
              <a:rPr lang="en-US"/>
              <a:pPr/>
              <a:t>1</a:t>
            </a:fld>
            <a:endParaRPr lang="en-US"/>
          </a:p>
        </p:txBody>
      </p:sp>
      <p:sp>
        <p:nvSpPr>
          <p:cNvPr id="3502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298575" y="663575"/>
            <a:ext cx="4519613" cy="3389313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5021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27100" y="4273550"/>
            <a:ext cx="5262563" cy="405447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>
              <a:buClr>
                <a:schemeClr val="accent2"/>
              </a:buClr>
              <a:buFontTx/>
              <a:buChar char="•"/>
            </a:pPr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A09BFF-9304-4EE8-967B-56F816FBB8C1}" type="slidenum">
              <a:rPr lang="en-US" smtClean="0"/>
              <a:pPr/>
              <a:t>3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A9F5EE-0D4C-4970-BA7D-30B25F9EC1A9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282237A-1C09-4481-B961-29CC488C78D8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0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14045-A123Systems-nopic2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555016" name="Rectangle 8"/>
          <p:cNvSpPr>
            <a:spLocks noGrp="1" noChangeArrowheads="1"/>
          </p:cNvSpPr>
          <p:nvPr>
            <p:ph type="ctrTitle" sz="quarter"/>
          </p:nvPr>
        </p:nvSpPr>
        <p:spPr>
          <a:xfrm>
            <a:off x="3076574" y="3048000"/>
            <a:ext cx="5210175" cy="1162050"/>
          </a:xfrm>
        </p:spPr>
        <p:txBody>
          <a:bodyPr anchor="t" anchorCtr="0"/>
          <a:lstStyle>
            <a:lvl1pPr>
              <a:defRPr sz="2800" b="1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55017" name="Rectangle 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267324" y="5724524"/>
            <a:ext cx="3343275" cy="504825"/>
          </a:xfrm>
        </p:spPr>
        <p:txBody>
          <a:bodyPr anchor="b" anchorCtr="0"/>
          <a:lstStyle>
            <a:lvl1pPr marL="0" indent="0" algn="r">
              <a:spcBef>
                <a:spcPct val="25000"/>
              </a:spcBef>
              <a:buFontTx/>
              <a:buNone/>
              <a:defRPr sz="1800" b="1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6" name="Picture 5" descr="a123-logo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6553251" y="1325267"/>
            <a:ext cx="1276299" cy="1065507"/>
          </a:xfrm>
          <a:prstGeom prst="rect">
            <a:avLst/>
          </a:prstGeom>
        </p:spPr>
      </p:pic>
      <p:sp>
        <p:nvSpPr>
          <p:cNvPr id="7" name="Text Box 12"/>
          <p:cNvSpPr txBox="1">
            <a:spLocks noChangeArrowheads="1"/>
          </p:cNvSpPr>
          <p:nvPr userDrawn="1"/>
        </p:nvSpPr>
        <p:spPr bwMode="auto">
          <a:xfrm>
            <a:off x="1933575" y="6557963"/>
            <a:ext cx="5600700" cy="3000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©2011 A123 Systems, Inc. All rights reserved. </a:t>
            </a:r>
          </a:p>
        </p:txBody>
      </p:sp>
      <p:pic>
        <p:nvPicPr>
          <p:cNvPr id="12" name="Picture 11" descr="productshot.png"/>
          <p:cNvPicPr>
            <a:picLocks noChangeAspect="1"/>
          </p:cNvPicPr>
          <p:nvPr userDrawn="1"/>
        </p:nvPicPr>
        <p:blipFill>
          <a:blip r:embed="rId4" cstate="print"/>
          <a:srcRect b="7490"/>
          <a:stretch>
            <a:fillRect/>
          </a:stretch>
        </p:blipFill>
        <p:spPr>
          <a:xfrm>
            <a:off x="607695" y="1512570"/>
            <a:ext cx="2400300" cy="4352925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9110" y="1547813"/>
            <a:ext cx="3886200" cy="471487"/>
          </a:xfrm>
        </p:spPr>
        <p:txBody>
          <a:bodyPr anchor="t" anchorCtr="0"/>
          <a:lstStyle>
            <a:lvl1pPr marL="0" indent="0"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9110" y="2057400"/>
            <a:ext cx="3886200" cy="4119563"/>
          </a:xfrm>
        </p:spPr>
        <p:txBody>
          <a:bodyPr/>
          <a:lstStyle>
            <a:lvl1pPr>
              <a:spcBef>
                <a:spcPts val="1000"/>
              </a:spcBef>
              <a:defRPr sz="2000">
                <a:solidFill>
                  <a:schemeClr val="tx1"/>
                </a:solidFill>
              </a:defRPr>
            </a:lvl1pPr>
            <a:lvl2pPr>
              <a:spcBef>
                <a:spcPts val="500"/>
              </a:spcBef>
              <a:defRPr sz="1800">
                <a:solidFill>
                  <a:schemeClr val="tx1"/>
                </a:solidFill>
              </a:defRPr>
            </a:lvl2pPr>
            <a:lvl3pPr>
              <a:spcBef>
                <a:spcPts val="500"/>
              </a:spcBef>
              <a:defRPr sz="1600">
                <a:solidFill>
                  <a:schemeClr val="tx1"/>
                </a:solidFill>
              </a:defRPr>
            </a:lvl3pPr>
            <a:lvl4pPr>
              <a:spcBef>
                <a:spcPts val="5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500"/>
              </a:spcBef>
              <a:defRPr sz="14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06938" y="1547813"/>
            <a:ext cx="3886200" cy="471487"/>
          </a:xfrm>
        </p:spPr>
        <p:txBody>
          <a:bodyPr anchor="t" anchorCtr="0"/>
          <a:lstStyle>
            <a:lvl1pPr marL="0" indent="0"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938" y="2057400"/>
            <a:ext cx="3886200" cy="4119563"/>
          </a:xfrm>
        </p:spPr>
        <p:txBody>
          <a:bodyPr/>
          <a:lstStyle>
            <a:lvl1pPr>
              <a:spcBef>
                <a:spcPts val="1000"/>
              </a:spcBef>
              <a:defRPr sz="2000">
                <a:solidFill>
                  <a:schemeClr val="tx1"/>
                </a:solidFill>
              </a:defRPr>
            </a:lvl1pPr>
            <a:lvl2pPr>
              <a:spcBef>
                <a:spcPts val="500"/>
              </a:spcBef>
              <a:defRPr sz="1800">
                <a:solidFill>
                  <a:schemeClr val="tx1"/>
                </a:solidFill>
              </a:defRPr>
            </a:lvl2pPr>
            <a:lvl3pPr>
              <a:spcBef>
                <a:spcPts val="500"/>
              </a:spcBef>
              <a:defRPr sz="1600">
                <a:solidFill>
                  <a:schemeClr val="tx1"/>
                </a:solidFill>
              </a:defRPr>
            </a:lvl3pPr>
            <a:lvl4pPr>
              <a:spcBef>
                <a:spcPts val="5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500"/>
              </a:spcBef>
              <a:defRPr sz="14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321305F-3962-4A09-9B23-6CBFE81178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115887"/>
            <a:ext cx="7448550" cy="893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47380D1-7BC0-46D4-AC2E-88A3362E420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115887"/>
            <a:ext cx="7448550" cy="893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6C49D50-9655-48EF-8F65-7FDD0C8FC517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95300" y="1603375"/>
            <a:ext cx="8002588" cy="457358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5" name="Slide Number Placeholder 2"/>
          <p:cNvSpPr txBox="1">
            <a:spLocks/>
          </p:cNvSpPr>
          <p:nvPr userDrawn="1"/>
        </p:nvSpPr>
        <p:spPr bwMode="auto">
          <a:xfrm>
            <a:off x="8151813" y="6557963"/>
            <a:ext cx="803275" cy="223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7380D1-7BC0-46D4-AC2E-88A3362E420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115887"/>
            <a:ext cx="7448550" cy="893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E84E7EE-6E84-4A2F-9C63-5C0BA41A9818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E84E7EE-6E84-4A2F-9C63-5C0BA41A981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head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838325"/>
            <a:ext cx="8002588" cy="43338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E84E7EE-6E84-4A2F-9C63-5C0BA41A9818}" type="slidenum">
              <a:rPr lang="en-US" smtClean="0">
                <a:solidFill>
                  <a:srgbClr val="535353"/>
                </a:solidFill>
              </a:rPr>
              <a:pPr/>
              <a:t>‹#›</a:t>
            </a:fld>
            <a:endParaRPr lang="en-US">
              <a:solidFill>
                <a:srgbClr val="535353"/>
              </a:solidFill>
            </a:endParaRPr>
          </a:p>
        </p:txBody>
      </p:sp>
      <p:sp>
        <p:nvSpPr>
          <p:cNvPr id="5" name="Text Placeholder 2"/>
          <p:cNvSpPr>
            <a:spLocks noGrp="1"/>
          </p:cNvSpPr>
          <p:nvPr>
            <p:ph type="body" idx="11"/>
          </p:nvPr>
        </p:nvSpPr>
        <p:spPr>
          <a:xfrm>
            <a:off x="495300" y="1023938"/>
            <a:ext cx="7397476" cy="639762"/>
          </a:xfrm>
        </p:spPr>
        <p:txBody>
          <a:bodyPr anchor="t" anchorCtr="0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115887"/>
            <a:ext cx="7448550" cy="893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14045-A123Systems-nopic2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555016" name="Rectangle 8"/>
          <p:cNvSpPr>
            <a:spLocks noGrp="1" noChangeArrowheads="1"/>
          </p:cNvSpPr>
          <p:nvPr>
            <p:ph type="ctrTitle" sz="quarter"/>
          </p:nvPr>
        </p:nvSpPr>
        <p:spPr>
          <a:xfrm>
            <a:off x="3764280" y="3048000"/>
            <a:ext cx="4522469" cy="1162050"/>
          </a:xfrm>
        </p:spPr>
        <p:txBody>
          <a:bodyPr anchor="t" anchorCtr="0"/>
          <a:lstStyle>
            <a:lvl1pPr>
              <a:defRPr sz="2800" b="1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6" name="Picture 5" descr="a123-logo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6553251" y="1325267"/>
            <a:ext cx="1276299" cy="1065507"/>
          </a:xfrm>
          <a:prstGeom prst="rect">
            <a:avLst/>
          </a:prstGeom>
        </p:spPr>
      </p:pic>
      <p:sp>
        <p:nvSpPr>
          <p:cNvPr id="7" name="Text Box 12"/>
          <p:cNvSpPr txBox="1">
            <a:spLocks noChangeArrowheads="1"/>
          </p:cNvSpPr>
          <p:nvPr userDrawn="1"/>
        </p:nvSpPr>
        <p:spPr bwMode="auto">
          <a:xfrm>
            <a:off x="1933575" y="6557963"/>
            <a:ext cx="5600700" cy="3000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</a:pPr>
            <a:r>
              <a:rPr lang="en-US" sz="1000" dirty="0" smtClean="0">
                <a:solidFill>
                  <a:schemeClr val="tx2"/>
                </a:solidFill>
                <a:latin typeface="Calibri" pitchFamily="34" charset="0"/>
                <a:cs typeface="Arial" charset="0"/>
              </a:rPr>
              <a:t>©2011 A123 Systems, Inc. All rights reserved. </a:t>
            </a:r>
          </a:p>
        </p:txBody>
      </p:sp>
      <p:pic>
        <p:nvPicPr>
          <p:cNvPr id="10" name="Picture 9" descr="batteriesCover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752193" y="1616327"/>
            <a:ext cx="3198424" cy="3683578"/>
          </a:xfrm>
          <a:prstGeom prst="rect">
            <a:avLst/>
          </a:prstGeom>
        </p:spPr>
      </p:pic>
      <p:sp>
        <p:nvSpPr>
          <p:cNvPr id="11" name="Rectangle 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267324" y="5724524"/>
            <a:ext cx="3343275" cy="504825"/>
          </a:xfrm>
        </p:spPr>
        <p:txBody>
          <a:bodyPr anchor="b" anchorCtr="0"/>
          <a:lstStyle>
            <a:lvl1pPr marL="0" indent="0" algn="r">
              <a:spcBef>
                <a:spcPct val="25000"/>
              </a:spcBef>
              <a:buFontTx/>
              <a:buNone/>
              <a:defRPr sz="1800" b="1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14045-A123Systems-nopic2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555016" name="Rectangle 8"/>
          <p:cNvSpPr>
            <a:spLocks noGrp="1" noChangeArrowheads="1"/>
          </p:cNvSpPr>
          <p:nvPr>
            <p:ph type="ctrTitle" sz="quarter"/>
          </p:nvPr>
        </p:nvSpPr>
        <p:spPr>
          <a:xfrm>
            <a:off x="3764280" y="3048000"/>
            <a:ext cx="4522469" cy="1162050"/>
          </a:xfrm>
        </p:spPr>
        <p:txBody>
          <a:bodyPr anchor="t" anchorCtr="0"/>
          <a:lstStyle>
            <a:lvl1pPr>
              <a:defRPr sz="2800" b="1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6" name="Picture 5" descr="a123-logo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6553251" y="1325267"/>
            <a:ext cx="1276299" cy="1065507"/>
          </a:xfrm>
          <a:prstGeom prst="rect">
            <a:avLst/>
          </a:prstGeom>
        </p:spPr>
      </p:pic>
      <p:sp>
        <p:nvSpPr>
          <p:cNvPr id="7" name="Text Box 12"/>
          <p:cNvSpPr txBox="1">
            <a:spLocks noChangeArrowheads="1"/>
          </p:cNvSpPr>
          <p:nvPr userDrawn="1"/>
        </p:nvSpPr>
        <p:spPr bwMode="auto">
          <a:xfrm>
            <a:off x="1933575" y="6557963"/>
            <a:ext cx="5600700" cy="3000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</a:pPr>
            <a:r>
              <a:rPr lang="en-US" sz="1000" dirty="0" smtClean="0">
                <a:solidFill>
                  <a:schemeClr val="tx2"/>
                </a:solidFill>
                <a:latin typeface="Calibri" pitchFamily="34" charset="0"/>
                <a:cs typeface="Arial" charset="0"/>
              </a:rPr>
              <a:t>©2011 A123 Systems, Inc. All rights reserved. </a:t>
            </a:r>
          </a:p>
        </p:txBody>
      </p:sp>
      <p:sp>
        <p:nvSpPr>
          <p:cNvPr id="11" name="Rectangle 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267324" y="5724524"/>
            <a:ext cx="3343275" cy="504825"/>
          </a:xfrm>
        </p:spPr>
        <p:txBody>
          <a:bodyPr anchor="b" anchorCtr="0"/>
          <a:lstStyle>
            <a:lvl1pPr marL="0" indent="0" algn="r">
              <a:spcBef>
                <a:spcPct val="25000"/>
              </a:spcBef>
              <a:buFontTx/>
              <a:buNone/>
              <a:defRPr sz="1800" b="1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3" name="Picture 12" descr="A123-057-2.png"/>
          <p:cNvPicPr>
            <a:picLocks noChangeAspect="1"/>
          </p:cNvPicPr>
          <p:nvPr userDrawn="1"/>
        </p:nvPicPr>
        <p:blipFill>
          <a:blip r:embed="rId4" cstate="screen"/>
          <a:stretch>
            <a:fillRect/>
          </a:stretch>
        </p:blipFill>
        <p:spPr>
          <a:xfrm>
            <a:off x="534094" y="266700"/>
            <a:ext cx="3352660" cy="4467225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E84E7EE-6E84-4A2F-9C63-5C0BA41A9818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head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838325"/>
            <a:ext cx="8002588" cy="43338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E84E7EE-6E84-4A2F-9C63-5C0BA41A98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2"/>
          <p:cNvSpPr>
            <a:spLocks noGrp="1"/>
          </p:cNvSpPr>
          <p:nvPr>
            <p:ph type="body" idx="11"/>
          </p:nvPr>
        </p:nvSpPr>
        <p:spPr>
          <a:xfrm>
            <a:off x="495300" y="1023938"/>
            <a:ext cx="7397476" cy="639762"/>
          </a:xfrm>
        </p:spPr>
        <p:txBody>
          <a:bodyPr anchor="t" anchorCtr="0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115887"/>
            <a:ext cx="7448550" cy="893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3" y="4406900"/>
            <a:ext cx="5952807" cy="1362075"/>
          </a:xfrm>
        </p:spPr>
        <p:txBody>
          <a:bodyPr anchor="t"/>
          <a:lstStyle>
            <a:lvl1pPr algn="l">
              <a:defRPr sz="2800" b="1" cap="none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5952807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D6A183C-4561-4812-9558-7D9CE5A5315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 descr="productshot.png"/>
          <p:cNvPicPr>
            <a:picLocks noChangeAspect="1"/>
          </p:cNvPicPr>
          <p:nvPr userDrawn="1"/>
        </p:nvPicPr>
        <p:blipFill>
          <a:blip r:embed="rId2" cstate="print"/>
          <a:srcRect b="7490"/>
          <a:stretch>
            <a:fillRect/>
          </a:stretch>
        </p:blipFill>
        <p:spPr>
          <a:xfrm>
            <a:off x="6429375" y="2381250"/>
            <a:ext cx="2400300" cy="4352925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3" y="4406900"/>
            <a:ext cx="5388927" cy="1362075"/>
          </a:xfrm>
        </p:spPr>
        <p:txBody>
          <a:bodyPr anchor="t"/>
          <a:lstStyle>
            <a:lvl1pPr algn="l">
              <a:defRPr sz="2800" b="1" cap="none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5388927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ED6A183C-4561-4812-9558-7D9CE5A5315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batteriesCover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6081098" y="3405353"/>
            <a:ext cx="3046026" cy="3508063"/>
          </a:xfrm>
          <a:prstGeom prst="rect">
            <a:avLst/>
          </a:prstGeom>
        </p:spPr>
      </p:pic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3" y="4406900"/>
            <a:ext cx="5388927" cy="1362075"/>
          </a:xfrm>
        </p:spPr>
        <p:txBody>
          <a:bodyPr anchor="t"/>
          <a:lstStyle>
            <a:lvl1pPr algn="l">
              <a:defRPr sz="2800" b="1" cap="none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5388927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D6A183C-4561-4812-9558-7D9CE5A5315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 descr="A123-057-2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5744269" y="1905000"/>
            <a:ext cx="3352660" cy="4467225"/>
          </a:xfrm>
          <a:prstGeom prst="rect">
            <a:avLst/>
          </a:prstGeom>
        </p:spPr>
      </p:pic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3375"/>
            <a:ext cx="3813048" cy="4573588"/>
          </a:xfrm>
        </p:spPr>
        <p:txBody>
          <a:bodyPr/>
          <a:lstStyle>
            <a:lvl1pPr>
              <a:spcBef>
                <a:spcPts val="1000"/>
              </a:spcBef>
              <a:defRPr sz="2000">
                <a:solidFill>
                  <a:schemeClr val="tx1"/>
                </a:solidFill>
              </a:defRPr>
            </a:lvl1pPr>
            <a:lvl2pPr>
              <a:spcBef>
                <a:spcPts val="500"/>
              </a:spcBef>
              <a:defRPr sz="1800">
                <a:solidFill>
                  <a:schemeClr val="tx1"/>
                </a:solidFill>
              </a:defRPr>
            </a:lvl2pPr>
            <a:lvl3pPr>
              <a:spcBef>
                <a:spcPts val="500"/>
              </a:spcBef>
              <a:defRPr sz="1600">
                <a:solidFill>
                  <a:schemeClr val="tx1"/>
                </a:solidFill>
              </a:defRPr>
            </a:lvl3pPr>
            <a:lvl4pPr>
              <a:spcBef>
                <a:spcPts val="5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500"/>
              </a:spcBef>
              <a:defRPr sz="14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80090" y="1603375"/>
            <a:ext cx="3813048" cy="4573588"/>
          </a:xfrm>
        </p:spPr>
        <p:txBody>
          <a:bodyPr/>
          <a:lstStyle>
            <a:lvl1pPr>
              <a:spcBef>
                <a:spcPts val="1000"/>
              </a:spcBef>
              <a:defRPr sz="2000">
                <a:solidFill>
                  <a:schemeClr val="tx1"/>
                </a:solidFill>
              </a:defRPr>
            </a:lvl1pPr>
            <a:lvl2pPr>
              <a:spcBef>
                <a:spcPts val="500"/>
              </a:spcBef>
              <a:defRPr sz="1800">
                <a:solidFill>
                  <a:schemeClr val="tx1"/>
                </a:solidFill>
              </a:defRPr>
            </a:lvl2pPr>
            <a:lvl3pPr>
              <a:spcBef>
                <a:spcPts val="500"/>
              </a:spcBef>
              <a:defRPr sz="1600">
                <a:solidFill>
                  <a:schemeClr val="tx1"/>
                </a:solidFill>
              </a:defRPr>
            </a:lvl3pPr>
            <a:lvl4pPr>
              <a:spcBef>
                <a:spcPts val="5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500"/>
              </a:spcBef>
              <a:defRPr sz="14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8160E30-BCB0-4018-B3F8-1F932C285D8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115887"/>
            <a:ext cx="7448550" cy="893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2.png"/><Relationship Id="rId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98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115887"/>
            <a:ext cx="7448550" cy="893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55398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3375"/>
            <a:ext cx="8002588" cy="4573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53989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151813" y="6557963"/>
            <a:ext cx="803275" cy="223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100000"/>
              </a:lnSpc>
              <a:spcBef>
                <a:spcPct val="0"/>
              </a:spcBef>
              <a:defRPr sz="1000">
                <a:solidFill>
                  <a:schemeClr val="tx2"/>
                </a:solidFill>
                <a:latin typeface="Calibri" pitchFamily="34" charset="0"/>
              </a:defRPr>
            </a:lvl1pPr>
          </a:lstStyle>
          <a:p>
            <a:fld id="{2C78AFB4-C6FC-46C2-866E-1D035D18C51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53996" name="Text Box 12"/>
          <p:cNvSpPr txBox="1">
            <a:spLocks noChangeArrowheads="1"/>
          </p:cNvSpPr>
          <p:nvPr/>
        </p:nvSpPr>
        <p:spPr bwMode="auto">
          <a:xfrm>
            <a:off x="1933575" y="6557963"/>
            <a:ext cx="5600700" cy="3000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©2011 A123 Systems, Inc. All rights reserved. </a:t>
            </a:r>
          </a:p>
        </p:txBody>
      </p:sp>
      <p:pic>
        <p:nvPicPr>
          <p:cNvPr id="7" name="Picture 6" descr="14045-A123-bkg.jpg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0" y="0"/>
            <a:ext cx="361950" cy="6858000"/>
          </a:xfrm>
          <a:prstGeom prst="rect">
            <a:avLst/>
          </a:prstGeom>
        </p:spPr>
      </p:pic>
      <p:pic>
        <p:nvPicPr>
          <p:cNvPr id="8" name="Picture 7" descr="a123-logo.png"/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7943850" y="136972"/>
            <a:ext cx="952499" cy="79518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12" r:id="rId2"/>
    <p:sldLayoutId id="2147483714" r:id="rId3"/>
    <p:sldLayoutId id="2147483700" r:id="rId4"/>
    <p:sldLayoutId id="2147483711" r:id="rId5"/>
    <p:sldLayoutId id="2147483701" r:id="rId6"/>
    <p:sldLayoutId id="2147483713" r:id="rId7"/>
    <p:sldLayoutId id="2147483715" r:id="rId8"/>
    <p:sldLayoutId id="2147483702" r:id="rId9"/>
    <p:sldLayoutId id="2147483703" r:id="rId10"/>
    <p:sldLayoutId id="2147483704" r:id="rId11"/>
    <p:sldLayoutId id="2147483705" r:id="rId12"/>
    <p:sldLayoutId id="2147483710" r:id="rId13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Calibri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9pPr>
    </p:titleStyle>
    <p:bodyStyle>
      <a:lvl1pPr marL="285750" indent="-285750" algn="l" rtl="0" eaLnBrk="1" fontAlgn="base" hangingPunct="1">
        <a:lnSpc>
          <a:spcPct val="95000"/>
        </a:lnSpc>
        <a:spcBef>
          <a:spcPts val="1200"/>
        </a:spcBef>
        <a:spcAft>
          <a:spcPct val="0"/>
        </a:spcAft>
        <a:buClr>
          <a:schemeClr val="accent1"/>
        </a:buClr>
        <a:buChar char="•"/>
        <a:defRPr sz="2400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628650" indent="-228600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chemeClr val="accent1"/>
        </a:buClr>
        <a:buFont typeface="Calibri" pitchFamily="34" charset="0"/>
        <a:buChar char="+"/>
        <a:defRPr sz="2000">
          <a:solidFill>
            <a:schemeClr val="tx1"/>
          </a:solidFill>
          <a:latin typeface="Calibri" pitchFamily="34" charset="0"/>
        </a:defRPr>
      </a:lvl2pPr>
      <a:lvl3pPr marL="1028700" indent="-228600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chemeClr val="tx2">
            <a:lumMod val="90000"/>
            <a:lumOff val="10000"/>
          </a:schemeClr>
        </a:buClr>
        <a:buFont typeface="Calibri" pitchFamily="34" charset="0"/>
        <a:buChar char="–"/>
        <a:defRPr>
          <a:solidFill>
            <a:schemeClr val="tx1"/>
          </a:solidFill>
          <a:latin typeface="Calibri" pitchFamily="34" charset="0"/>
        </a:defRPr>
      </a:lvl3pPr>
      <a:lvl4pPr marL="1428750" indent="-285750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chemeClr val="accent1"/>
        </a:buClr>
        <a:buChar char="–"/>
        <a:defRPr>
          <a:solidFill>
            <a:schemeClr val="tx1"/>
          </a:solidFill>
          <a:latin typeface="Calibri" pitchFamily="34" charset="0"/>
        </a:defRPr>
      </a:lvl4pPr>
      <a:lvl5pPr marL="1771650" indent="-228600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chemeClr val="accent1"/>
        </a:buClr>
        <a:buChar char="•"/>
        <a:defRPr sz="1600">
          <a:solidFill>
            <a:schemeClr val="tx1"/>
          </a:solidFill>
          <a:latin typeface="Calibri" pitchFamily="34" charset="0"/>
        </a:defRPr>
      </a:lvl5pPr>
      <a:lvl6pPr marL="2228850" indent="-228600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chemeClr val="accent1"/>
        </a:buClr>
        <a:buChar char="•"/>
        <a:defRPr sz="1600">
          <a:solidFill>
            <a:schemeClr val="tx1"/>
          </a:solidFill>
          <a:latin typeface="+mn-lt"/>
        </a:defRPr>
      </a:lvl6pPr>
      <a:lvl7pPr marL="2686050" indent="-228600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chemeClr val="accent1"/>
        </a:buClr>
        <a:buChar char="•"/>
        <a:defRPr sz="1600">
          <a:solidFill>
            <a:schemeClr val="tx1"/>
          </a:solidFill>
          <a:latin typeface="+mn-lt"/>
        </a:defRPr>
      </a:lvl7pPr>
      <a:lvl8pPr marL="3143250" indent="-228600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chemeClr val="accent1"/>
        </a:buClr>
        <a:buChar char="•"/>
        <a:defRPr sz="1600">
          <a:solidFill>
            <a:schemeClr val="tx1"/>
          </a:solidFill>
          <a:latin typeface="+mn-lt"/>
        </a:defRPr>
      </a:lvl8pPr>
      <a:lvl9pPr marL="3600450" indent="-228600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chemeClr val="accent1"/>
        </a:buClr>
        <a:buChar char="•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98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115887"/>
            <a:ext cx="7448550" cy="893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55398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3375"/>
            <a:ext cx="8002588" cy="4573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53989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151813" y="6557963"/>
            <a:ext cx="803275" cy="223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100000"/>
              </a:lnSpc>
              <a:spcBef>
                <a:spcPct val="0"/>
              </a:spcBef>
              <a:defRPr sz="1000">
                <a:solidFill>
                  <a:schemeClr val="tx2"/>
                </a:solidFill>
                <a:latin typeface="Calibri" pitchFamily="34" charset="0"/>
              </a:defRPr>
            </a:lvl1pPr>
          </a:lstStyle>
          <a:p>
            <a:pPr fontAlgn="auto">
              <a:spcAft>
                <a:spcPts val="0"/>
              </a:spcAft>
            </a:pPr>
            <a:fld id="{2C78AFB4-C6FC-46C2-866E-1D035D18C516}" type="slidenum">
              <a:rPr lang="en-US" smtClean="0">
                <a:solidFill>
                  <a:srgbClr val="535353"/>
                </a:solidFill>
              </a:rPr>
              <a:pPr fontAlgn="auto"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535353"/>
              </a:solidFill>
            </a:endParaRPr>
          </a:p>
        </p:txBody>
      </p:sp>
      <p:sp>
        <p:nvSpPr>
          <p:cNvPr id="553996" name="Text Box 12"/>
          <p:cNvSpPr txBox="1">
            <a:spLocks noChangeArrowheads="1"/>
          </p:cNvSpPr>
          <p:nvPr/>
        </p:nvSpPr>
        <p:spPr bwMode="auto">
          <a:xfrm>
            <a:off x="1933575" y="6557963"/>
            <a:ext cx="5600700" cy="3000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1000" dirty="0" smtClean="0">
                <a:solidFill>
                  <a:srgbClr val="535353"/>
                </a:solidFill>
                <a:latin typeface="Calibri" pitchFamily="34" charset="0"/>
                <a:cs typeface="Arial" charset="0"/>
              </a:rPr>
              <a:t>©2011 A123 Systems, Inc. All rights reserved.</a:t>
            </a:r>
          </a:p>
        </p:txBody>
      </p:sp>
      <p:pic>
        <p:nvPicPr>
          <p:cNvPr id="7" name="Picture 6" descr="14045-A123-bkg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361950" cy="6858000"/>
          </a:xfrm>
          <a:prstGeom prst="rect">
            <a:avLst/>
          </a:prstGeom>
        </p:spPr>
      </p:pic>
      <p:pic>
        <p:nvPicPr>
          <p:cNvPr id="8" name="Picture 7" descr="a123-logo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943850" y="136972"/>
            <a:ext cx="952499" cy="79518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Calibri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9pPr>
    </p:titleStyle>
    <p:bodyStyle>
      <a:lvl1pPr marL="285750" indent="-285750" algn="l" rtl="0" eaLnBrk="1" fontAlgn="base" hangingPunct="1">
        <a:lnSpc>
          <a:spcPct val="95000"/>
        </a:lnSpc>
        <a:spcBef>
          <a:spcPts val="1200"/>
        </a:spcBef>
        <a:spcAft>
          <a:spcPct val="0"/>
        </a:spcAft>
        <a:buClr>
          <a:schemeClr val="accent1"/>
        </a:buClr>
        <a:buChar char="•"/>
        <a:defRPr sz="2400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628650" indent="-228600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chemeClr val="accent1"/>
        </a:buClr>
        <a:buFont typeface="Calibri" pitchFamily="34" charset="0"/>
        <a:buChar char="+"/>
        <a:defRPr sz="2000">
          <a:solidFill>
            <a:schemeClr val="tx1"/>
          </a:solidFill>
          <a:latin typeface="Calibri" pitchFamily="34" charset="0"/>
        </a:defRPr>
      </a:lvl2pPr>
      <a:lvl3pPr marL="1028700" indent="-228600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chemeClr val="tx2">
            <a:lumMod val="90000"/>
            <a:lumOff val="10000"/>
          </a:schemeClr>
        </a:buClr>
        <a:buFont typeface="Calibri" pitchFamily="34" charset="0"/>
        <a:buChar char="–"/>
        <a:defRPr>
          <a:solidFill>
            <a:schemeClr val="tx1"/>
          </a:solidFill>
          <a:latin typeface="Calibri" pitchFamily="34" charset="0"/>
        </a:defRPr>
      </a:lvl3pPr>
      <a:lvl4pPr marL="1428750" indent="-285750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chemeClr val="accent1"/>
        </a:buClr>
        <a:buChar char="–"/>
        <a:defRPr>
          <a:solidFill>
            <a:schemeClr val="tx1"/>
          </a:solidFill>
          <a:latin typeface="Calibri" pitchFamily="34" charset="0"/>
        </a:defRPr>
      </a:lvl4pPr>
      <a:lvl5pPr marL="1771650" indent="-228600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chemeClr val="accent1"/>
        </a:buClr>
        <a:buChar char="•"/>
        <a:defRPr sz="1600">
          <a:solidFill>
            <a:schemeClr val="tx1"/>
          </a:solidFill>
          <a:latin typeface="Calibri" pitchFamily="34" charset="0"/>
        </a:defRPr>
      </a:lvl5pPr>
      <a:lvl6pPr marL="2228850" indent="-228600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chemeClr val="accent1"/>
        </a:buClr>
        <a:buChar char="•"/>
        <a:defRPr sz="1600">
          <a:solidFill>
            <a:schemeClr val="tx1"/>
          </a:solidFill>
          <a:latin typeface="+mn-lt"/>
        </a:defRPr>
      </a:lvl6pPr>
      <a:lvl7pPr marL="2686050" indent="-228600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chemeClr val="accent1"/>
        </a:buClr>
        <a:buChar char="•"/>
        <a:defRPr sz="1600">
          <a:solidFill>
            <a:schemeClr val="tx1"/>
          </a:solidFill>
          <a:latin typeface="+mn-lt"/>
        </a:defRPr>
      </a:lvl7pPr>
      <a:lvl8pPr marL="3143250" indent="-228600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chemeClr val="accent1"/>
        </a:buClr>
        <a:buChar char="•"/>
        <a:defRPr sz="1600">
          <a:solidFill>
            <a:schemeClr val="tx1"/>
          </a:solidFill>
          <a:latin typeface="+mn-lt"/>
        </a:defRPr>
      </a:lvl8pPr>
      <a:lvl9pPr marL="3600450" indent="-228600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chemeClr val="accent1"/>
        </a:buClr>
        <a:buChar char="•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98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115887"/>
            <a:ext cx="7448550" cy="893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55398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3375"/>
            <a:ext cx="8002588" cy="4573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53989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151813" y="6557963"/>
            <a:ext cx="803275" cy="223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100000"/>
              </a:lnSpc>
              <a:spcBef>
                <a:spcPct val="0"/>
              </a:spcBef>
              <a:defRPr sz="1000">
                <a:solidFill>
                  <a:schemeClr val="tx2"/>
                </a:solidFill>
                <a:latin typeface="Calibri" pitchFamily="34" charset="0"/>
              </a:defRPr>
            </a:lvl1pPr>
          </a:lstStyle>
          <a:p>
            <a:pPr fontAlgn="auto">
              <a:spcAft>
                <a:spcPts val="0"/>
              </a:spcAft>
            </a:pPr>
            <a:fld id="{2C78AFB4-C6FC-46C2-866E-1D035D18C516}" type="slidenum">
              <a:rPr lang="en-US" smtClean="0">
                <a:solidFill>
                  <a:srgbClr val="535353"/>
                </a:solidFill>
              </a:rPr>
              <a:pPr fontAlgn="auto"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535353"/>
              </a:solidFill>
            </a:endParaRPr>
          </a:p>
        </p:txBody>
      </p:sp>
      <p:sp>
        <p:nvSpPr>
          <p:cNvPr id="553996" name="Text Box 12"/>
          <p:cNvSpPr txBox="1">
            <a:spLocks noChangeArrowheads="1"/>
          </p:cNvSpPr>
          <p:nvPr/>
        </p:nvSpPr>
        <p:spPr bwMode="auto">
          <a:xfrm>
            <a:off x="1933575" y="6557963"/>
            <a:ext cx="5600700" cy="3000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1000" dirty="0" smtClean="0">
                <a:solidFill>
                  <a:srgbClr val="535353"/>
                </a:solidFill>
                <a:latin typeface="Calibri" pitchFamily="34" charset="0"/>
                <a:cs typeface="Arial" charset="0"/>
              </a:rPr>
              <a:t>©2011 A123 Systems, Inc. All rights reserved. Proprietary and confidential.</a:t>
            </a:r>
          </a:p>
        </p:txBody>
      </p:sp>
      <p:pic>
        <p:nvPicPr>
          <p:cNvPr id="7" name="Picture 6" descr="14045-A123-bkg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361950" cy="6858000"/>
          </a:xfrm>
          <a:prstGeom prst="rect">
            <a:avLst/>
          </a:prstGeom>
        </p:spPr>
      </p:pic>
      <p:pic>
        <p:nvPicPr>
          <p:cNvPr id="8" name="Picture 7" descr="a123-logo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943850" y="136972"/>
            <a:ext cx="952499" cy="79518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Calibri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9pPr>
    </p:titleStyle>
    <p:bodyStyle>
      <a:lvl1pPr marL="285750" indent="-285750" algn="l" rtl="0" eaLnBrk="1" fontAlgn="base" hangingPunct="1">
        <a:lnSpc>
          <a:spcPct val="95000"/>
        </a:lnSpc>
        <a:spcBef>
          <a:spcPts val="1200"/>
        </a:spcBef>
        <a:spcAft>
          <a:spcPct val="0"/>
        </a:spcAft>
        <a:buClr>
          <a:schemeClr val="accent1"/>
        </a:buClr>
        <a:buChar char="•"/>
        <a:defRPr sz="2400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628650" indent="-228600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chemeClr val="accent1"/>
        </a:buClr>
        <a:buFont typeface="Calibri" pitchFamily="34" charset="0"/>
        <a:buChar char="+"/>
        <a:defRPr sz="2000">
          <a:solidFill>
            <a:schemeClr val="tx1"/>
          </a:solidFill>
          <a:latin typeface="Calibri" pitchFamily="34" charset="0"/>
        </a:defRPr>
      </a:lvl2pPr>
      <a:lvl3pPr marL="1028700" indent="-228600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chemeClr val="tx2">
            <a:lumMod val="90000"/>
            <a:lumOff val="10000"/>
          </a:schemeClr>
        </a:buClr>
        <a:buFont typeface="Calibri" pitchFamily="34" charset="0"/>
        <a:buChar char="–"/>
        <a:defRPr>
          <a:solidFill>
            <a:schemeClr val="tx1"/>
          </a:solidFill>
          <a:latin typeface="Calibri" pitchFamily="34" charset="0"/>
        </a:defRPr>
      </a:lvl3pPr>
      <a:lvl4pPr marL="1428750" indent="-285750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chemeClr val="accent1"/>
        </a:buClr>
        <a:buChar char="–"/>
        <a:defRPr>
          <a:solidFill>
            <a:schemeClr val="tx1"/>
          </a:solidFill>
          <a:latin typeface="Calibri" pitchFamily="34" charset="0"/>
        </a:defRPr>
      </a:lvl4pPr>
      <a:lvl5pPr marL="1771650" indent="-228600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chemeClr val="accent1"/>
        </a:buClr>
        <a:buChar char="•"/>
        <a:defRPr sz="1600">
          <a:solidFill>
            <a:schemeClr val="tx1"/>
          </a:solidFill>
          <a:latin typeface="Calibri" pitchFamily="34" charset="0"/>
        </a:defRPr>
      </a:lvl5pPr>
      <a:lvl6pPr marL="2228850" indent="-228600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chemeClr val="accent1"/>
        </a:buClr>
        <a:buChar char="•"/>
        <a:defRPr sz="1600">
          <a:solidFill>
            <a:schemeClr val="tx1"/>
          </a:solidFill>
          <a:latin typeface="+mn-lt"/>
        </a:defRPr>
      </a:lvl6pPr>
      <a:lvl7pPr marL="2686050" indent="-228600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chemeClr val="accent1"/>
        </a:buClr>
        <a:buChar char="•"/>
        <a:defRPr sz="1600">
          <a:solidFill>
            <a:schemeClr val="tx1"/>
          </a:solidFill>
          <a:latin typeface="+mn-lt"/>
        </a:defRPr>
      </a:lvl7pPr>
      <a:lvl8pPr marL="3143250" indent="-228600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chemeClr val="accent1"/>
        </a:buClr>
        <a:buChar char="•"/>
        <a:defRPr sz="1600">
          <a:solidFill>
            <a:schemeClr val="tx1"/>
          </a:solidFill>
          <a:latin typeface="+mn-lt"/>
        </a:defRPr>
      </a:lvl8pPr>
      <a:lvl9pPr marL="3600450" indent="-228600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chemeClr val="accent1"/>
        </a:buClr>
        <a:buChar char="•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98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115887"/>
            <a:ext cx="7448550" cy="893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55398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3375"/>
            <a:ext cx="8002588" cy="4573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53989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151813" y="6557963"/>
            <a:ext cx="803275" cy="223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100000"/>
              </a:lnSpc>
              <a:spcBef>
                <a:spcPct val="0"/>
              </a:spcBef>
              <a:defRPr sz="1000">
                <a:solidFill>
                  <a:schemeClr val="tx2"/>
                </a:solidFill>
                <a:latin typeface="Calibri" pitchFamily="34" charset="0"/>
              </a:defRPr>
            </a:lvl1pPr>
          </a:lstStyle>
          <a:p>
            <a:pPr fontAlgn="auto">
              <a:spcAft>
                <a:spcPts val="0"/>
              </a:spcAft>
            </a:pPr>
            <a:fld id="{2C78AFB4-C6FC-46C2-866E-1D035D18C516}" type="slidenum">
              <a:rPr lang="en-US" smtClean="0">
                <a:solidFill>
                  <a:srgbClr val="535353"/>
                </a:solidFill>
              </a:rPr>
              <a:pPr fontAlgn="auto"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535353"/>
              </a:solidFill>
            </a:endParaRPr>
          </a:p>
        </p:txBody>
      </p:sp>
      <p:sp>
        <p:nvSpPr>
          <p:cNvPr id="553996" name="Text Box 12"/>
          <p:cNvSpPr txBox="1">
            <a:spLocks noChangeArrowheads="1"/>
          </p:cNvSpPr>
          <p:nvPr/>
        </p:nvSpPr>
        <p:spPr bwMode="auto">
          <a:xfrm>
            <a:off x="1933575" y="6557963"/>
            <a:ext cx="5600700" cy="3000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1000" dirty="0" smtClean="0">
                <a:solidFill>
                  <a:srgbClr val="535353"/>
                </a:solidFill>
                <a:latin typeface="Calibri" pitchFamily="34" charset="0"/>
                <a:cs typeface="Arial" charset="0"/>
              </a:rPr>
              <a:t>©2011 A123 Systems, Inc. All rights reserved. Proprietary and confidential.</a:t>
            </a:r>
          </a:p>
        </p:txBody>
      </p:sp>
      <p:pic>
        <p:nvPicPr>
          <p:cNvPr id="7" name="Picture 6" descr="14045-A123-bkg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0" y="0"/>
            <a:ext cx="361950" cy="6858000"/>
          </a:xfrm>
          <a:prstGeom prst="rect">
            <a:avLst/>
          </a:prstGeom>
        </p:spPr>
      </p:pic>
      <p:pic>
        <p:nvPicPr>
          <p:cNvPr id="8" name="Picture 7" descr="a123-logo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943850" y="136972"/>
            <a:ext cx="952499" cy="79518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2" r:id="rId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Calibri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9pPr>
    </p:titleStyle>
    <p:bodyStyle>
      <a:lvl1pPr marL="285750" indent="-285750" algn="l" rtl="0" eaLnBrk="1" fontAlgn="base" hangingPunct="1">
        <a:lnSpc>
          <a:spcPct val="95000"/>
        </a:lnSpc>
        <a:spcBef>
          <a:spcPts val="1200"/>
        </a:spcBef>
        <a:spcAft>
          <a:spcPct val="0"/>
        </a:spcAft>
        <a:buClr>
          <a:schemeClr val="accent1"/>
        </a:buClr>
        <a:buChar char="•"/>
        <a:defRPr sz="2400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628650" indent="-228600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chemeClr val="accent1"/>
        </a:buClr>
        <a:buFont typeface="Calibri" pitchFamily="34" charset="0"/>
        <a:buChar char="+"/>
        <a:defRPr sz="2000">
          <a:solidFill>
            <a:schemeClr val="tx1"/>
          </a:solidFill>
          <a:latin typeface="Calibri" pitchFamily="34" charset="0"/>
        </a:defRPr>
      </a:lvl2pPr>
      <a:lvl3pPr marL="1028700" indent="-228600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chemeClr val="tx2">
            <a:lumMod val="90000"/>
            <a:lumOff val="10000"/>
          </a:schemeClr>
        </a:buClr>
        <a:buFont typeface="Calibri" pitchFamily="34" charset="0"/>
        <a:buChar char="–"/>
        <a:defRPr>
          <a:solidFill>
            <a:schemeClr val="tx1"/>
          </a:solidFill>
          <a:latin typeface="Calibri" pitchFamily="34" charset="0"/>
        </a:defRPr>
      </a:lvl3pPr>
      <a:lvl4pPr marL="1428750" indent="-285750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chemeClr val="accent1"/>
        </a:buClr>
        <a:buChar char="–"/>
        <a:defRPr>
          <a:solidFill>
            <a:schemeClr val="tx1"/>
          </a:solidFill>
          <a:latin typeface="Calibri" pitchFamily="34" charset="0"/>
        </a:defRPr>
      </a:lvl4pPr>
      <a:lvl5pPr marL="1771650" indent="-228600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chemeClr val="accent1"/>
        </a:buClr>
        <a:buChar char="•"/>
        <a:defRPr sz="1600">
          <a:solidFill>
            <a:schemeClr val="tx1"/>
          </a:solidFill>
          <a:latin typeface="Calibri" pitchFamily="34" charset="0"/>
        </a:defRPr>
      </a:lvl5pPr>
      <a:lvl6pPr marL="2228850" indent="-228600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chemeClr val="accent1"/>
        </a:buClr>
        <a:buChar char="•"/>
        <a:defRPr sz="1600">
          <a:solidFill>
            <a:schemeClr val="tx1"/>
          </a:solidFill>
          <a:latin typeface="+mn-lt"/>
        </a:defRPr>
      </a:lvl6pPr>
      <a:lvl7pPr marL="2686050" indent="-228600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chemeClr val="accent1"/>
        </a:buClr>
        <a:buChar char="•"/>
        <a:defRPr sz="1600">
          <a:solidFill>
            <a:schemeClr val="tx1"/>
          </a:solidFill>
          <a:latin typeface="+mn-lt"/>
        </a:defRPr>
      </a:lvl7pPr>
      <a:lvl8pPr marL="3143250" indent="-228600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chemeClr val="accent1"/>
        </a:buClr>
        <a:buChar char="•"/>
        <a:defRPr sz="1600">
          <a:solidFill>
            <a:schemeClr val="tx1"/>
          </a:solidFill>
          <a:latin typeface="+mn-lt"/>
        </a:defRPr>
      </a:lvl8pPr>
      <a:lvl9pPr marL="3600450" indent="-228600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chemeClr val="accent1"/>
        </a:buClr>
        <a:buChar char="•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gif"/><Relationship Id="rId13" Type="http://schemas.openxmlformats.org/officeDocument/2006/relationships/image" Target="../media/image36.gif"/><Relationship Id="rId3" Type="http://schemas.openxmlformats.org/officeDocument/2006/relationships/image" Target="../media/image26.gif"/><Relationship Id="rId7" Type="http://schemas.openxmlformats.org/officeDocument/2006/relationships/image" Target="../media/image30.gif"/><Relationship Id="rId12" Type="http://schemas.openxmlformats.org/officeDocument/2006/relationships/image" Target="../media/image35.gi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9.png"/><Relationship Id="rId11" Type="http://schemas.openxmlformats.org/officeDocument/2006/relationships/image" Target="../media/image34.gif"/><Relationship Id="rId5" Type="http://schemas.openxmlformats.org/officeDocument/2006/relationships/image" Target="../media/image28.png"/><Relationship Id="rId15" Type="http://schemas.openxmlformats.org/officeDocument/2006/relationships/image" Target="../media/image38.png"/><Relationship Id="rId10" Type="http://schemas.openxmlformats.org/officeDocument/2006/relationships/image" Target="../media/image33.gif"/><Relationship Id="rId4" Type="http://schemas.openxmlformats.org/officeDocument/2006/relationships/image" Target="../media/image27.wmf"/><Relationship Id="rId9" Type="http://schemas.openxmlformats.org/officeDocument/2006/relationships/image" Target="../media/image32.gif"/><Relationship Id="rId14" Type="http://schemas.openxmlformats.org/officeDocument/2006/relationships/image" Target="../media/image37.gi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13" Type="http://schemas.openxmlformats.org/officeDocument/2006/relationships/image" Target="../media/image44.jpeg"/><Relationship Id="rId3" Type="http://schemas.openxmlformats.org/officeDocument/2006/relationships/tags" Target="../tags/tag33.xml"/><Relationship Id="rId7" Type="http://schemas.openxmlformats.org/officeDocument/2006/relationships/slideLayout" Target="../slideLayouts/slideLayout16.xml"/><Relationship Id="rId12" Type="http://schemas.openxmlformats.org/officeDocument/2006/relationships/image" Target="../media/image43.png"/><Relationship Id="rId17" Type="http://schemas.openxmlformats.org/officeDocument/2006/relationships/image" Target="../media/image48.png"/><Relationship Id="rId2" Type="http://schemas.openxmlformats.org/officeDocument/2006/relationships/tags" Target="../tags/tag32.xml"/><Relationship Id="rId16" Type="http://schemas.openxmlformats.org/officeDocument/2006/relationships/image" Target="../media/image47.png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11" Type="http://schemas.openxmlformats.org/officeDocument/2006/relationships/image" Target="../media/image42.png"/><Relationship Id="rId5" Type="http://schemas.openxmlformats.org/officeDocument/2006/relationships/tags" Target="../tags/tag35.xml"/><Relationship Id="rId15" Type="http://schemas.openxmlformats.org/officeDocument/2006/relationships/image" Target="../media/image46.jpeg"/><Relationship Id="rId10" Type="http://schemas.openxmlformats.org/officeDocument/2006/relationships/image" Target="../media/image41.png"/><Relationship Id="rId4" Type="http://schemas.openxmlformats.org/officeDocument/2006/relationships/tags" Target="../tags/tag34.xml"/><Relationship Id="rId9" Type="http://schemas.openxmlformats.org/officeDocument/2006/relationships/image" Target="../media/image40.png"/><Relationship Id="rId14" Type="http://schemas.openxmlformats.org/officeDocument/2006/relationships/image" Target="../media/image45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image" Target="../media/image15.pn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image" Target="../media/image14.png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image" Target="../media/image13.pn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oleObject" Target="../embeddings/oleObject1.bin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slideLayout" Target="../slideLayouts/slideLayout4.xml"/><Relationship Id="rId35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0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10" Type="http://schemas.openxmlformats.org/officeDocument/2006/relationships/image" Target="../media/image24.png"/><Relationship Id="rId4" Type="http://schemas.openxmlformats.org/officeDocument/2006/relationships/image" Target="../media/image18.png"/><Relationship Id="rId9" Type="http://schemas.openxmlformats.org/officeDocument/2006/relationships/image" Target="../media/image23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9199" name="Rectangle 15"/>
          <p:cNvSpPr>
            <a:spLocks noGrp="1" noChangeArrowheads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en-US" dirty="0" smtClean="0"/>
              <a:t>Grid Energy Storage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New </a:t>
            </a:r>
            <a:r>
              <a:rPr lang="en-US" dirty="0" smtClean="0"/>
              <a:t>England Electricity Restructuring Roundtable</a:t>
            </a:r>
            <a:endParaRPr lang="en-US" dirty="0"/>
          </a:p>
        </p:txBody>
      </p:sp>
      <p:sp>
        <p:nvSpPr>
          <p:cNvPr id="349200" name="Rectangle 16"/>
          <p:cNvSpPr>
            <a:spLocks noGrp="1" noChangeArrowheads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en-US" dirty="0" smtClean="0"/>
              <a:t>Andy Chu</a:t>
            </a:r>
          </a:p>
          <a:p>
            <a:r>
              <a:rPr lang="en-US" dirty="0" smtClean="0"/>
              <a:t>VP, Marketing &amp; Communications</a:t>
            </a:r>
          </a:p>
          <a:p>
            <a:r>
              <a:rPr lang="en-US" dirty="0" smtClean="0"/>
              <a:t>A123 Systems</a:t>
            </a:r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 descr="car_silhouette2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086600" y="5334000"/>
            <a:ext cx="1714500" cy="66675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nergy Ecosystem</a:t>
            </a:r>
            <a:endParaRPr lang="en-US" dirty="0"/>
          </a:p>
        </p:txBody>
      </p:sp>
      <p:pic>
        <p:nvPicPr>
          <p:cNvPr id="32" name="Picture 31" descr="j0152145.wm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713112" y="3849512"/>
            <a:ext cx="702022" cy="702022"/>
          </a:xfrm>
          <a:prstGeom prst="rect">
            <a:avLst/>
          </a:prstGeom>
        </p:spPr>
      </p:pic>
      <p:pic>
        <p:nvPicPr>
          <p:cNvPr id="29" name="Picture 28" descr="home_energy-storage.bmp"/>
          <p:cNvPicPr>
            <a:picLocks noChangeAspect="1"/>
          </p:cNvPicPr>
          <p:nvPr/>
        </p:nvPicPr>
        <p:blipFill>
          <a:blip r:embed="rId5" cstate="print"/>
          <a:srcRect r="71114" b="59486"/>
          <a:stretch>
            <a:fillRect/>
          </a:stretch>
        </p:blipFill>
        <p:spPr>
          <a:xfrm>
            <a:off x="4577646" y="5257800"/>
            <a:ext cx="938213" cy="976313"/>
          </a:xfrm>
          <a:prstGeom prst="rect">
            <a:avLst/>
          </a:prstGeom>
        </p:spPr>
      </p:pic>
      <p:pic>
        <p:nvPicPr>
          <p:cNvPr id="21" name="Picture 20" descr="E.bmp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7772400" y="5638800"/>
            <a:ext cx="142875" cy="180975"/>
          </a:xfrm>
          <a:prstGeom prst="rect">
            <a:avLst/>
          </a:prstGeom>
        </p:spPr>
      </p:pic>
      <p:pic>
        <p:nvPicPr>
          <p:cNvPr id="33" name="Picture 32" descr="nuclear_cooling-tower.gif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676400" y="1447800"/>
            <a:ext cx="900000" cy="1143000"/>
          </a:xfrm>
          <a:prstGeom prst="rect">
            <a:avLst/>
          </a:prstGeom>
        </p:spPr>
      </p:pic>
      <p:pic>
        <p:nvPicPr>
          <p:cNvPr id="35" name="Picture 34" descr="wind_turbine.gif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2743200" y="1371600"/>
            <a:ext cx="662489" cy="1385529"/>
          </a:xfrm>
          <a:prstGeom prst="rect">
            <a:avLst/>
          </a:prstGeom>
        </p:spPr>
      </p:pic>
      <p:pic>
        <p:nvPicPr>
          <p:cNvPr id="36" name="Picture 35" descr="solar_panels.gif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3581400" y="1676400"/>
            <a:ext cx="1905000" cy="879764"/>
          </a:xfrm>
          <a:prstGeom prst="rect">
            <a:avLst/>
          </a:prstGeom>
        </p:spPr>
      </p:pic>
      <p:pic>
        <p:nvPicPr>
          <p:cNvPr id="37" name="Picture 36" descr="offshore_drilling-rig.gif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5943600" y="1524000"/>
            <a:ext cx="1447800" cy="1192306"/>
          </a:xfrm>
          <a:prstGeom prst="rect">
            <a:avLst/>
          </a:prstGeom>
        </p:spPr>
      </p:pic>
      <p:pic>
        <p:nvPicPr>
          <p:cNvPr id="38" name="Picture 37" descr="oil_drill.gif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7620000" y="1676400"/>
            <a:ext cx="1268643" cy="1025878"/>
          </a:xfrm>
          <a:prstGeom prst="rect">
            <a:avLst/>
          </a:prstGeom>
        </p:spPr>
      </p:pic>
      <p:pic>
        <p:nvPicPr>
          <p:cNvPr id="39" name="Picture 38" descr="oil_barrels.gif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7162800" y="3429000"/>
            <a:ext cx="928688" cy="990600"/>
          </a:xfrm>
          <a:prstGeom prst="rect">
            <a:avLst/>
          </a:prstGeom>
        </p:spPr>
      </p:pic>
      <p:pic>
        <p:nvPicPr>
          <p:cNvPr id="40" name="Picture 39" descr="power_line_tower.gif"/>
          <p:cNvPicPr>
            <a:picLocks noChangeAspect="1"/>
          </p:cNvPicPr>
          <p:nvPr/>
        </p:nvPicPr>
        <p:blipFill>
          <a:blip r:embed="rId13" cstate="print"/>
          <a:srcRect r="37587"/>
          <a:stretch>
            <a:fillRect/>
          </a:stretch>
        </p:blipFill>
        <p:spPr>
          <a:xfrm>
            <a:off x="2322689" y="3200400"/>
            <a:ext cx="797169" cy="1219200"/>
          </a:xfrm>
          <a:prstGeom prst="rect">
            <a:avLst/>
          </a:prstGeom>
        </p:spPr>
      </p:pic>
      <p:sp>
        <p:nvSpPr>
          <p:cNvPr id="41" name="Down Arrow 40"/>
          <p:cNvSpPr/>
          <p:nvPr/>
        </p:nvSpPr>
        <p:spPr>
          <a:xfrm rot="20814101">
            <a:off x="2164684" y="2740024"/>
            <a:ext cx="381000" cy="731520"/>
          </a:xfrm>
          <a:prstGeom prst="downArrow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42" name="Down Arrow 41"/>
          <p:cNvSpPr/>
          <p:nvPr/>
        </p:nvSpPr>
        <p:spPr>
          <a:xfrm rot="18635659">
            <a:off x="1347426" y="2651953"/>
            <a:ext cx="381000" cy="914400"/>
          </a:xfrm>
          <a:prstGeom prst="downArrow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43" name="Down Arrow 42"/>
          <p:cNvSpPr/>
          <p:nvPr/>
        </p:nvSpPr>
        <p:spPr>
          <a:xfrm rot="600361">
            <a:off x="2782577" y="2971800"/>
            <a:ext cx="381000" cy="457200"/>
          </a:xfrm>
          <a:prstGeom prst="downArrow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44" name="Down Arrow 43"/>
          <p:cNvSpPr/>
          <p:nvPr/>
        </p:nvSpPr>
        <p:spPr>
          <a:xfrm rot="2595282">
            <a:off x="3575545" y="2395039"/>
            <a:ext cx="381000" cy="1280160"/>
          </a:xfrm>
          <a:prstGeom prst="downArrow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46" name="Down Arrow 45"/>
          <p:cNvSpPr/>
          <p:nvPr/>
        </p:nvSpPr>
        <p:spPr>
          <a:xfrm>
            <a:off x="7467600" y="4572000"/>
            <a:ext cx="381000" cy="731520"/>
          </a:xfrm>
          <a:prstGeom prst="downArrow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47" name="Down Arrow 46"/>
          <p:cNvSpPr/>
          <p:nvPr/>
        </p:nvSpPr>
        <p:spPr>
          <a:xfrm rot="1391850">
            <a:off x="7694644" y="2875958"/>
            <a:ext cx="381000" cy="457200"/>
          </a:xfrm>
          <a:prstGeom prst="downArrow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48" name="Left-Right Arrow 47"/>
          <p:cNvSpPr/>
          <p:nvPr/>
        </p:nvSpPr>
        <p:spPr>
          <a:xfrm>
            <a:off x="5599288" y="5562600"/>
            <a:ext cx="1510453" cy="384048"/>
          </a:xfrm>
          <a:prstGeom prst="leftRightArrow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49" name="Down Arrow 48"/>
          <p:cNvSpPr/>
          <p:nvPr/>
        </p:nvSpPr>
        <p:spPr>
          <a:xfrm rot="16200000">
            <a:off x="3664653" y="3467100"/>
            <a:ext cx="381000" cy="1371600"/>
          </a:xfrm>
          <a:prstGeom prst="downArrow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2" name="Down Arrow 51"/>
          <p:cNvSpPr/>
          <p:nvPr/>
        </p:nvSpPr>
        <p:spPr>
          <a:xfrm rot="19562779">
            <a:off x="6953196" y="2886820"/>
            <a:ext cx="381000" cy="457200"/>
          </a:xfrm>
          <a:prstGeom prst="downArrow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1" name="Down Arrow 30"/>
          <p:cNvSpPr/>
          <p:nvPr/>
        </p:nvSpPr>
        <p:spPr>
          <a:xfrm>
            <a:off x="4863959" y="4690645"/>
            <a:ext cx="381000" cy="457200"/>
          </a:xfrm>
          <a:prstGeom prst="downArrow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45" name="Down Arrow 44"/>
          <p:cNvSpPr/>
          <p:nvPr/>
        </p:nvSpPr>
        <p:spPr>
          <a:xfrm rot="18163720">
            <a:off x="6244327" y="4007437"/>
            <a:ext cx="381000" cy="1828800"/>
          </a:xfrm>
          <a:prstGeom prst="downArrow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4518377" y="3192405"/>
            <a:ext cx="1143000" cy="7063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Grid-scale</a:t>
            </a:r>
            <a:br>
              <a:rPr lang="en-US" sz="1400" b="1" dirty="0" smtClean="0">
                <a:solidFill>
                  <a:srgbClr val="000000"/>
                </a:solidFill>
                <a:latin typeface="Calibri"/>
              </a:rPr>
            </a:b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energy </a:t>
            </a: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storage</a:t>
            </a:r>
            <a:endParaRPr lang="en-US" sz="1400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7086600" y="5943600"/>
            <a:ext cx="1676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Calibri"/>
              </a:rPr>
              <a:t>PHEV, E-REV, EV</a:t>
            </a:r>
            <a:endParaRPr lang="en-US" sz="1400" b="1" dirty="0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50" name="Picture 49" descr="factory_smokestacks.gif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533400" y="1143000"/>
            <a:ext cx="723900" cy="1447800"/>
          </a:xfrm>
          <a:prstGeom prst="rect">
            <a:avLst/>
          </a:prstGeom>
        </p:spPr>
      </p:pic>
      <p:sp>
        <p:nvSpPr>
          <p:cNvPr id="34" name="Rectangle 33"/>
          <p:cNvSpPr/>
          <p:nvPr/>
        </p:nvSpPr>
        <p:spPr>
          <a:xfrm>
            <a:off x="5715000" y="1143000"/>
            <a:ext cx="76200" cy="51816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2" name="Group 57"/>
          <p:cNvGrpSpPr/>
          <p:nvPr/>
        </p:nvGrpSpPr>
        <p:grpSpPr>
          <a:xfrm>
            <a:off x="1086369" y="2400682"/>
            <a:ext cx="2875819" cy="1280160"/>
            <a:chOff x="1233126" y="2547439"/>
            <a:chExt cx="2875819" cy="1280160"/>
          </a:xfrm>
          <a:solidFill>
            <a:schemeClr val="accent1"/>
          </a:solidFill>
        </p:grpSpPr>
        <p:sp>
          <p:nvSpPr>
            <p:cNvPr id="54" name="Down Arrow 53"/>
            <p:cNvSpPr/>
            <p:nvPr/>
          </p:nvSpPr>
          <p:spPr>
            <a:xfrm rot="20814101">
              <a:off x="2317084" y="2892424"/>
              <a:ext cx="381000" cy="731520"/>
            </a:xfrm>
            <a:prstGeom prst="downArrow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55" name="Down Arrow 54"/>
            <p:cNvSpPr/>
            <p:nvPr/>
          </p:nvSpPr>
          <p:spPr>
            <a:xfrm rot="18635659">
              <a:off x="1499826" y="2804353"/>
              <a:ext cx="381000" cy="914400"/>
            </a:xfrm>
            <a:prstGeom prst="downArrow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56" name="Down Arrow 55"/>
            <p:cNvSpPr/>
            <p:nvPr/>
          </p:nvSpPr>
          <p:spPr>
            <a:xfrm rot="600361">
              <a:off x="2934977" y="3124200"/>
              <a:ext cx="381000" cy="457200"/>
            </a:xfrm>
            <a:prstGeom prst="downArrow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57" name="Down Arrow 56"/>
            <p:cNvSpPr/>
            <p:nvPr/>
          </p:nvSpPr>
          <p:spPr>
            <a:xfrm rot="2595282">
              <a:off x="3727945" y="2547439"/>
              <a:ext cx="381000" cy="1280160"/>
            </a:xfrm>
            <a:prstGeom prst="downArrow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59" name="Down Arrow 58"/>
          <p:cNvSpPr/>
          <p:nvPr/>
        </p:nvSpPr>
        <p:spPr>
          <a:xfrm rot="16200000">
            <a:off x="3659008" y="3461455"/>
            <a:ext cx="381000" cy="1371600"/>
          </a:xfrm>
          <a:prstGeom prst="downArrow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0" name="Down Arrow 59"/>
          <p:cNvSpPr/>
          <p:nvPr/>
        </p:nvSpPr>
        <p:spPr>
          <a:xfrm rot="18163720">
            <a:off x="6249971" y="4013080"/>
            <a:ext cx="381000" cy="1828800"/>
          </a:xfrm>
          <a:prstGeom prst="downArrow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4" name="Group 62"/>
          <p:cNvGrpSpPr/>
          <p:nvPr/>
        </p:nvGrpSpPr>
        <p:grpSpPr>
          <a:xfrm>
            <a:off x="2004569" y="5200611"/>
            <a:ext cx="980601" cy="960670"/>
            <a:chOff x="0" y="2935111"/>
            <a:chExt cx="2777067" cy="2720622"/>
          </a:xfrm>
        </p:grpSpPr>
        <p:pic>
          <p:nvPicPr>
            <p:cNvPr id="77826" name="Picture 2"/>
            <p:cNvPicPr>
              <a:picLocks noChangeAspect="1" noChangeArrowheads="1"/>
            </p:cNvPicPr>
            <p:nvPr/>
          </p:nvPicPr>
          <p:blipFill>
            <a:blip r:embed="rId15" cstate="print"/>
            <a:srcRect l="22454" t="9669" r="20602" b="25855"/>
            <a:stretch>
              <a:fillRect/>
            </a:stretch>
          </p:blipFill>
          <p:spPr bwMode="auto">
            <a:xfrm>
              <a:off x="0" y="2935111"/>
              <a:ext cx="2777067" cy="27206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2" name="Rectangle 61"/>
            <p:cNvSpPr/>
            <p:nvPr/>
          </p:nvSpPr>
          <p:spPr bwMode="auto">
            <a:xfrm>
              <a:off x="773723" y="4555450"/>
              <a:ext cx="537882" cy="1092315"/>
            </a:xfrm>
            <a:prstGeom prst="rect">
              <a:avLst/>
            </a:prstGeom>
            <a:solidFill>
              <a:schemeClr val="bg1"/>
            </a:solidFill>
            <a:ln w="12700" cap="sq" algn="ctr">
              <a:noFill/>
              <a:miter lim="800000"/>
              <a:headEnd/>
              <a:tailEnd/>
            </a:ln>
            <a:effectLst/>
          </p:spPr>
          <p:txBody>
            <a:bodyPr wrap="none" rtlCol="0" anchor="ctr"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</p:grpSp>
      <p:sp>
        <p:nvSpPr>
          <p:cNvPr id="64" name="Down Arrow 63"/>
          <p:cNvSpPr/>
          <p:nvPr/>
        </p:nvSpPr>
        <p:spPr>
          <a:xfrm>
            <a:off x="2291645" y="4504266"/>
            <a:ext cx="383822" cy="601698"/>
          </a:xfrm>
          <a:prstGeom prst="downArrow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151813" y="6557963"/>
            <a:ext cx="803275" cy="223837"/>
          </a:xfrm>
        </p:spPr>
        <p:txBody>
          <a:bodyPr/>
          <a:lstStyle/>
          <a:p>
            <a:fld id="{1E84E7EE-6E84-4A2F-9C63-5C0BA41A9818}" type="slidenum">
              <a:rPr lang="en-US" smtClean="0">
                <a:solidFill>
                  <a:srgbClr val="000000"/>
                </a:solidFill>
              </a:rPr>
              <a:pPr/>
              <a:t>10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4000"/>
                            </p:stCondLst>
                            <p:childTnLst>
                              <p:par>
                                <p:cTn id="26" presetID="9" presetClass="exit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2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45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6500"/>
                            </p:stCondLst>
                            <p:childTnLst>
                              <p:par>
                                <p:cTn id="34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6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7500"/>
                            </p:stCondLst>
                            <p:childTnLst>
                              <p:par>
                                <p:cTn id="3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8500"/>
                            </p:stCondLst>
                            <p:childTnLst>
                              <p:par>
                                <p:cTn id="4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1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20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2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 animBg="1"/>
      <p:bldP spid="31" grpId="0" animBg="1"/>
      <p:bldP spid="45" grpId="0" animBg="1"/>
      <p:bldP spid="53" grpId="0"/>
      <p:bldP spid="34" grpId="0" animBg="1"/>
      <p:bldP spid="59" grpId="0" animBg="1"/>
      <p:bldP spid="60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84E7EE-6E84-4A2F-9C63-5C0BA41A9818}" type="slidenum">
              <a:rPr lang="en-US" smtClean="0">
                <a:solidFill>
                  <a:srgbClr val="535353"/>
                </a:solidFill>
              </a:rPr>
              <a:pPr/>
              <a:t>11</a:t>
            </a:fld>
            <a:endParaRPr lang="en-US">
              <a:solidFill>
                <a:srgbClr val="535353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1"/>
          </p:nvPr>
        </p:nvSpPr>
        <p:spPr>
          <a:xfrm>
            <a:off x="495300" y="1023938"/>
            <a:ext cx="8457314" cy="639762"/>
          </a:xfrm>
        </p:spPr>
        <p:txBody>
          <a:bodyPr/>
          <a:lstStyle/>
          <a:p>
            <a:r>
              <a:rPr lang="en-US" dirty="0" smtClean="0"/>
              <a:t>Economies of scale, speed to development and deployment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ynergies Between Grid and Transportation</a:t>
            </a:r>
            <a:endParaRPr lang="en-US" dirty="0"/>
          </a:p>
        </p:txBody>
      </p:sp>
      <p:pic>
        <p:nvPicPr>
          <p:cNvPr id="9" name="Picture 11"/>
          <p:cNvPicPr>
            <a:picLocks noChangeArrowheads="1"/>
          </p:cNvPicPr>
          <p:nvPr>
            <p:custDataLst>
              <p:tags r:id="rId1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274860" y="3150588"/>
            <a:ext cx="1124576" cy="1343019"/>
          </a:xfrm>
          <a:prstGeom prst="rect">
            <a:avLst/>
          </a:prstGeom>
          <a:noFill/>
          <a:ln w="9525" cap="flat">
            <a:noFill/>
            <a:miter lim="800000"/>
            <a:headEnd/>
            <a:tailEnd/>
          </a:ln>
        </p:spPr>
      </p:pic>
      <p:pic>
        <p:nvPicPr>
          <p:cNvPr id="10" name="Picture 14"/>
          <p:cNvPicPr>
            <a:picLocks noChangeArrowheads="1"/>
          </p:cNvPicPr>
          <p:nvPr>
            <p:custDataLst>
              <p:tags r:id="rId2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206543" y="1847129"/>
            <a:ext cx="1344817" cy="1100305"/>
          </a:xfrm>
          <a:prstGeom prst="rect">
            <a:avLst/>
          </a:prstGeom>
          <a:noFill/>
          <a:ln w="12700" cap="flat">
            <a:noFill/>
            <a:miter lim="800000"/>
            <a:headEnd/>
            <a:tailEnd/>
          </a:ln>
          <a:effectLst/>
        </p:spPr>
      </p:pic>
      <p:pic>
        <p:nvPicPr>
          <p:cNvPr id="11" name="Picture 16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457700" y="3420344"/>
            <a:ext cx="1149881" cy="934961"/>
          </a:xfrm>
          <a:prstGeom prst="rect">
            <a:avLst/>
          </a:prstGeom>
          <a:noFill/>
          <a:ln w="9525" cap="flat">
            <a:noFill/>
            <a:miter lim="800000"/>
            <a:headEnd/>
            <a:tailEnd/>
          </a:ln>
        </p:spPr>
      </p:pic>
      <p:cxnSp>
        <p:nvCxnSpPr>
          <p:cNvPr id="17" name="Shape 16"/>
          <p:cNvCxnSpPr/>
          <p:nvPr/>
        </p:nvCxnSpPr>
        <p:spPr bwMode="auto">
          <a:xfrm rot="10800000">
            <a:off x="2206543" y="2397283"/>
            <a:ext cx="1588" cy="3033501"/>
          </a:xfrm>
          <a:prstGeom prst="bentConnector3">
            <a:avLst>
              <a:gd name="adj1" fmla="val 81574333"/>
            </a:avLst>
          </a:prstGeom>
          <a:solidFill>
            <a:schemeClr val="accent2"/>
          </a:solidFill>
          <a:ln w="57150" cap="sq" cmpd="sng" algn="ctr">
            <a:solidFill>
              <a:schemeClr val="accent1"/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cxnSp>
        <p:nvCxnSpPr>
          <p:cNvPr id="25" name="Straight Arrow Connector 24"/>
          <p:cNvCxnSpPr/>
          <p:nvPr/>
        </p:nvCxnSpPr>
        <p:spPr bwMode="auto">
          <a:xfrm>
            <a:off x="3467100" y="2400300"/>
            <a:ext cx="914400" cy="1588"/>
          </a:xfrm>
          <a:prstGeom prst="straightConnector1">
            <a:avLst/>
          </a:prstGeom>
          <a:solidFill>
            <a:schemeClr val="accent2"/>
          </a:solidFill>
          <a:ln w="38100" cap="sq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26" name="Straight Arrow Connector 25"/>
          <p:cNvCxnSpPr/>
          <p:nvPr/>
        </p:nvCxnSpPr>
        <p:spPr bwMode="auto">
          <a:xfrm>
            <a:off x="5734050" y="2400300"/>
            <a:ext cx="914400" cy="1588"/>
          </a:xfrm>
          <a:prstGeom prst="straightConnector1">
            <a:avLst/>
          </a:prstGeom>
          <a:solidFill>
            <a:schemeClr val="accent2"/>
          </a:solidFill>
          <a:ln w="38100" cap="sq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27" name="Straight Arrow Connector 26"/>
          <p:cNvCxnSpPr/>
          <p:nvPr/>
        </p:nvCxnSpPr>
        <p:spPr bwMode="auto">
          <a:xfrm>
            <a:off x="3467100" y="3895725"/>
            <a:ext cx="914400" cy="1588"/>
          </a:xfrm>
          <a:prstGeom prst="straightConnector1">
            <a:avLst/>
          </a:prstGeom>
          <a:solidFill>
            <a:schemeClr val="accent2"/>
          </a:solidFill>
          <a:ln w="38100" cap="sq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28" name="Straight Arrow Connector 27"/>
          <p:cNvCxnSpPr/>
          <p:nvPr/>
        </p:nvCxnSpPr>
        <p:spPr bwMode="auto">
          <a:xfrm>
            <a:off x="5734050" y="3895725"/>
            <a:ext cx="914400" cy="1588"/>
          </a:xfrm>
          <a:prstGeom prst="straightConnector1">
            <a:avLst/>
          </a:prstGeom>
          <a:solidFill>
            <a:schemeClr val="accent2"/>
          </a:solidFill>
          <a:ln w="38100" cap="sq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1" name="Straight Arrow Connector 30"/>
          <p:cNvCxnSpPr/>
          <p:nvPr/>
        </p:nvCxnSpPr>
        <p:spPr bwMode="auto">
          <a:xfrm>
            <a:off x="1293731" y="3895725"/>
            <a:ext cx="914400" cy="1588"/>
          </a:xfrm>
          <a:prstGeom prst="straightConnector1">
            <a:avLst/>
          </a:prstGeom>
          <a:solidFill>
            <a:schemeClr val="accent2"/>
          </a:solidFill>
          <a:ln w="57150" cap="sq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pic>
        <p:nvPicPr>
          <p:cNvPr id="13" name="Picture 23"/>
          <p:cNvPicPr>
            <a:picLocks noChangeArrowheads="1"/>
          </p:cNvPicPr>
          <p:nvPr>
            <p:custDataLst>
              <p:tags r:id="rId4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 rot="32623">
            <a:off x="457203" y="3008004"/>
            <a:ext cx="1179411" cy="1618095"/>
          </a:xfrm>
          <a:prstGeom prst="rect">
            <a:avLst/>
          </a:prstGeom>
          <a:noFill/>
          <a:ln w="12700" cap="flat">
            <a:noFill/>
            <a:miter lim="800000"/>
            <a:headEnd/>
            <a:tailEnd/>
          </a:ln>
          <a:effectLst/>
        </p:spPr>
      </p:pic>
      <p:cxnSp>
        <p:nvCxnSpPr>
          <p:cNvPr id="30" name="Straight Arrow Connector 29"/>
          <p:cNvCxnSpPr/>
          <p:nvPr/>
        </p:nvCxnSpPr>
        <p:spPr bwMode="auto">
          <a:xfrm>
            <a:off x="5918770" y="5438775"/>
            <a:ext cx="731520" cy="1588"/>
          </a:xfrm>
          <a:prstGeom prst="straightConnector1">
            <a:avLst/>
          </a:prstGeom>
          <a:solidFill>
            <a:schemeClr val="accent2"/>
          </a:solidFill>
          <a:ln w="38100" cap="sq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grpSp>
        <p:nvGrpSpPr>
          <p:cNvPr id="2" name="Group 32"/>
          <p:cNvGrpSpPr/>
          <p:nvPr/>
        </p:nvGrpSpPr>
        <p:grpSpPr>
          <a:xfrm>
            <a:off x="4279050" y="4858328"/>
            <a:ext cx="1955150" cy="1163781"/>
            <a:chOff x="4279050" y="4858328"/>
            <a:chExt cx="1955150" cy="1163781"/>
          </a:xfrm>
        </p:grpSpPr>
        <p:pic>
          <p:nvPicPr>
            <p:cNvPr id="21508" name="Picture 4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4279050" y="4858328"/>
              <a:ext cx="1955150" cy="10494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32" name="Rectangle 31"/>
            <p:cNvSpPr/>
            <p:nvPr/>
          </p:nvSpPr>
          <p:spPr bwMode="auto">
            <a:xfrm>
              <a:off x="5061527" y="5809673"/>
              <a:ext cx="701964" cy="212436"/>
            </a:xfrm>
            <a:prstGeom prst="rect">
              <a:avLst/>
            </a:prstGeom>
            <a:solidFill>
              <a:schemeClr val="bg1"/>
            </a:solidFill>
            <a:ln w="12700" cap="sq" algn="ctr">
              <a:noFill/>
              <a:miter lim="800000"/>
              <a:headEnd/>
              <a:tailEnd/>
            </a:ln>
            <a:effectLst/>
          </p:spPr>
          <p:txBody>
            <a:bodyPr wrap="none" rtlCol="0" anchor="ctr"/>
            <a:lstStyle/>
            <a:p>
              <a:pPr algn="l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</p:grpSp>
      <p:cxnSp>
        <p:nvCxnSpPr>
          <p:cNvPr id="29" name="Straight Arrow Connector 28"/>
          <p:cNvCxnSpPr/>
          <p:nvPr/>
        </p:nvCxnSpPr>
        <p:spPr bwMode="auto">
          <a:xfrm>
            <a:off x="3467100" y="5438775"/>
            <a:ext cx="914400" cy="1588"/>
          </a:xfrm>
          <a:prstGeom prst="straightConnector1">
            <a:avLst/>
          </a:prstGeom>
          <a:solidFill>
            <a:schemeClr val="accent2"/>
          </a:solidFill>
          <a:ln w="38100" cap="sq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pic>
        <p:nvPicPr>
          <p:cNvPr id="33" name="Picture 3" descr="\\Us-bos-fp2\Data\Company\Marketing\Photos\PACKS &amp; SYSTEMS\Fisker\Karma Pack_5.jpg"/>
          <p:cNvPicPr>
            <a:picLocks noChangeAspect="1" noChangeArrowheads="1"/>
          </p:cNvPicPr>
          <p:nvPr/>
        </p:nvPicPr>
        <p:blipFill>
          <a:blip r:embed="rId1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419600" y="1981199"/>
            <a:ext cx="1361339" cy="822960"/>
          </a:xfrm>
          <a:prstGeom prst="rect">
            <a:avLst/>
          </a:prstGeom>
          <a:noFill/>
        </p:spPr>
      </p:pic>
      <p:pic>
        <p:nvPicPr>
          <p:cNvPr id="34" name="Picture 6" descr="\\Us-bos-fp2\Data\Company\Marketing\Photos\CUSTOMERS\Fisker\34.jpg"/>
          <p:cNvPicPr>
            <a:picLocks noChangeArrowheads="1"/>
          </p:cNvPicPr>
          <p:nvPr/>
        </p:nvPicPr>
        <p:blipFill>
          <a:blip r:embed="rId14" cstate="screen">
            <a:lum/>
          </a:blip>
          <a:srcRect/>
          <a:stretch>
            <a:fillRect/>
          </a:stretch>
        </p:blipFill>
        <p:spPr bwMode="auto">
          <a:xfrm>
            <a:off x="6800088" y="1676400"/>
            <a:ext cx="1810512" cy="1243584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</p:pic>
      <p:pic>
        <p:nvPicPr>
          <p:cNvPr id="35" name="Picture 2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5" cstate="screen"/>
          <a:srcRect/>
          <a:stretch>
            <a:fillRect/>
          </a:stretch>
        </p:blipFill>
        <p:spPr bwMode="auto">
          <a:xfrm>
            <a:off x="6803136" y="4729392"/>
            <a:ext cx="1828800" cy="1371600"/>
          </a:xfrm>
          <a:prstGeom prst="rect">
            <a:avLst/>
          </a:prstGeom>
          <a:noFill/>
          <a:ln w="9525">
            <a:solidFill>
              <a:schemeClr val="accent5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36" name="Picture 5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6" cstate="screen"/>
          <a:srcRect/>
          <a:stretch>
            <a:fillRect/>
          </a:stretch>
        </p:blipFill>
        <p:spPr bwMode="auto">
          <a:xfrm>
            <a:off x="6801917" y="3158956"/>
            <a:ext cx="1828800" cy="1341568"/>
          </a:xfrm>
          <a:prstGeom prst="rect">
            <a:avLst/>
          </a:prstGeom>
          <a:noFill/>
          <a:ln w="9525">
            <a:solidFill>
              <a:schemeClr val="accent5">
                <a:lumMod val="60000"/>
                <a:lumOff val="40000"/>
              </a:schemeClr>
            </a:solidFill>
            <a:miter lim="800000"/>
            <a:headEnd/>
            <a:tailEnd/>
          </a:ln>
        </p:spPr>
      </p:pic>
      <p:pic>
        <p:nvPicPr>
          <p:cNvPr id="37" name="Picture 3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2385037" y="4707565"/>
            <a:ext cx="804730" cy="14629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andia Energy Storage Report</a:t>
            </a:r>
            <a:endParaRPr lang="en-US" dirty="0"/>
          </a:p>
        </p:txBody>
      </p:sp>
      <p:pic>
        <p:nvPicPr>
          <p:cNvPr id="24579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4402" y="1603375"/>
            <a:ext cx="3678602" cy="4573588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</p:pic>
      <p:pic>
        <p:nvPicPr>
          <p:cNvPr id="24580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223132" y="1258987"/>
            <a:ext cx="4772025" cy="5219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151813" y="6557963"/>
            <a:ext cx="803275" cy="223837"/>
          </a:xfrm>
        </p:spPr>
        <p:txBody>
          <a:bodyPr/>
          <a:lstStyle/>
          <a:p>
            <a:fld id="{1E84E7EE-6E84-4A2F-9C63-5C0BA41A9818}" type="slidenum">
              <a:rPr lang="en-US" smtClean="0"/>
              <a:pPr/>
              <a:t>2</a:t>
            </a:fld>
            <a:endParaRPr lang="en-US" dirty="0"/>
          </a:p>
        </p:txBody>
      </p:sp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84E7EE-6E84-4A2F-9C63-5C0BA41A9818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" name="Title 3"/>
          <p:cNvSpPr>
            <a:spLocks noGrp="1"/>
          </p:cNvSpPr>
          <p:nvPr>
            <p:ph type="title"/>
          </p:nvPr>
        </p:nvSpPr>
        <p:spPr>
          <a:xfrm>
            <a:off x="2739456" y="294032"/>
            <a:ext cx="3681641" cy="654134"/>
          </a:xfrm>
        </p:spPr>
        <p:txBody>
          <a:bodyPr/>
          <a:lstStyle/>
          <a:p>
            <a:r>
              <a:rPr lang="en-US" sz="2400" dirty="0" smtClean="0"/>
              <a:t>Total USA Storage Market</a:t>
            </a:r>
            <a:br>
              <a:rPr lang="en-US" sz="2400" dirty="0" smtClean="0"/>
            </a:br>
            <a:r>
              <a:rPr lang="en-US" sz="2400" dirty="0" smtClean="0"/>
              <a:t>Potential = &gt;$</a:t>
            </a:r>
            <a:r>
              <a:rPr lang="en-US" sz="2400" dirty="0" smtClean="0"/>
              <a:t>22B/year</a:t>
            </a:r>
            <a:endParaRPr lang="en-US" sz="2400" dirty="0"/>
          </a:p>
        </p:txBody>
      </p:sp>
      <p:sp>
        <p:nvSpPr>
          <p:cNvPr id="7" name="TextBox 6"/>
          <p:cNvSpPr txBox="1"/>
          <p:nvPr/>
        </p:nvSpPr>
        <p:spPr bwMode="auto">
          <a:xfrm>
            <a:off x="314503" y="6128442"/>
            <a:ext cx="4272708" cy="286232"/>
          </a:xfrm>
          <a:prstGeom prst="rect">
            <a:avLst/>
          </a:prstGeom>
          <a:noFill/>
          <a:ln w="12700" cap="sq" algn="ctr">
            <a:noFill/>
            <a:miter lim="800000"/>
            <a:headEnd/>
            <a:tailEnd/>
          </a:ln>
          <a:effectLst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rgbClr val="000000"/>
                </a:solidFill>
                <a:latin typeface="Calibri" pitchFamily="34" charset="0"/>
              </a:rPr>
              <a:t>Source: Sandia Report: SAND2010-0815  February 2010</a:t>
            </a:r>
            <a:endParaRPr lang="en-US" sz="14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73062" name="Rectangle 6"/>
          <p:cNvSpPr>
            <a:spLocks noChangeArrowheads="1"/>
          </p:cNvSpPr>
          <p:nvPr/>
        </p:nvSpPr>
        <p:spPr bwMode="auto">
          <a:xfrm>
            <a:off x="1762385" y="1280406"/>
            <a:ext cx="5751513" cy="2517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063" name="Freeform 7"/>
          <p:cNvSpPr>
            <a:spLocks noEditPoints="1"/>
          </p:cNvSpPr>
          <p:nvPr/>
        </p:nvSpPr>
        <p:spPr bwMode="auto">
          <a:xfrm>
            <a:off x="1767147" y="1280406"/>
            <a:ext cx="5740400" cy="2246313"/>
          </a:xfrm>
          <a:custGeom>
            <a:avLst/>
            <a:gdLst/>
            <a:ahLst/>
            <a:cxnLst>
              <a:cxn ang="0">
                <a:pos x="0" y="1408"/>
              </a:cxn>
              <a:cxn ang="0">
                <a:pos x="3616" y="1408"/>
              </a:cxn>
              <a:cxn ang="0">
                <a:pos x="3616" y="1415"/>
              </a:cxn>
              <a:cxn ang="0">
                <a:pos x="0" y="1415"/>
              </a:cxn>
              <a:cxn ang="0">
                <a:pos x="0" y="1408"/>
              </a:cxn>
              <a:cxn ang="0">
                <a:pos x="0" y="1231"/>
              </a:cxn>
              <a:cxn ang="0">
                <a:pos x="3616" y="1231"/>
              </a:cxn>
              <a:cxn ang="0">
                <a:pos x="3616" y="1237"/>
              </a:cxn>
              <a:cxn ang="0">
                <a:pos x="0" y="1237"/>
              </a:cxn>
              <a:cxn ang="0">
                <a:pos x="0" y="1231"/>
              </a:cxn>
              <a:cxn ang="0">
                <a:pos x="0" y="1053"/>
              </a:cxn>
              <a:cxn ang="0">
                <a:pos x="3616" y="1053"/>
              </a:cxn>
              <a:cxn ang="0">
                <a:pos x="3616" y="1059"/>
              </a:cxn>
              <a:cxn ang="0">
                <a:pos x="0" y="1059"/>
              </a:cxn>
              <a:cxn ang="0">
                <a:pos x="0" y="1053"/>
              </a:cxn>
              <a:cxn ang="0">
                <a:pos x="0" y="882"/>
              </a:cxn>
              <a:cxn ang="0">
                <a:pos x="3616" y="882"/>
              </a:cxn>
              <a:cxn ang="0">
                <a:pos x="3616" y="888"/>
              </a:cxn>
              <a:cxn ang="0">
                <a:pos x="0" y="888"/>
              </a:cxn>
              <a:cxn ang="0">
                <a:pos x="0" y="882"/>
              </a:cxn>
              <a:cxn ang="0">
                <a:pos x="0" y="704"/>
              </a:cxn>
              <a:cxn ang="0">
                <a:pos x="3616" y="704"/>
              </a:cxn>
              <a:cxn ang="0">
                <a:pos x="3616" y="710"/>
              </a:cxn>
              <a:cxn ang="0">
                <a:pos x="0" y="710"/>
              </a:cxn>
              <a:cxn ang="0">
                <a:pos x="0" y="704"/>
              </a:cxn>
              <a:cxn ang="0">
                <a:pos x="0" y="526"/>
              </a:cxn>
              <a:cxn ang="0">
                <a:pos x="3616" y="526"/>
              </a:cxn>
              <a:cxn ang="0">
                <a:pos x="3616" y="533"/>
              </a:cxn>
              <a:cxn ang="0">
                <a:pos x="0" y="533"/>
              </a:cxn>
              <a:cxn ang="0">
                <a:pos x="0" y="526"/>
              </a:cxn>
              <a:cxn ang="0">
                <a:pos x="0" y="349"/>
              </a:cxn>
              <a:cxn ang="0">
                <a:pos x="3616" y="349"/>
              </a:cxn>
              <a:cxn ang="0">
                <a:pos x="3616" y="355"/>
              </a:cxn>
              <a:cxn ang="0">
                <a:pos x="0" y="355"/>
              </a:cxn>
              <a:cxn ang="0">
                <a:pos x="0" y="349"/>
              </a:cxn>
              <a:cxn ang="0">
                <a:pos x="0" y="177"/>
              </a:cxn>
              <a:cxn ang="0">
                <a:pos x="3616" y="177"/>
              </a:cxn>
              <a:cxn ang="0">
                <a:pos x="3616" y="184"/>
              </a:cxn>
              <a:cxn ang="0">
                <a:pos x="0" y="184"/>
              </a:cxn>
              <a:cxn ang="0">
                <a:pos x="0" y="177"/>
              </a:cxn>
              <a:cxn ang="0">
                <a:pos x="0" y="0"/>
              </a:cxn>
              <a:cxn ang="0">
                <a:pos x="3616" y="0"/>
              </a:cxn>
              <a:cxn ang="0">
                <a:pos x="3616" y="6"/>
              </a:cxn>
              <a:cxn ang="0">
                <a:pos x="0" y="6"/>
              </a:cxn>
              <a:cxn ang="0">
                <a:pos x="0" y="0"/>
              </a:cxn>
            </a:cxnLst>
            <a:rect l="0" t="0" r="r" b="b"/>
            <a:pathLst>
              <a:path w="3616" h="1415">
                <a:moveTo>
                  <a:pt x="0" y="1408"/>
                </a:moveTo>
                <a:lnTo>
                  <a:pt x="3616" y="1408"/>
                </a:lnTo>
                <a:lnTo>
                  <a:pt x="3616" y="1415"/>
                </a:lnTo>
                <a:lnTo>
                  <a:pt x="0" y="1415"/>
                </a:lnTo>
                <a:lnTo>
                  <a:pt x="0" y="1408"/>
                </a:lnTo>
                <a:close/>
                <a:moveTo>
                  <a:pt x="0" y="1231"/>
                </a:moveTo>
                <a:lnTo>
                  <a:pt x="3616" y="1231"/>
                </a:lnTo>
                <a:lnTo>
                  <a:pt x="3616" y="1237"/>
                </a:lnTo>
                <a:lnTo>
                  <a:pt x="0" y="1237"/>
                </a:lnTo>
                <a:lnTo>
                  <a:pt x="0" y="1231"/>
                </a:lnTo>
                <a:close/>
                <a:moveTo>
                  <a:pt x="0" y="1053"/>
                </a:moveTo>
                <a:lnTo>
                  <a:pt x="3616" y="1053"/>
                </a:lnTo>
                <a:lnTo>
                  <a:pt x="3616" y="1059"/>
                </a:lnTo>
                <a:lnTo>
                  <a:pt x="0" y="1059"/>
                </a:lnTo>
                <a:lnTo>
                  <a:pt x="0" y="1053"/>
                </a:lnTo>
                <a:close/>
                <a:moveTo>
                  <a:pt x="0" y="882"/>
                </a:moveTo>
                <a:lnTo>
                  <a:pt x="3616" y="882"/>
                </a:lnTo>
                <a:lnTo>
                  <a:pt x="3616" y="888"/>
                </a:lnTo>
                <a:lnTo>
                  <a:pt x="0" y="888"/>
                </a:lnTo>
                <a:lnTo>
                  <a:pt x="0" y="882"/>
                </a:lnTo>
                <a:close/>
                <a:moveTo>
                  <a:pt x="0" y="704"/>
                </a:moveTo>
                <a:lnTo>
                  <a:pt x="3616" y="704"/>
                </a:lnTo>
                <a:lnTo>
                  <a:pt x="3616" y="710"/>
                </a:lnTo>
                <a:lnTo>
                  <a:pt x="0" y="710"/>
                </a:lnTo>
                <a:lnTo>
                  <a:pt x="0" y="704"/>
                </a:lnTo>
                <a:close/>
                <a:moveTo>
                  <a:pt x="0" y="526"/>
                </a:moveTo>
                <a:lnTo>
                  <a:pt x="3616" y="526"/>
                </a:lnTo>
                <a:lnTo>
                  <a:pt x="3616" y="533"/>
                </a:lnTo>
                <a:lnTo>
                  <a:pt x="0" y="533"/>
                </a:lnTo>
                <a:lnTo>
                  <a:pt x="0" y="526"/>
                </a:lnTo>
                <a:close/>
                <a:moveTo>
                  <a:pt x="0" y="349"/>
                </a:moveTo>
                <a:lnTo>
                  <a:pt x="3616" y="349"/>
                </a:lnTo>
                <a:lnTo>
                  <a:pt x="3616" y="355"/>
                </a:lnTo>
                <a:lnTo>
                  <a:pt x="0" y="355"/>
                </a:lnTo>
                <a:lnTo>
                  <a:pt x="0" y="349"/>
                </a:lnTo>
                <a:close/>
                <a:moveTo>
                  <a:pt x="0" y="177"/>
                </a:moveTo>
                <a:lnTo>
                  <a:pt x="3616" y="177"/>
                </a:lnTo>
                <a:lnTo>
                  <a:pt x="3616" y="184"/>
                </a:lnTo>
                <a:lnTo>
                  <a:pt x="0" y="184"/>
                </a:lnTo>
                <a:lnTo>
                  <a:pt x="0" y="177"/>
                </a:lnTo>
                <a:close/>
                <a:moveTo>
                  <a:pt x="0" y="0"/>
                </a:moveTo>
                <a:lnTo>
                  <a:pt x="3616" y="0"/>
                </a:lnTo>
                <a:lnTo>
                  <a:pt x="3616" y="6"/>
                </a:lnTo>
                <a:lnTo>
                  <a:pt x="0" y="6"/>
                </a:lnTo>
                <a:lnTo>
                  <a:pt x="0" y="0"/>
                </a:lnTo>
                <a:close/>
              </a:path>
            </a:pathLst>
          </a:custGeom>
          <a:solidFill>
            <a:srgbClr val="868686"/>
          </a:solidFill>
          <a:ln w="6" cap="flat">
            <a:solidFill>
              <a:srgbClr val="868686"/>
            </a:solidFill>
            <a:prstDash val="solid"/>
            <a:bevel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064" name="Freeform 8"/>
          <p:cNvSpPr>
            <a:spLocks noEditPoints="1"/>
          </p:cNvSpPr>
          <p:nvPr/>
        </p:nvSpPr>
        <p:spPr bwMode="auto">
          <a:xfrm>
            <a:off x="1852872" y="1642356"/>
            <a:ext cx="5570538" cy="2155825"/>
          </a:xfrm>
          <a:custGeom>
            <a:avLst/>
            <a:gdLst/>
            <a:ahLst/>
            <a:cxnLst>
              <a:cxn ang="0">
                <a:pos x="76" y="1295"/>
              </a:cxn>
              <a:cxn ang="0">
                <a:pos x="0" y="1358"/>
              </a:cxn>
              <a:cxn ang="0">
                <a:pos x="190" y="1269"/>
              </a:cxn>
              <a:cxn ang="0">
                <a:pos x="266" y="1358"/>
              </a:cxn>
              <a:cxn ang="0">
                <a:pos x="190" y="1269"/>
              </a:cxn>
              <a:cxn ang="0">
                <a:pos x="456" y="1257"/>
              </a:cxn>
              <a:cxn ang="0">
                <a:pos x="380" y="1358"/>
              </a:cxn>
              <a:cxn ang="0">
                <a:pos x="571" y="1180"/>
              </a:cxn>
              <a:cxn ang="0">
                <a:pos x="647" y="1358"/>
              </a:cxn>
              <a:cxn ang="0">
                <a:pos x="571" y="1180"/>
              </a:cxn>
              <a:cxn ang="0">
                <a:pos x="837" y="1174"/>
              </a:cxn>
              <a:cxn ang="0">
                <a:pos x="761" y="1358"/>
              </a:cxn>
              <a:cxn ang="0">
                <a:pos x="951" y="1092"/>
              </a:cxn>
              <a:cxn ang="0">
                <a:pos x="1028" y="1358"/>
              </a:cxn>
              <a:cxn ang="0">
                <a:pos x="951" y="1092"/>
              </a:cxn>
              <a:cxn ang="0">
                <a:pos x="1218" y="1047"/>
              </a:cxn>
              <a:cxn ang="0">
                <a:pos x="1142" y="1358"/>
              </a:cxn>
              <a:cxn ang="0">
                <a:pos x="1332" y="1041"/>
              </a:cxn>
              <a:cxn ang="0">
                <a:pos x="1408" y="1358"/>
              </a:cxn>
              <a:cxn ang="0">
                <a:pos x="1332" y="1041"/>
              </a:cxn>
              <a:cxn ang="0">
                <a:pos x="1599" y="1035"/>
              </a:cxn>
              <a:cxn ang="0">
                <a:pos x="1522" y="1358"/>
              </a:cxn>
              <a:cxn ang="0">
                <a:pos x="1713" y="1003"/>
              </a:cxn>
              <a:cxn ang="0">
                <a:pos x="1789" y="1358"/>
              </a:cxn>
              <a:cxn ang="0">
                <a:pos x="1713" y="1003"/>
              </a:cxn>
              <a:cxn ang="0">
                <a:pos x="1986" y="946"/>
              </a:cxn>
              <a:cxn ang="0">
                <a:pos x="1903" y="1358"/>
              </a:cxn>
              <a:cxn ang="0">
                <a:pos x="2100" y="914"/>
              </a:cxn>
              <a:cxn ang="0">
                <a:pos x="2176" y="1358"/>
              </a:cxn>
              <a:cxn ang="0">
                <a:pos x="2100" y="914"/>
              </a:cxn>
              <a:cxn ang="0">
                <a:pos x="2366" y="914"/>
              </a:cxn>
              <a:cxn ang="0">
                <a:pos x="2290" y="1358"/>
              </a:cxn>
              <a:cxn ang="0">
                <a:pos x="2481" y="908"/>
              </a:cxn>
              <a:cxn ang="0">
                <a:pos x="2557" y="1358"/>
              </a:cxn>
              <a:cxn ang="0">
                <a:pos x="2481" y="908"/>
              </a:cxn>
              <a:cxn ang="0">
                <a:pos x="2747" y="908"/>
              </a:cxn>
              <a:cxn ang="0">
                <a:pos x="2671" y="1358"/>
              </a:cxn>
              <a:cxn ang="0">
                <a:pos x="2861" y="870"/>
              </a:cxn>
              <a:cxn ang="0">
                <a:pos x="2937" y="1358"/>
              </a:cxn>
              <a:cxn ang="0">
                <a:pos x="2861" y="870"/>
              </a:cxn>
              <a:cxn ang="0">
                <a:pos x="3128" y="806"/>
              </a:cxn>
              <a:cxn ang="0">
                <a:pos x="3052" y="1358"/>
              </a:cxn>
              <a:cxn ang="0">
                <a:pos x="3242" y="451"/>
              </a:cxn>
              <a:cxn ang="0">
                <a:pos x="3318" y="1358"/>
              </a:cxn>
              <a:cxn ang="0">
                <a:pos x="3242" y="451"/>
              </a:cxn>
              <a:cxn ang="0">
                <a:pos x="3509" y="0"/>
              </a:cxn>
              <a:cxn ang="0">
                <a:pos x="3432" y="1358"/>
              </a:cxn>
            </a:cxnLst>
            <a:rect l="0" t="0" r="r" b="b"/>
            <a:pathLst>
              <a:path w="3509" h="1358">
                <a:moveTo>
                  <a:pt x="0" y="1295"/>
                </a:moveTo>
                <a:lnTo>
                  <a:pt x="76" y="1295"/>
                </a:lnTo>
                <a:lnTo>
                  <a:pt x="76" y="1358"/>
                </a:lnTo>
                <a:lnTo>
                  <a:pt x="0" y="1358"/>
                </a:lnTo>
                <a:lnTo>
                  <a:pt x="0" y="1295"/>
                </a:lnTo>
                <a:close/>
                <a:moveTo>
                  <a:pt x="190" y="1269"/>
                </a:moveTo>
                <a:lnTo>
                  <a:pt x="266" y="1269"/>
                </a:lnTo>
                <a:lnTo>
                  <a:pt x="266" y="1358"/>
                </a:lnTo>
                <a:lnTo>
                  <a:pt x="190" y="1358"/>
                </a:lnTo>
                <a:lnTo>
                  <a:pt x="190" y="1269"/>
                </a:lnTo>
                <a:close/>
                <a:moveTo>
                  <a:pt x="380" y="1257"/>
                </a:moveTo>
                <a:lnTo>
                  <a:pt x="456" y="1257"/>
                </a:lnTo>
                <a:lnTo>
                  <a:pt x="456" y="1358"/>
                </a:lnTo>
                <a:lnTo>
                  <a:pt x="380" y="1358"/>
                </a:lnTo>
                <a:lnTo>
                  <a:pt x="380" y="1257"/>
                </a:lnTo>
                <a:close/>
                <a:moveTo>
                  <a:pt x="571" y="1180"/>
                </a:moveTo>
                <a:lnTo>
                  <a:pt x="647" y="1180"/>
                </a:lnTo>
                <a:lnTo>
                  <a:pt x="647" y="1358"/>
                </a:lnTo>
                <a:lnTo>
                  <a:pt x="571" y="1358"/>
                </a:lnTo>
                <a:lnTo>
                  <a:pt x="571" y="1180"/>
                </a:lnTo>
                <a:close/>
                <a:moveTo>
                  <a:pt x="761" y="1174"/>
                </a:moveTo>
                <a:lnTo>
                  <a:pt x="837" y="1174"/>
                </a:lnTo>
                <a:lnTo>
                  <a:pt x="837" y="1358"/>
                </a:lnTo>
                <a:lnTo>
                  <a:pt x="761" y="1358"/>
                </a:lnTo>
                <a:lnTo>
                  <a:pt x="761" y="1174"/>
                </a:lnTo>
                <a:close/>
                <a:moveTo>
                  <a:pt x="951" y="1092"/>
                </a:moveTo>
                <a:lnTo>
                  <a:pt x="1028" y="1092"/>
                </a:lnTo>
                <a:lnTo>
                  <a:pt x="1028" y="1358"/>
                </a:lnTo>
                <a:lnTo>
                  <a:pt x="951" y="1358"/>
                </a:lnTo>
                <a:lnTo>
                  <a:pt x="951" y="1092"/>
                </a:lnTo>
                <a:close/>
                <a:moveTo>
                  <a:pt x="1142" y="1047"/>
                </a:moveTo>
                <a:lnTo>
                  <a:pt x="1218" y="1047"/>
                </a:lnTo>
                <a:lnTo>
                  <a:pt x="1218" y="1358"/>
                </a:lnTo>
                <a:lnTo>
                  <a:pt x="1142" y="1358"/>
                </a:lnTo>
                <a:lnTo>
                  <a:pt x="1142" y="1047"/>
                </a:lnTo>
                <a:close/>
                <a:moveTo>
                  <a:pt x="1332" y="1041"/>
                </a:moveTo>
                <a:lnTo>
                  <a:pt x="1408" y="1041"/>
                </a:lnTo>
                <a:lnTo>
                  <a:pt x="1408" y="1358"/>
                </a:lnTo>
                <a:lnTo>
                  <a:pt x="1332" y="1358"/>
                </a:lnTo>
                <a:lnTo>
                  <a:pt x="1332" y="1041"/>
                </a:lnTo>
                <a:close/>
                <a:moveTo>
                  <a:pt x="1522" y="1035"/>
                </a:moveTo>
                <a:lnTo>
                  <a:pt x="1599" y="1035"/>
                </a:lnTo>
                <a:lnTo>
                  <a:pt x="1599" y="1358"/>
                </a:lnTo>
                <a:lnTo>
                  <a:pt x="1522" y="1358"/>
                </a:lnTo>
                <a:lnTo>
                  <a:pt x="1522" y="1035"/>
                </a:lnTo>
                <a:close/>
                <a:moveTo>
                  <a:pt x="1713" y="1003"/>
                </a:moveTo>
                <a:lnTo>
                  <a:pt x="1789" y="1003"/>
                </a:lnTo>
                <a:lnTo>
                  <a:pt x="1789" y="1358"/>
                </a:lnTo>
                <a:lnTo>
                  <a:pt x="1713" y="1358"/>
                </a:lnTo>
                <a:lnTo>
                  <a:pt x="1713" y="1003"/>
                </a:lnTo>
                <a:close/>
                <a:moveTo>
                  <a:pt x="1903" y="946"/>
                </a:moveTo>
                <a:lnTo>
                  <a:pt x="1986" y="946"/>
                </a:lnTo>
                <a:lnTo>
                  <a:pt x="1986" y="1358"/>
                </a:lnTo>
                <a:lnTo>
                  <a:pt x="1903" y="1358"/>
                </a:lnTo>
                <a:lnTo>
                  <a:pt x="1903" y="946"/>
                </a:lnTo>
                <a:close/>
                <a:moveTo>
                  <a:pt x="2100" y="914"/>
                </a:moveTo>
                <a:lnTo>
                  <a:pt x="2176" y="914"/>
                </a:lnTo>
                <a:lnTo>
                  <a:pt x="2176" y="1358"/>
                </a:lnTo>
                <a:lnTo>
                  <a:pt x="2100" y="1358"/>
                </a:lnTo>
                <a:lnTo>
                  <a:pt x="2100" y="914"/>
                </a:lnTo>
                <a:close/>
                <a:moveTo>
                  <a:pt x="2290" y="914"/>
                </a:moveTo>
                <a:lnTo>
                  <a:pt x="2366" y="914"/>
                </a:lnTo>
                <a:lnTo>
                  <a:pt x="2366" y="1358"/>
                </a:lnTo>
                <a:lnTo>
                  <a:pt x="2290" y="1358"/>
                </a:lnTo>
                <a:lnTo>
                  <a:pt x="2290" y="914"/>
                </a:lnTo>
                <a:close/>
                <a:moveTo>
                  <a:pt x="2481" y="908"/>
                </a:moveTo>
                <a:lnTo>
                  <a:pt x="2557" y="908"/>
                </a:lnTo>
                <a:lnTo>
                  <a:pt x="2557" y="1358"/>
                </a:lnTo>
                <a:lnTo>
                  <a:pt x="2481" y="1358"/>
                </a:lnTo>
                <a:lnTo>
                  <a:pt x="2481" y="908"/>
                </a:lnTo>
                <a:close/>
                <a:moveTo>
                  <a:pt x="2671" y="908"/>
                </a:moveTo>
                <a:lnTo>
                  <a:pt x="2747" y="908"/>
                </a:lnTo>
                <a:lnTo>
                  <a:pt x="2747" y="1358"/>
                </a:lnTo>
                <a:lnTo>
                  <a:pt x="2671" y="1358"/>
                </a:lnTo>
                <a:lnTo>
                  <a:pt x="2671" y="908"/>
                </a:lnTo>
                <a:close/>
                <a:moveTo>
                  <a:pt x="2861" y="870"/>
                </a:moveTo>
                <a:lnTo>
                  <a:pt x="2937" y="870"/>
                </a:lnTo>
                <a:lnTo>
                  <a:pt x="2937" y="1358"/>
                </a:lnTo>
                <a:lnTo>
                  <a:pt x="2861" y="1358"/>
                </a:lnTo>
                <a:lnTo>
                  <a:pt x="2861" y="870"/>
                </a:lnTo>
                <a:close/>
                <a:moveTo>
                  <a:pt x="3052" y="806"/>
                </a:moveTo>
                <a:lnTo>
                  <a:pt x="3128" y="806"/>
                </a:lnTo>
                <a:lnTo>
                  <a:pt x="3128" y="1358"/>
                </a:lnTo>
                <a:lnTo>
                  <a:pt x="3052" y="1358"/>
                </a:lnTo>
                <a:lnTo>
                  <a:pt x="3052" y="806"/>
                </a:lnTo>
                <a:close/>
                <a:moveTo>
                  <a:pt x="3242" y="451"/>
                </a:moveTo>
                <a:lnTo>
                  <a:pt x="3318" y="451"/>
                </a:lnTo>
                <a:lnTo>
                  <a:pt x="3318" y="1358"/>
                </a:lnTo>
                <a:lnTo>
                  <a:pt x="3242" y="1358"/>
                </a:lnTo>
                <a:lnTo>
                  <a:pt x="3242" y="451"/>
                </a:lnTo>
                <a:close/>
                <a:moveTo>
                  <a:pt x="3432" y="0"/>
                </a:moveTo>
                <a:lnTo>
                  <a:pt x="3509" y="0"/>
                </a:lnTo>
                <a:lnTo>
                  <a:pt x="3509" y="1358"/>
                </a:lnTo>
                <a:lnTo>
                  <a:pt x="3432" y="1358"/>
                </a:lnTo>
                <a:lnTo>
                  <a:pt x="3432" y="0"/>
                </a:lnTo>
                <a:close/>
              </a:path>
            </a:pathLst>
          </a:custGeom>
          <a:solidFill>
            <a:srgbClr val="4F81B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065" name="Rectangle 9"/>
          <p:cNvSpPr>
            <a:spLocks noChangeArrowheads="1"/>
          </p:cNvSpPr>
          <p:nvPr/>
        </p:nvSpPr>
        <p:spPr bwMode="auto">
          <a:xfrm>
            <a:off x="7502785" y="1285168"/>
            <a:ext cx="11113" cy="2508250"/>
          </a:xfrm>
          <a:prstGeom prst="rect">
            <a:avLst/>
          </a:prstGeom>
          <a:solidFill>
            <a:srgbClr val="868686"/>
          </a:solidFill>
          <a:ln w="6" cap="flat">
            <a:solidFill>
              <a:srgbClr val="868686"/>
            </a:solidFill>
            <a:prstDash val="solid"/>
            <a:bevel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066" name="Freeform 10"/>
          <p:cNvSpPr>
            <a:spLocks noEditPoints="1"/>
          </p:cNvSpPr>
          <p:nvPr/>
        </p:nvSpPr>
        <p:spPr bwMode="auto">
          <a:xfrm>
            <a:off x="7507547" y="1280406"/>
            <a:ext cx="50800" cy="2517775"/>
          </a:xfrm>
          <a:custGeom>
            <a:avLst/>
            <a:gdLst/>
            <a:ahLst/>
            <a:cxnLst>
              <a:cxn ang="0">
                <a:pos x="0" y="1580"/>
              </a:cxn>
              <a:cxn ang="0">
                <a:pos x="32" y="1580"/>
              </a:cxn>
              <a:cxn ang="0">
                <a:pos x="32" y="1586"/>
              </a:cxn>
              <a:cxn ang="0">
                <a:pos x="0" y="1586"/>
              </a:cxn>
              <a:cxn ang="0">
                <a:pos x="0" y="1580"/>
              </a:cxn>
              <a:cxn ang="0">
                <a:pos x="0" y="1358"/>
              </a:cxn>
              <a:cxn ang="0">
                <a:pos x="32" y="1358"/>
              </a:cxn>
              <a:cxn ang="0">
                <a:pos x="32" y="1364"/>
              </a:cxn>
              <a:cxn ang="0">
                <a:pos x="0" y="1364"/>
              </a:cxn>
              <a:cxn ang="0">
                <a:pos x="0" y="1358"/>
              </a:cxn>
              <a:cxn ang="0">
                <a:pos x="0" y="1129"/>
              </a:cxn>
              <a:cxn ang="0">
                <a:pos x="32" y="1129"/>
              </a:cxn>
              <a:cxn ang="0">
                <a:pos x="32" y="1136"/>
              </a:cxn>
              <a:cxn ang="0">
                <a:pos x="0" y="1136"/>
              </a:cxn>
              <a:cxn ang="0">
                <a:pos x="0" y="1129"/>
              </a:cxn>
              <a:cxn ang="0">
                <a:pos x="0" y="901"/>
              </a:cxn>
              <a:cxn ang="0">
                <a:pos x="32" y="901"/>
              </a:cxn>
              <a:cxn ang="0">
                <a:pos x="32" y="907"/>
              </a:cxn>
              <a:cxn ang="0">
                <a:pos x="0" y="907"/>
              </a:cxn>
              <a:cxn ang="0">
                <a:pos x="0" y="901"/>
              </a:cxn>
              <a:cxn ang="0">
                <a:pos x="0" y="679"/>
              </a:cxn>
              <a:cxn ang="0">
                <a:pos x="32" y="679"/>
              </a:cxn>
              <a:cxn ang="0">
                <a:pos x="32" y="685"/>
              </a:cxn>
              <a:cxn ang="0">
                <a:pos x="0" y="685"/>
              </a:cxn>
              <a:cxn ang="0">
                <a:pos x="0" y="679"/>
              </a:cxn>
              <a:cxn ang="0">
                <a:pos x="0" y="450"/>
              </a:cxn>
              <a:cxn ang="0">
                <a:pos x="32" y="450"/>
              </a:cxn>
              <a:cxn ang="0">
                <a:pos x="32" y="457"/>
              </a:cxn>
              <a:cxn ang="0">
                <a:pos x="0" y="457"/>
              </a:cxn>
              <a:cxn ang="0">
                <a:pos x="0" y="450"/>
              </a:cxn>
              <a:cxn ang="0">
                <a:pos x="0" y="228"/>
              </a:cxn>
              <a:cxn ang="0">
                <a:pos x="32" y="228"/>
              </a:cxn>
              <a:cxn ang="0">
                <a:pos x="32" y="235"/>
              </a:cxn>
              <a:cxn ang="0">
                <a:pos x="0" y="235"/>
              </a:cxn>
              <a:cxn ang="0">
                <a:pos x="0" y="228"/>
              </a:cxn>
              <a:cxn ang="0">
                <a:pos x="0" y="0"/>
              </a:cxn>
              <a:cxn ang="0">
                <a:pos x="32" y="0"/>
              </a:cxn>
              <a:cxn ang="0">
                <a:pos x="32" y="6"/>
              </a:cxn>
              <a:cxn ang="0">
                <a:pos x="0" y="6"/>
              </a:cxn>
              <a:cxn ang="0">
                <a:pos x="0" y="0"/>
              </a:cxn>
            </a:cxnLst>
            <a:rect l="0" t="0" r="r" b="b"/>
            <a:pathLst>
              <a:path w="32" h="1586">
                <a:moveTo>
                  <a:pt x="0" y="1580"/>
                </a:moveTo>
                <a:lnTo>
                  <a:pt x="32" y="1580"/>
                </a:lnTo>
                <a:lnTo>
                  <a:pt x="32" y="1586"/>
                </a:lnTo>
                <a:lnTo>
                  <a:pt x="0" y="1586"/>
                </a:lnTo>
                <a:lnTo>
                  <a:pt x="0" y="1580"/>
                </a:lnTo>
                <a:close/>
                <a:moveTo>
                  <a:pt x="0" y="1358"/>
                </a:moveTo>
                <a:lnTo>
                  <a:pt x="32" y="1358"/>
                </a:lnTo>
                <a:lnTo>
                  <a:pt x="32" y="1364"/>
                </a:lnTo>
                <a:lnTo>
                  <a:pt x="0" y="1364"/>
                </a:lnTo>
                <a:lnTo>
                  <a:pt x="0" y="1358"/>
                </a:lnTo>
                <a:close/>
                <a:moveTo>
                  <a:pt x="0" y="1129"/>
                </a:moveTo>
                <a:lnTo>
                  <a:pt x="32" y="1129"/>
                </a:lnTo>
                <a:lnTo>
                  <a:pt x="32" y="1136"/>
                </a:lnTo>
                <a:lnTo>
                  <a:pt x="0" y="1136"/>
                </a:lnTo>
                <a:lnTo>
                  <a:pt x="0" y="1129"/>
                </a:lnTo>
                <a:close/>
                <a:moveTo>
                  <a:pt x="0" y="901"/>
                </a:moveTo>
                <a:lnTo>
                  <a:pt x="32" y="901"/>
                </a:lnTo>
                <a:lnTo>
                  <a:pt x="32" y="907"/>
                </a:lnTo>
                <a:lnTo>
                  <a:pt x="0" y="907"/>
                </a:lnTo>
                <a:lnTo>
                  <a:pt x="0" y="901"/>
                </a:lnTo>
                <a:close/>
                <a:moveTo>
                  <a:pt x="0" y="679"/>
                </a:moveTo>
                <a:lnTo>
                  <a:pt x="32" y="679"/>
                </a:lnTo>
                <a:lnTo>
                  <a:pt x="32" y="685"/>
                </a:lnTo>
                <a:lnTo>
                  <a:pt x="0" y="685"/>
                </a:lnTo>
                <a:lnTo>
                  <a:pt x="0" y="679"/>
                </a:lnTo>
                <a:close/>
                <a:moveTo>
                  <a:pt x="0" y="450"/>
                </a:moveTo>
                <a:lnTo>
                  <a:pt x="32" y="450"/>
                </a:lnTo>
                <a:lnTo>
                  <a:pt x="32" y="457"/>
                </a:lnTo>
                <a:lnTo>
                  <a:pt x="0" y="457"/>
                </a:lnTo>
                <a:lnTo>
                  <a:pt x="0" y="450"/>
                </a:lnTo>
                <a:close/>
                <a:moveTo>
                  <a:pt x="0" y="228"/>
                </a:moveTo>
                <a:lnTo>
                  <a:pt x="32" y="228"/>
                </a:lnTo>
                <a:lnTo>
                  <a:pt x="32" y="235"/>
                </a:lnTo>
                <a:lnTo>
                  <a:pt x="0" y="235"/>
                </a:lnTo>
                <a:lnTo>
                  <a:pt x="0" y="228"/>
                </a:lnTo>
                <a:close/>
                <a:moveTo>
                  <a:pt x="0" y="0"/>
                </a:moveTo>
                <a:lnTo>
                  <a:pt x="32" y="0"/>
                </a:lnTo>
                <a:lnTo>
                  <a:pt x="32" y="6"/>
                </a:lnTo>
                <a:lnTo>
                  <a:pt x="0" y="6"/>
                </a:lnTo>
                <a:lnTo>
                  <a:pt x="0" y="0"/>
                </a:lnTo>
                <a:close/>
              </a:path>
            </a:pathLst>
          </a:custGeom>
          <a:solidFill>
            <a:srgbClr val="868686"/>
          </a:solidFill>
          <a:ln w="6" cap="flat">
            <a:solidFill>
              <a:srgbClr val="868686"/>
            </a:solidFill>
            <a:prstDash val="solid"/>
            <a:bevel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067" name="Rectangle 11"/>
          <p:cNvSpPr>
            <a:spLocks noChangeArrowheads="1"/>
          </p:cNvSpPr>
          <p:nvPr/>
        </p:nvSpPr>
        <p:spPr bwMode="auto">
          <a:xfrm>
            <a:off x="1762385" y="1285168"/>
            <a:ext cx="9525" cy="2508250"/>
          </a:xfrm>
          <a:prstGeom prst="rect">
            <a:avLst/>
          </a:prstGeom>
          <a:solidFill>
            <a:srgbClr val="868686"/>
          </a:solidFill>
          <a:ln w="6" cap="flat">
            <a:solidFill>
              <a:srgbClr val="868686"/>
            </a:solidFill>
            <a:prstDash val="solid"/>
            <a:bevel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068" name="Freeform 12"/>
          <p:cNvSpPr>
            <a:spLocks noEditPoints="1"/>
          </p:cNvSpPr>
          <p:nvPr/>
        </p:nvSpPr>
        <p:spPr bwMode="auto">
          <a:xfrm>
            <a:off x="1716347" y="1280406"/>
            <a:ext cx="50800" cy="2517775"/>
          </a:xfrm>
          <a:custGeom>
            <a:avLst/>
            <a:gdLst/>
            <a:ahLst/>
            <a:cxnLst>
              <a:cxn ang="0">
                <a:pos x="0" y="1580"/>
              </a:cxn>
              <a:cxn ang="0">
                <a:pos x="32" y="1580"/>
              </a:cxn>
              <a:cxn ang="0">
                <a:pos x="32" y="1586"/>
              </a:cxn>
              <a:cxn ang="0">
                <a:pos x="0" y="1586"/>
              </a:cxn>
              <a:cxn ang="0">
                <a:pos x="0" y="1580"/>
              </a:cxn>
              <a:cxn ang="0">
                <a:pos x="0" y="1408"/>
              </a:cxn>
              <a:cxn ang="0">
                <a:pos x="32" y="1408"/>
              </a:cxn>
              <a:cxn ang="0">
                <a:pos x="32" y="1415"/>
              </a:cxn>
              <a:cxn ang="0">
                <a:pos x="0" y="1415"/>
              </a:cxn>
              <a:cxn ang="0">
                <a:pos x="0" y="1408"/>
              </a:cxn>
              <a:cxn ang="0">
                <a:pos x="0" y="1231"/>
              </a:cxn>
              <a:cxn ang="0">
                <a:pos x="32" y="1231"/>
              </a:cxn>
              <a:cxn ang="0">
                <a:pos x="32" y="1237"/>
              </a:cxn>
              <a:cxn ang="0">
                <a:pos x="0" y="1237"/>
              </a:cxn>
              <a:cxn ang="0">
                <a:pos x="0" y="1231"/>
              </a:cxn>
              <a:cxn ang="0">
                <a:pos x="0" y="1053"/>
              </a:cxn>
              <a:cxn ang="0">
                <a:pos x="32" y="1053"/>
              </a:cxn>
              <a:cxn ang="0">
                <a:pos x="32" y="1059"/>
              </a:cxn>
              <a:cxn ang="0">
                <a:pos x="0" y="1059"/>
              </a:cxn>
              <a:cxn ang="0">
                <a:pos x="0" y="1053"/>
              </a:cxn>
              <a:cxn ang="0">
                <a:pos x="0" y="882"/>
              </a:cxn>
              <a:cxn ang="0">
                <a:pos x="32" y="882"/>
              </a:cxn>
              <a:cxn ang="0">
                <a:pos x="32" y="888"/>
              </a:cxn>
              <a:cxn ang="0">
                <a:pos x="0" y="888"/>
              </a:cxn>
              <a:cxn ang="0">
                <a:pos x="0" y="882"/>
              </a:cxn>
              <a:cxn ang="0">
                <a:pos x="0" y="704"/>
              </a:cxn>
              <a:cxn ang="0">
                <a:pos x="32" y="704"/>
              </a:cxn>
              <a:cxn ang="0">
                <a:pos x="32" y="710"/>
              </a:cxn>
              <a:cxn ang="0">
                <a:pos x="0" y="710"/>
              </a:cxn>
              <a:cxn ang="0">
                <a:pos x="0" y="704"/>
              </a:cxn>
              <a:cxn ang="0">
                <a:pos x="0" y="526"/>
              </a:cxn>
              <a:cxn ang="0">
                <a:pos x="32" y="526"/>
              </a:cxn>
              <a:cxn ang="0">
                <a:pos x="32" y="533"/>
              </a:cxn>
              <a:cxn ang="0">
                <a:pos x="0" y="533"/>
              </a:cxn>
              <a:cxn ang="0">
                <a:pos x="0" y="526"/>
              </a:cxn>
              <a:cxn ang="0">
                <a:pos x="0" y="349"/>
              </a:cxn>
              <a:cxn ang="0">
                <a:pos x="32" y="349"/>
              </a:cxn>
              <a:cxn ang="0">
                <a:pos x="32" y="355"/>
              </a:cxn>
              <a:cxn ang="0">
                <a:pos x="0" y="355"/>
              </a:cxn>
              <a:cxn ang="0">
                <a:pos x="0" y="349"/>
              </a:cxn>
              <a:cxn ang="0">
                <a:pos x="0" y="177"/>
              </a:cxn>
              <a:cxn ang="0">
                <a:pos x="32" y="177"/>
              </a:cxn>
              <a:cxn ang="0">
                <a:pos x="32" y="184"/>
              </a:cxn>
              <a:cxn ang="0">
                <a:pos x="0" y="184"/>
              </a:cxn>
              <a:cxn ang="0">
                <a:pos x="0" y="177"/>
              </a:cxn>
              <a:cxn ang="0">
                <a:pos x="0" y="0"/>
              </a:cxn>
              <a:cxn ang="0">
                <a:pos x="32" y="0"/>
              </a:cxn>
              <a:cxn ang="0">
                <a:pos x="32" y="6"/>
              </a:cxn>
              <a:cxn ang="0">
                <a:pos x="0" y="6"/>
              </a:cxn>
              <a:cxn ang="0">
                <a:pos x="0" y="0"/>
              </a:cxn>
            </a:cxnLst>
            <a:rect l="0" t="0" r="r" b="b"/>
            <a:pathLst>
              <a:path w="32" h="1586">
                <a:moveTo>
                  <a:pt x="0" y="1580"/>
                </a:moveTo>
                <a:lnTo>
                  <a:pt x="32" y="1580"/>
                </a:lnTo>
                <a:lnTo>
                  <a:pt x="32" y="1586"/>
                </a:lnTo>
                <a:lnTo>
                  <a:pt x="0" y="1586"/>
                </a:lnTo>
                <a:lnTo>
                  <a:pt x="0" y="1580"/>
                </a:lnTo>
                <a:close/>
                <a:moveTo>
                  <a:pt x="0" y="1408"/>
                </a:moveTo>
                <a:lnTo>
                  <a:pt x="32" y="1408"/>
                </a:lnTo>
                <a:lnTo>
                  <a:pt x="32" y="1415"/>
                </a:lnTo>
                <a:lnTo>
                  <a:pt x="0" y="1415"/>
                </a:lnTo>
                <a:lnTo>
                  <a:pt x="0" y="1408"/>
                </a:lnTo>
                <a:close/>
                <a:moveTo>
                  <a:pt x="0" y="1231"/>
                </a:moveTo>
                <a:lnTo>
                  <a:pt x="32" y="1231"/>
                </a:lnTo>
                <a:lnTo>
                  <a:pt x="32" y="1237"/>
                </a:lnTo>
                <a:lnTo>
                  <a:pt x="0" y="1237"/>
                </a:lnTo>
                <a:lnTo>
                  <a:pt x="0" y="1231"/>
                </a:lnTo>
                <a:close/>
                <a:moveTo>
                  <a:pt x="0" y="1053"/>
                </a:moveTo>
                <a:lnTo>
                  <a:pt x="32" y="1053"/>
                </a:lnTo>
                <a:lnTo>
                  <a:pt x="32" y="1059"/>
                </a:lnTo>
                <a:lnTo>
                  <a:pt x="0" y="1059"/>
                </a:lnTo>
                <a:lnTo>
                  <a:pt x="0" y="1053"/>
                </a:lnTo>
                <a:close/>
                <a:moveTo>
                  <a:pt x="0" y="882"/>
                </a:moveTo>
                <a:lnTo>
                  <a:pt x="32" y="882"/>
                </a:lnTo>
                <a:lnTo>
                  <a:pt x="32" y="888"/>
                </a:lnTo>
                <a:lnTo>
                  <a:pt x="0" y="888"/>
                </a:lnTo>
                <a:lnTo>
                  <a:pt x="0" y="882"/>
                </a:lnTo>
                <a:close/>
                <a:moveTo>
                  <a:pt x="0" y="704"/>
                </a:moveTo>
                <a:lnTo>
                  <a:pt x="32" y="704"/>
                </a:lnTo>
                <a:lnTo>
                  <a:pt x="32" y="710"/>
                </a:lnTo>
                <a:lnTo>
                  <a:pt x="0" y="710"/>
                </a:lnTo>
                <a:lnTo>
                  <a:pt x="0" y="704"/>
                </a:lnTo>
                <a:close/>
                <a:moveTo>
                  <a:pt x="0" y="526"/>
                </a:moveTo>
                <a:lnTo>
                  <a:pt x="32" y="526"/>
                </a:lnTo>
                <a:lnTo>
                  <a:pt x="32" y="533"/>
                </a:lnTo>
                <a:lnTo>
                  <a:pt x="0" y="533"/>
                </a:lnTo>
                <a:lnTo>
                  <a:pt x="0" y="526"/>
                </a:lnTo>
                <a:close/>
                <a:moveTo>
                  <a:pt x="0" y="349"/>
                </a:moveTo>
                <a:lnTo>
                  <a:pt x="32" y="349"/>
                </a:lnTo>
                <a:lnTo>
                  <a:pt x="32" y="355"/>
                </a:lnTo>
                <a:lnTo>
                  <a:pt x="0" y="355"/>
                </a:lnTo>
                <a:lnTo>
                  <a:pt x="0" y="349"/>
                </a:lnTo>
                <a:close/>
                <a:moveTo>
                  <a:pt x="0" y="177"/>
                </a:moveTo>
                <a:lnTo>
                  <a:pt x="32" y="177"/>
                </a:lnTo>
                <a:lnTo>
                  <a:pt x="32" y="184"/>
                </a:lnTo>
                <a:lnTo>
                  <a:pt x="0" y="184"/>
                </a:lnTo>
                <a:lnTo>
                  <a:pt x="0" y="177"/>
                </a:lnTo>
                <a:close/>
                <a:moveTo>
                  <a:pt x="0" y="0"/>
                </a:moveTo>
                <a:lnTo>
                  <a:pt x="32" y="0"/>
                </a:lnTo>
                <a:lnTo>
                  <a:pt x="32" y="6"/>
                </a:lnTo>
                <a:lnTo>
                  <a:pt x="0" y="6"/>
                </a:lnTo>
                <a:lnTo>
                  <a:pt x="0" y="0"/>
                </a:lnTo>
                <a:close/>
              </a:path>
            </a:pathLst>
          </a:custGeom>
          <a:solidFill>
            <a:srgbClr val="868686"/>
          </a:solidFill>
          <a:ln w="6" cap="flat">
            <a:solidFill>
              <a:srgbClr val="868686"/>
            </a:solidFill>
            <a:prstDash val="solid"/>
            <a:bevel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069" name="Rectangle 13"/>
          <p:cNvSpPr>
            <a:spLocks noChangeArrowheads="1"/>
          </p:cNvSpPr>
          <p:nvPr/>
        </p:nvSpPr>
        <p:spPr bwMode="auto">
          <a:xfrm>
            <a:off x="1767147" y="3788656"/>
            <a:ext cx="5740400" cy="9525"/>
          </a:xfrm>
          <a:prstGeom prst="rect">
            <a:avLst/>
          </a:prstGeom>
          <a:solidFill>
            <a:srgbClr val="868686"/>
          </a:solidFill>
          <a:ln w="6" cap="flat">
            <a:solidFill>
              <a:srgbClr val="868686"/>
            </a:solidFill>
            <a:prstDash val="solid"/>
            <a:bevel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070" name="Freeform 14"/>
          <p:cNvSpPr>
            <a:spLocks noEditPoints="1"/>
          </p:cNvSpPr>
          <p:nvPr/>
        </p:nvSpPr>
        <p:spPr bwMode="auto">
          <a:xfrm>
            <a:off x="1762385" y="3793418"/>
            <a:ext cx="5751513" cy="50800"/>
          </a:xfrm>
          <a:custGeom>
            <a:avLst/>
            <a:gdLst/>
            <a:ahLst/>
            <a:cxnLst>
              <a:cxn ang="0">
                <a:pos x="6" y="32"/>
              </a:cxn>
              <a:cxn ang="0">
                <a:pos x="0" y="0"/>
              </a:cxn>
              <a:cxn ang="0">
                <a:pos x="196" y="0"/>
              </a:cxn>
              <a:cxn ang="0">
                <a:pos x="190" y="32"/>
              </a:cxn>
              <a:cxn ang="0">
                <a:pos x="196" y="0"/>
              </a:cxn>
              <a:cxn ang="0">
                <a:pos x="387" y="32"/>
              </a:cxn>
              <a:cxn ang="0">
                <a:pos x="380" y="0"/>
              </a:cxn>
              <a:cxn ang="0">
                <a:pos x="577" y="0"/>
              </a:cxn>
              <a:cxn ang="0">
                <a:pos x="571" y="32"/>
              </a:cxn>
              <a:cxn ang="0">
                <a:pos x="577" y="0"/>
              </a:cxn>
              <a:cxn ang="0">
                <a:pos x="767" y="32"/>
              </a:cxn>
              <a:cxn ang="0">
                <a:pos x="761" y="0"/>
              </a:cxn>
              <a:cxn ang="0">
                <a:pos x="958" y="0"/>
              </a:cxn>
              <a:cxn ang="0">
                <a:pos x="951" y="32"/>
              </a:cxn>
              <a:cxn ang="0">
                <a:pos x="958" y="0"/>
              </a:cxn>
              <a:cxn ang="0">
                <a:pos x="1148" y="32"/>
              </a:cxn>
              <a:cxn ang="0">
                <a:pos x="1142" y="0"/>
              </a:cxn>
              <a:cxn ang="0">
                <a:pos x="1338" y="0"/>
              </a:cxn>
              <a:cxn ang="0">
                <a:pos x="1332" y="32"/>
              </a:cxn>
              <a:cxn ang="0">
                <a:pos x="1338" y="0"/>
              </a:cxn>
              <a:cxn ang="0">
                <a:pos x="1529" y="32"/>
              </a:cxn>
              <a:cxn ang="0">
                <a:pos x="1522" y="0"/>
              </a:cxn>
              <a:cxn ang="0">
                <a:pos x="1719" y="0"/>
              </a:cxn>
              <a:cxn ang="0">
                <a:pos x="1713" y="32"/>
              </a:cxn>
              <a:cxn ang="0">
                <a:pos x="1719" y="0"/>
              </a:cxn>
              <a:cxn ang="0">
                <a:pos x="1909" y="32"/>
              </a:cxn>
              <a:cxn ang="0">
                <a:pos x="1903" y="0"/>
              </a:cxn>
              <a:cxn ang="0">
                <a:pos x="2100" y="0"/>
              </a:cxn>
              <a:cxn ang="0">
                <a:pos x="2093" y="32"/>
              </a:cxn>
              <a:cxn ang="0">
                <a:pos x="2100" y="0"/>
              </a:cxn>
              <a:cxn ang="0">
                <a:pos x="2290" y="32"/>
              </a:cxn>
              <a:cxn ang="0">
                <a:pos x="2284" y="0"/>
              </a:cxn>
              <a:cxn ang="0">
                <a:pos x="2480" y="0"/>
              </a:cxn>
              <a:cxn ang="0">
                <a:pos x="2474" y="32"/>
              </a:cxn>
              <a:cxn ang="0">
                <a:pos x="2480" y="0"/>
              </a:cxn>
              <a:cxn ang="0">
                <a:pos x="2671" y="32"/>
              </a:cxn>
              <a:cxn ang="0">
                <a:pos x="2665" y="0"/>
              </a:cxn>
              <a:cxn ang="0">
                <a:pos x="2861" y="0"/>
              </a:cxn>
              <a:cxn ang="0">
                <a:pos x="2855" y="32"/>
              </a:cxn>
              <a:cxn ang="0">
                <a:pos x="2861" y="0"/>
              </a:cxn>
              <a:cxn ang="0">
                <a:pos x="3052" y="32"/>
              </a:cxn>
              <a:cxn ang="0">
                <a:pos x="3045" y="0"/>
              </a:cxn>
              <a:cxn ang="0">
                <a:pos x="3242" y="0"/>
              </a:cxn>
              <a:cxn ang="0">
                <a:pos x="3236" y="32"/>
              </a:cxn>
              <a:cxn ang="0">
                <a:pos x="3242" y="0"/>
              </a:cxn>
              <a:cxn ang="0">
                <a:pos x="3432" y="32"/>
              </a:cxn>
              <a:cxn ang="0">
                <a:pos x="3426" y="0"/>
              </a:cxn>
              <a:cxn ang="0">
                <a:pos x="3623" y="0"/>
              </a:cxn>
              <a:cxn ang="0">
                <a:pos x="3616" y="32"/>
              </a:cxn>
              <a:cxn ang="0">
                <a:pos x="3623" y="0"/>
              </a:cxn>
            </a:cxnLst>
            <a:rect l="0" t="0" r="r" b="b"/>
            <a:pathLst>
              <a:path w="3623" h="32">
                <a:moveTo>
                  <a:pt x="6" y="0"/>
                </a:moveTo>
                <a:lnTo>
                  <a:pt x="6" y="32"/>
                </a:lnTo>
                <a:lnTo>
                  <a:pt x="0" y="32"/>
                </a:lnTo>
                <a:lnTo>
                  <a:pt x="0" y="0"/>
                </a:lnTo>
                <a:lnTo>
                  <a:pt x="6" y="0"/>
                </a:lnTo>
                <a:close/>
                <a:moveTo>
                  <a:pt x="196" y="0"/>
                </a:moveTo>
                <a:lnTo>
                  <a:pt x="196" y="32"/>
                </a:lnTo>
                <a:lnTo>
                  <a:pt x="190" y="32"/>
                </a:lnTo>
                <a:lnTo>
                  <a:pt x="190" y="0"/>
                </a:lnTo>
                <a:lnTo>
                  <a:pt x="196" y="0"/>
                </a:lnTo>
                <a:close/>
                <a:moveTo>
                  <a:pt x="387" y="0"/>
                </a:moveTo>
                <a:lnTo>
                  <a:pt x="387" y="32"/>
                </a:lnTo>
                <a:lnTo>
                  <a:pt x="380" y="32"/>
                </a:lnTo>
                <a:lnTo>
                  <a:pt x="380" y="0"/>
                </a:lnTo>
                <a:lnTo>
                  <a:pt x="387" y="0"/>
                </a:lnTo>
                <a:close/>
                <a:moveTo>
                  <a:pt x="577" y="0"/>
                </a:moveTo>
                <a:lnTo>
                  <a:pt x="577" y="32"/>
                </a:lnTo>
                <a:lnTo>
                  <a:pt x="571" y="32"/>
                </a:lnTo>
                <a:lnTo>
                  <a:pt x="571" y="0"/>
                </a:lnTo>
                <a:lnTo>
                  <a:pt x="577" y="0"/>
                </a:lnTo>
                <a:close/>
                <a:moveTo>
                  <a:pt x="767" y="0"/>
                </a:moveTo>
                <a:lnTo>
                  <a:pt x="767" y="32"/>
                </a:lnTo>
                <a:lnTo>
                  <a:pt x="761" y="32"/>
                </a:lnTo>
                <a:lnTo>
                  <a:pt x="761" y="0"/>
                </a:lnTo>
                <a:lnTo>
                  <a:pt x="767" y="0"/>
                </a:lnTo>
                <a:close/>
                <a:moveTo>
                  <a:pt x="958" y="0"/>
                </a:moveTo>
                <a:lnTo>
                  <a:pt x="958" y="32"/>
                </a:lnTo>
                <a:lnTo>
                  <a:pt x="951" y="32"/>
                </a:lnTo>
                <a:lnTo>
                  <a:pt x="951" y="0"/>
                </a:lnTo>
                <a:lnTo>
                  <a:pt x="958" y="0"/>
                </a:lnTo>
                <a:close/>
                <a:moveTo>
                  <a:pt x="1148" y="0"/>
                </a:moveTo>
                <a:lnTo>
                  <a:pt x="1148" y="32"/>
                </a:lnTo>
                <a:lnTo>
                  <a:pt x="1142" y="32"/>
                </a:lnTo>
                <a:lnTo>
                  <a:pt x="1142" y="0"/>
                </a:lnTo>
                <a:lnTo>
                  <a:pt x="1148" y="0"/>
                </a:lnTo>
                <a:close/>
                <a:moveTo>
                  <a:pt x="1338" y="0"/>
                </a:moveTo>
                <a:lnTo>
                  <a:pt x="1338" y="32"/>
                </a:lnTo>
                <a:lnTo>
                  <a:pt x="1332" y="32"/>
                </a:lnTo>
                <a:lnTo>
                  <a:pt x="1332" y="0"/>
                </a:lnTo>
                <a:lnTo>
                  <a:pt x="1338" y="0"/>
                </a:lnTo>
                <a:close/>
                <a:moveTo>
                  <a:pt x="1529" y="0"/>
                </a:moveTo>
                <a:lnTo>
                  <a:pt x="1529" y="32"/>
                </a:lnTo>
                <a:lnTo>
                  <a:pt x="1522" y="32"/>
                </a:lnTo>
                <a:lnTo>
                  <a:pt x="1522" y="0"/>
                </a:lnTo>
                <a:lnTo>
                  <a:pt x="1529" y="0"/>
                </a:lnTo>
                <a:close/>
                <a:moveTo>
                  <a:pt x="1719" y="0"/>
                </a:moveTo>
                <a:lnTo>
                  <a:pt x="1719" y="32"/>
                </a:lnTo>
                <a:lnTo>
                  <a:pt x="1713" y="32"/>
                </a:lnTo>
                <a:lnTo>
                  <a:pt x="1713" y="0"/>
                </a:lnTo>
                <a:lnTo>
                  <a:pt x="1719" y="0"/>
                </a:lnTo>
                <a:close/>
                <a:moveTo>
                  <a:pt x="1909" y="0"/>
                </a:moveTo>
                <a:lnTo>
                  <a:pt x="1909" y="32"/>
                </a:lnTo>
                <a:lnTo>
                  <a:pt x="1903" y="32"/>
                </a:lnTo>
                <a:lnTo>
                  <a:pt x="1903" y="0"/>
                </a:lnTo>
                <a:lnTo>
                  <a:pt x="1909" y="0"/>
                </a:lnTo>
                <a:close/>
                <a:moveTo>
                  <a:pt x="2100" y="0"/>
                </a:moveTo>
                <a:lnTo>
                  <a:pt x="2100" y="32"/>
                </a:lnTo>
                <a:lnTo>
                  <a:pt x="2093" y="32"/>
                </a:lnTo>
                <a:lnTo>
                  <a:pt x="2093" y="0"/>
                </a:lnTo>
                <a:lnTo>
                  <a:pt x="2100" y="0"/>
                </a:lnTo>
                <a:close/>
                <a:moveTo>
                  <a:pt x="2290" y="0"/>
                </a:moveTo>
                <a:lnTo>
                  <a:pt x="2290" y="32"/>
                </a:lnTo>
                <a:lnTo>
                  <a:pt x="2284" y="32"/>
                </a:lnTo>
                <a:lnTo>
                  <a:pt x="2284" y="0"/>
                </a:lnTo>
                <a:lnTo>
                  <a:pt x="2290" y="0"/>
                </a:lnTo>
                <a:close/>
                <a:moveTo>
                  <a:pt x="2480" y="0"/>
                </a:moveTo>
                <a:lnTo>
                  <a:pt x="2480" y="32"/>
                </a:lnTo>
                <a:lnTo>
                  <a:pt x="2474" y="32"/>
                </a:lnTo>
                <a:lnTo>
                  <a:pt x="2474" y="0"/>
                </a:lnTo>
                <a:lnTo>
                  <a:pt x="2480" y="0"/>
                </a:lnTo>
                <a:close/>
                <a:moveTo>
                  <a:pt x="2671" y="0"/>
                </a:moveTo>
                <a:lnTo>
                  <a:pt x="2671" y="32"/>
                </a:lnTo>
                <a:lnTo>
                  <a:pt x="2665" y="32"/>
                </a:lnTo>
                <a:lnTo>
                  <a:pt x="2665" y="0"/>
                </a:lnTo>
                <a:lnTo>
                  <a:pt x="2671" y="0"/>
                </a:lnTo>
                <a:close/>
                <a:moveTo>
                  <a:pt x="2861" y="0"/>
                </a:moveTo>
                <a:lnTo>
                  <a:pt x="2861" y="32"/>
                </a:lnTo>
                <a:lnTo>
                  <a:pt x="2855" y="32"/>
                </a:lnTo>
                <a:lnTo>
                  <a:pt x="2855" y="0"/>
                </a:lnTo>
                <a:lnTo>
                  <a:pt x="2861" y="0"/>
                </a:lnTo>
                <a:close/>
                <a:moveTo>
                  <a:pt x="3052" y="0"/>
                </a:moveTo>
                <a:lnTo>
                  <a:pt x="3052" y="32"/>
                </a:lnTo>
                <a:lnTo>
                  <a:pt x="3045" y="32"/>
                </a:lnTo>
                <a:lnTo>
                  <a:pt x="3045" y="0"/>
                </a:lnTo>
                <a:lnTo>
                  <a:pt x="3052" y="0"/>
                </a:lnTo>
                <a:close/>
                <a:moveTo>
                  <a:pt x="3242" y="0"/>
                </a:moveTo>
                <a:lnTo>
                  <a:pt x="3242" y="32"/>
                </a:lnTo>
                <a:lnTo>
                  <a:pt x="3236" y="32"/>
                </a:lnTo>
                <a:lnTo>
                  <a:pt x="3236" y="0"/>
                </a:lnTo>
                <a:lnTo>
                  <a:pt x="3242" y="0"/>
                </a:lnTo>
                <a:close/>
                <a:moveTo>
                  <a:pt x="3432" y="0"/>
                </a:moveTo>
                <a:lnTo>
                  <a:pt x="3432" y="32"/>
                </a:lnTo>
                <a:lnTo>
                  <a:pt x="3426" y="32"/>
                </a:lnTo>
                <a:lnTo>
                  <a:pt x="3426" y="0"/>
                </a:lnTo>
                <a:lnTo>
                  <a:pt x="3432" y="0"/>
                </a:lnTo>
                <a:close/>
                <a:moveTo>
                  <a:pt x="3623" y="0"/>
                </a:moveTo>
                <a:lnTo>
                  <a:pt x="3623" y="32"/>
                </a:lnTo>
                <a:lnTo>
                  <a:pt x="3616" y="32"/>
                </a:lnTo>
                <a:lnTo>
                  <a:pt x="3616" y="0"/>
                </a:lnTo>
                <a:lnTo>
                  <a:pt x="3623" y="0"/>
                </a:lnTo>
                <a:close/>
              </a:path>
            </a:pathLst>
          </a:custGeom>
          <a:solidFill>
            <a:srgbClr val="868686"/>
          </a:solidFill>
          <a:ln w="6" cap="flat">
            <a:solidFill>
              <a:srgbClr val="868686"/>
            </a:solidFill>
            <a:prstDash val="solid"/>
            <a:bevel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071" name="Freeform 15"/>
          <p:cNvSpPr>
            <a:spLocks/>
          </p:cNvSpPr>
          <p:nvPr/>
        </p:nvSpPr>
        <p:spPr bwMode="auto">
          <a:xfrm>
            <a:off x="1902085" y="1582031"/>
            <a:ext cx="5470525" cy="2217738"/>
          </a:xfrm>
          <a:custGeom>
            <a:avLst/>
            <a:gdLst/>
            <a:ahLst/>
            <a:cxnLst>
              <a:cxn ang="0">
                <a:pos x="505" y="3376"/>
              </a:cxn>
              <a:cxn ang="0">
                <a:pos x="968" y="3463"/>
              </a:cxn>
              <a:cxn ang="0">
                <a:pos x="1476" y="2995"/>
              </a:cxn>
              <a:cxn ang="0">
                <a:pos x="1926" y="3257"/>
              </a:cxn>
              <a:cxn ang="0">
                <a:pos x="2425" y="2672"/>
              </a:cxn>
              <a:cxn ang="0">
                <a:pos x="2924" y="3371"/>
              </a:cxn>
              <a:cxn ang="0">
                <a:pos x="3371" y="3044"/>
              </a:cxn>
              <a:cxn ang="0">
                <a:pos x="3865" y="3056"/>
              </a:cxn>
              <a:cxn ang="0">
                <a:pos x="4323" y="3150"/>
              </a:cxn>
              <a:cxn ang="0">
                <a:pos x="4825" y="2176"/>
              </a:cxn>
              <a:cxn ang="0">
                <a:pos x="5326" y="3230"/>
              </a:cxn>
              <a:cxn ang="0">
                <a:pos x="5784" y="3216"/>
              </a:cxn>
              <a:cxn ang="0">
                <a:pos x="6243" y="2206"/>
              </a:cxn>
              <a:cxn ang="0">
                <a:pos x="6287" y="2208"/>
              </a:cxn>
              <a:cxn ang="0">
                <a:pos x="6746" y="3425"/>
              </a:cxn>
              <a:cxn ang="0">
                <a:pos x="7201" y="3477"/>
              </a:cxn>
              <a:cxn ang="0">
                <a:pos x="7704" y="0"/>
              </a:cxn>
              <a:cxn ang="0">
                <a:pos x="8208" y="3461"/>
              </a:cxn>
              <a:cxn ang="0">
                <a:pos x="8666" y="3473"/>
              </a:cxn>
              <a:cxn ang="0">
                <a:pos x="8663" y="3520"/>
              </a:cxn>
              <a:cxn ang="0">
                <a:pos x="8161" y="3468"/>
              </a:cxn>
              <a:cxn ang="0">
                <a:pos x="7728" y="28"/>
              </a:cxn>
              <a:cxn ang="0">
                <a:pos x="7223" y="3504"/>
              </a:cxn>
              <a:cxn ang="0">
                <a:pos x="6722" y="3457"/>
              </a:cxn>
              <a:cxn ang="0">
                <a:pos x="6286" y="2227"/>
              </a:cxn>
              <a:cxn ang="0">
                <a:pos x="5784" y="3264"/>
              </a:cxn>
              <a:cxn ang="0">
                <a:pos x="5283" y="3251"/>
              </a:cxn>
              <a:cxn ang="0">
                <a:pos x="4846" y="2211"/>
              </a:cxn>
              <a:cxn ang="0">
                <a:pos x="4341" y="3184"/>
              </a:cxn>
              <a:cxn ang="0">
                <a:pos x="3384" y="3088"/>
              </a:cxn>
              <a:cxn ang="0">
                <a:pos x="2918" y="3404"/>
              </a:cxn>
              <a:cxn ang="0">
                <a:pos x="2405" y="2710"/>
              </a:cxn>
              <a:cxn ang="0">
                <a:pos x="1963" y="3288"/>
              </a:cxn>
              <a:cxn ang="0">
                <a:pos x="1453" y="3038"/>
              </a:cxn>
              <a:cxn ang="0">
                <a:pos x="1001" y="3498"/>
              </a:cxn>
              <a:cxn ang="0">
                <a:pos x="504" y="3424"/>
              </a:cxn>
              <a:cxn ang="0">
                <a:pos x="0" y="3384"/>
              </a:cxn>
            </a:cxnLst>
            <a:rect l="0" t="0" r="r" b="b"/>
            <a:pathLst>
              <a:path w="8689" h="3521">
                <a:moveTo>
                  <a:pt x="25" y="3360"/>
                </a:moveTo>
                <a:lnTo>
                  <a:pt x="505" y="3376"/>
                </a:lnTo>
                <a:lnTo>
                  <a:pt x="988" y="3457"/>
                </a:lnTo>
                <a:lnTo>
                  <a:pt x="968" y="3463"/>
                </a:lnTo>
                <a:lnTo>
                  <a:pt x="1448" y="2999"/>
                </a:lnTo>
                <a:cubicBezTo>
                  <a:pt x="1455" y="2992"/>
                  <a:pt x="1467" y="2990"/>
                  <a:pt x="1476" y="2995"/>
                </a:cubicBezTo>
                <a:lnTo>
                  <a:pt x="1956" y="3251"/>
                </a:lnTo>
                <a:lnTo>
                  <a:pt x="1926" y="3257"/>
                </a:lnTo>
                <a:lnTo>
                  <a:pt x="2406" y="2681"/>
                </a:lnTo>
                <a:cubicBezTo>
                  <a:pt x="2411" y="2675"/>
                  <a:pt x="2418" y="2672"/>
                  <a:pt x="2425" y="2672"/>
                </a:cubicBezTo>
                <a:cubicBezTo>
                  <a:pt x="2433" y="2673"/>
                  <a:pt x="2440" y="2677"/>
                  <a:pt x="2444" y="2683"/>
                </a:cubicBezTo>
                <a:lnTo>
                  <a:pt x="2924" y="3371"/>
                </a:lnTo>
                <a:lnTo>
                  <a:pt x="2891" y="3364"/>
                </a:lnTo>
                <a:lnTo>
                  <a:pt x="3371" y="3044"/>
                </a:lnTo>
                <a:cubicBezTo>
                  <a:pt x="3375" y="3042"/>
                  <a:pt x="3380" y="3040"/>
                  <a:pt x="3385" y="3040"/>
                </a:cubicBezTo>
                <a:lnTo>
                  <a:pt x="3865" y="3056"/>
                </a:lnTo>
                <a:lnTo>
                  <a:pt x="4348" y="3137"/>
                </a:lnTo>
                <a:lnTo>
                  <a:pt x="4323" y="3150"/>
                </a:lnTo>
                <a:lnTo>
                  <a:pt x="4803" y="2190"/>
                </a:lnTo>
                <a:cubicBezTo>
                  <a:pt x="4807" y="2181"/>
                  <a:pt x="4816" y="2176"/>
                  <a:pt x="4825" y="2176"/>
                </a:cubicBezTo>
                <a:cubicBezTo>
                  <a:pt x="4834" y="2177"/>
                  <a:pt x="4842" y="2182"/>
                  <a:pt x="4846" y="2190"/>
                </a:cubicBezTo>
                <a:lnTo>
                  <a:pt x="5326" y="3230"/>
                </a:lnTo>
                <a:lnTo>
                  <a:pt x="5304" y="3216"/>
                </a:lnTo>
                <a:lnTo>
                  <a:pt x="5784" y="3216"/>
                </a:lnTo>
                <a:lnTo>
                  <a:pt x="5763" y="3230"/>
                </a:lnTo>
                <a:lnTo>
                  <a:pt x="6243" y="2206"/>
                </a:lnTo>
                <a:cubicBezTo>
                  <a:pt x="6247" y="2198"/>
                  <a:pt x="6256" y="2192"/>
                  <a:pt x="6265" y="2192"/>
                </a:cubicBezTo>
                <a:cubicBezTo>
                  <a:pt x="6275" y="2193"/>
                  <a:pt x="6283" y="2199"/>
                  <a:pt x="6287" y="2208"/>
                </a:cubicBezTo>
                <a:lnTo>
                  <a:pt x="6767" y="3440"/>
                </a:lnTo>
                <a:lnTo>
                  <a:pt x="6746" y="3425"/>
                </a:lnTo>
                <a:lnTo>
                  <a:pt x="7226" y="3457"/>
                </a:lnTo>
                <a:lnTo>
                  <a:pt x="7201" y="3477"/>
                </a:lnTo>
                <a:lnTo>
                  <a:pt x="7681" y="21"/>
                </a:lnTo>
                <a:cubicBezTo>
                  <a:pt x="7682" y="9"/>
                  <a:pt x="7692" y="0"/>
                  <a:pt x="7704" y="0"/>
                </a:cubicBezTo>
                <a:cubicBezTo>
                  <a:pt x="7716" y="0"/>
                  <a:pt x="7727" y="9"/>
                  <a:pt x="7728" y="21"/>
                </a:cubicBezTo>
                <a:lnTo>
                  <a:pt x="8208" y="3461"/>
                </a:lnTo>
                <a:lnTo>
                  <a:pt x="8186" y="3441"/>
                </a:lnTo>
                <a:lnTo>
                  <a:pt x="8666" y="3473"/>
                </a:lnTo>
                <a:cubicBezTo>
                  <a:pt x="8679" y="3473"/>
                  <a:pt x="8689" y="3485"/>
                  <a:pt x="8688" y="3498"/>
                </a:cubicBezTo>
                <a:cubicBezTo>
                  <a:pt x="8688" y="3511"/>
                  <a:pt x="8676" y="3521"/>
                  <a:pt x="8663" y="3520"/>
                </a:cubicBezTo>
                <a:lnTo>
                  <a:pt x="8183" y="3488"/>
                </a:lnTo>
                <a:cubicBezTo>
                  <a:pt x="8172" y="3488"/>
                  <a:pt x="8162" y="3479"/>
                  <a:pt x="8161" y="3468"/>
                </a:cubicBezTo>
                <a:lnTo>
                  <a:pt x="7681" y="28"/>
                </a:lnTo>
                <a:lnTo>
                  <a:pt x="7728" y="28"/>
                </a:lnTo>
                <a:lnTo>
                  <a:pt x="7248" y="3484"/>
                </a:lnTo>
                <a:cubicBezTo>
                  <a:pt x="7247" y="3496"/>
                  <a:pt x="7235" y="3505"/>
                  <a:pt x="7223" y="3504"/>
                </a:cubicBezTo>
                <a:lnTo>
                  <a:pt x="6743" y="3472"/>
                </a:lnTo>
                <a:cubicBezTo>
                  <a:pt x="6734" y="3472"/>
                  <a:pt x="6725" y="3466"/>
                  <a:pt x="6722" y="3457"/>
                </a:cubicBezTo>
                <a:lnTo>
                  <a:pt x="6242" y="2225"/>
                </a:lnTo>
                <a:lnTo>
                  <a:pt x="6286" y="2227"/>
                </a:lnTo>
                <a:lnTo>
                  <a:pt x="5806" y="3251"/>
                </a:lnTo>
                <a:cubicBezTo>
                  <a:pt x="5802" y="3259"/>
                  <a:pt x="5794" y="3264"/>
                  <a:pt x="5784" y="3264"/>
                </a:cubicBezTo>
                <a:lnTo>
                  <a:pt x="5304" y="3264"/>
                </a:lnTo>
                <a:cubicBezTo>
                  <a:pt x="5295" y="3264"/>
                  <a:pt x="5287" y="3259"/>
                  <a:pt x="5283" y="3251"/>
                </a:cubicBezTo>
                <a:lnTo>
                  <a:pt x="4803" y="2211"/>
                </a:lnTo>
                <a:lnTo>
                  <a:pt x="4846" y="2211"/>
                </a:lnTo>
                <a:lnTo>
                  <a:pt x="4366" y="3171"/>
                </a:lnTo>
                <a:cubicBezTo>
                  <a:pt x="4361" y="3181"/>
                  <a:pt x="4351" y="3186"/>
                  <a:pt x="4341" y="3184"/>
                </a:cubicBezTo>
                <a:lnTo>
                  <a:pt x="3864" y="3104"/>
                </a:lnTo>
                <a:lnTo>
                  <a:pt x="3384" y="3088"/>
                </a:lnTo>
                <a:lnTo>
                  <a:pt x="3398" y="3084"/>
                </a:lnTo>
                <a:lnTo>
                  <a:pt x="2918" y="3404"/>
                </a:lnTo>
                <a:cubicBezTo>
                  <a:pt x="2907" y="3412"/>
                  <a:pt x="2892" y="3409"/>
                  <a:pt x="2885" y="3398"/>
                </a:cubicBezTo>
                <a:lnTo>
                  <a:pt x="2405" y="2710"/>
                </a:lnTo>
                <a:lnTo>
                  <a:pt x="2443" y="2712"/>
                </a:lnTo>
                <a:lnTo>
                  <a:pt x="1963" y="3288"/>
                </a:lnTo>
                <a:cubicBezTo>
                  <a:pt x="1956" y="3297"/>
                  <a:pt x="1943" y="3299"/>
                  <a:pt x="1933" y="3294"/>
                </a:cubicBezTo>
                <a:lnTo>
                  <a:pt x="1453" y="3038"/>
                </a:lnTo>
                <a:lnTo>
                  <a:pt x="1481" y="3034"/>
                </a:lnTo>
                <a:lnTo>
                  <a:pt x="1001" y="3498"/>
                </a:lnTo>
                <a:cubicBezTo>
                  <a:pt x="996" y="3503"/>
                  <a:pt x="988" y="3505"/>
                  <a:pt x="981" y="3504"/>
                </a:cubicBezTo>
                <a:lnTo>
                  <a:pt x="504" y="3424"/>
                </a:lnTo>
                <a:lnTo>
                  <a:pt x="24" y="3408"/>
                </a:lnTo>
                <a:cubicBezTo>
                  <a:pt x="10" y="3408"/>
                  <a:pt x="0" y="3397"/>
                  <a:pt x="0" y="3384"/>
                </a:cubicBezTo>
                <a:cubicBezTo>
                  <a:pt x="1" y="3370"/>
                  <a:pt x="12" y="3360"/>
                  <a:pt x="25" y="3360"/>
                </a:cubicBezTo>
                <a:close/>
              </a:path>
            </a:pathLst>
          </a:custGeom>
          <a:solidFill>
            <a:srgbClr val="BE4B48"/>
          </a:solidFill>
          <a:ln w="6" cap="flat">
            <a:solidFill>
              <a:srgbClr val="BE4B48"/>
            </a:solidFill>
            <a:prstDash val="solid"/>
            <a:bevel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072" name="Rectangle 16"/>
          <p:cNvSpPr>
            <a:spLocks noChangeArrowheads="1"/>
          </p:cNvSpPr>
          <p:nvPr/>
        </p:nvSpPr>
        <p:spPr bwMode="auto">
          <a:xfrm>
            <a:off x="7702810" y="3694993"/>
            <a:ext cx="130175" cy="252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300" b="1" i="0" u="none" strike="noStrike" cap="none" normalizeH="0" baseline="0" smtClean="0">
                <a:ln>
                  <a:noFill/>
                </a:ln>
                <a:solidFill>
                  <a:srgbClr val="4F81BD"/>
                </a:solidFill>
                <a:effectLst/>
                <a:latin typeface="Calibri" pitchFamily="34" charset="0"/>
                <a:cs typeface="Arial" pitchFamily="34" charset="0"/>
              </a:rPr>
              <a:t>-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73073" name="Rectangle 17"/>
          <p:cNvSpPr>
            <a:spLocks noChangeArrowheads="1"/>
          </p:cNvSpPr>
          <p:nvPr/>
        </p:nvSpPr>
        <p:spPr bwMode="auto">
          <a:xfrm>
            <a:off x="7693285" y="3336218"/>
            <a:ext cx="363538" cy="252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300" b="1" i="0" u="none" strike="noStrike" cap="none" normalizeH="0" baseline="0" smtClean="0">
                <a:ln>
                  <a:noFill/>
                </a:ln>
                <a:solidFill>
                  <a:srgbClr val="4F81BD"/>
                </a:solidFill>
                <a:effectLst/>
                <a:latin typeface="Calibri" pitchFamily="34" charset="0"/>
                <a:cs typeface="Arial" pitchFamily="34" charset="0"/>
              </a:rPr>
              <a:t>500 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73074" name="Rectangle 18"/>
          <p:cNvSpPr>
            <a:spLocks noChangeArrowheads="1"/>
          </p:cNvSpPr>
          <p:nvPr/>
        </p:nvSpPr>
        <p:spPr bwMode="auto">
          <a:xfrm>
            <a:off x="7693285" y="2977443"/>
            <a:ext cx="493713" cy="252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300" b="1" i="0" u="none" strike="noStrike" cap="none" normalizeH="0" baseline="0" smtClean="0">
                <a:ln>
                  <a:noFill/>
                </a:ln>
                <a:solidFill>
                  <a:srgbClr val="4F81BD"/>
                </a:solidFill>
                <a:effectLst/>
                <a:latin typeface="Calibri" pitchFamily="34" charset="0"/>
                <a:cs typeface="Arial" pitchFamily="34" charset="0"/>
              </a:rPr>
              <a:t>1,000 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73075" name="Rectangle 19"/>
          <p:cNvSpPr>
            <a:spLocks noChangeArrowheads="1"/>
          </p:cNvSpPr>
          <p:nvPr/>
        </p:nvSpPr>
        <p:spPr bwMode="auto">
          <a:xfrm>
            <a:off x="7693285" y="2618668"/>
            <a:ext cx="493713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300" b="1" i="0" u="none" strike="noStrike" cap="none" normalizeH="0" baseline="0" smtClean="0">
                <a:ln>
                  <a:noFill/>
                </a:ln>
                <a:solidFill>
                  <a:srgbClr val="4F81BD"/>
                </a:solidFill>
                <a:effectLst/>
                <a:latin typeface="Calibri" pitchFamily="34" charset="0"/>
                <a:cs typeface="Arial" pitchFamily="34" charset="0"/>
              </a:rPr>
              <a:t>1,500 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73076" name="Rectangle 20"/>
          <p:cNvSpPr>
            <a:spLocks noChangeArrowheads="1"/>
          </p:cNvSpPr>
          <p:nvPr/>
        </p:nvSpPr>
        <p:spPr bwMode="auto">
          <a:xfrm>
            <a:off x="7693285" y="2259893"/>
            <a:ext cx="493713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300" b="1" i="0" u="none" strike="noStrike" cap="none" normalizeH="0" baseline="0" smtClean="0">
                <a:ln>
                  <a:noFill/>
                </a:ln>
                <a:solidFill>
                  <a:srgbClr val="4F81BD"/>
                </a:solidFill>
                <a:effectLst/>
                <a:latin typeface="Calibri" pitchFamily="34" charset="0"/>
                <a:cs typeface="Arial" pitchFamily="34" charset="0"/>
              </a:rPr>
              <a:t>2,000 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73077" name="Rectangle 21"/>
          <p:cNvSpPr>
            <a:spLocks noChangeArrowheads="1"/>
          </p:cNvSpPr>
          <p:nvPr/>
        </p:nvSpPr>
        <p:spPr bwMode="auto">
          <a:xfrm>
            <a:off x="7693285" y="1899531"/>
            <a:ext cx="493713" cy="252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300" b="1" i="0" u="none" strike="noStrike" cap="none" normalizeH="0" baseline="0" smtClean="0">
                <a:ln>
                  <a:noFill/>
                </a:ln>
                <a:solidFill>
                  <a:srgbClr val="4F81BD"/>
                </a:solidFill>
                <a:effectLst/>
                <a:latin typeface="Calibri" pitchFamily="34" charset="0"/>
                <a:cs typeface="Arial" pitchFamily="34" charset="0"/>
              </a:rPr>
              <a:t>2,500 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73078" name="Rectangle 22"/>
          <p:cNvSpPr>
            <a:spLocks noChangeArrowheads="1"/>
          </p:cNvSpPr>
          <p:nvPr/>
        </p:nvSpPr>
        <p:spPr bwMode="auto">
          <a:xfrm>
            <a:off x="7693285" y="1540756"/>
            <a:ext cx="493713" cy="252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300" b="1" i="0" u="none" strike="noStrike" cap="none" normalizeH="0" baseline="0" smtClean="0">
                <a:ln>
                  <a:noFill/>
                </a:ln>
                <a:solidFill>
                  <a:srgbClr val="4F81BD"/>
                </a:solidFill>
                <a:effectLst/>
                <a:latin typeface="Calibri" pitchFamily="34" charset="0"/>
                <a:cs typeface="Arial" pitchFamily="34" charset="0"/>
              </a:rPr>
              <a:t>3,000 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73079" name="Rectangle 23"/>
          <p:cNvSpPr>
            <a:spLocks noChangeArrowheads="1"/>
          </p:cNvSpPr>
          <p:nvPr/>
        </p:nvSpPr>
        <p:spPr bwMode="auto">
          <a:xfrm>
            <a:off x="7693285" y="1181981"/>
            <a:ext cx="493713" cy="252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300" b="1" i="0" u="none" strike="noStrike" cap="none" normalizeH="0" baseline="0" smtClean="0">
                <a:ln>
                  <a:noFill/>
                </a:ln>
                <a:solidFill>
                  <a:srgbClr val="4F81BD"/>
                </a:solidFill>
                <a:effectLst/>
                <a:latin typeface="Calibri" pitchFamily="34" charset="0"/>
                <a:cs typeface="Arial" pitchFamily="34" charset="0"/>
              </a:rPr>
              <a:t>3,500 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73080" name="Rectangle 24"/>
          <p:cNvSpPr>
            <a:spLocks noChangeArrowheads="1"/>
          </p:cNvSpPr>
          <p:nvPr/>
        </p:nvSpPr>
        <p:spPr bwMode="auto">
          <a:xfrm>
            <a:off x="1462347" y="3694993"/>
            <a:ext cx="130175" cy="252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300" b="1" i="0" u="none" strike="noStrike" cap="none" normalizeH="0" baseline="0" smtClean="0">
                <a:ln>
                  <a:noFill/>
                </a:ln>
                <a:solidFill>
                  <a:srgbClr val="C0504D"/>
                </a:solidFill>
                <a:effectLst/>
                <a:latin typeface="Calibri" pitchFamily="34" charset="0"/>
                <a:cs typeface="Arial" pitchFamily="34" charset="0"/>
              </a:rPr>
              <a:t>-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73081" name="Rectangle 25"/>
          <p:cNvSpPr>
            <a:spLocks noChangeArrowheads="1"/>
          </p:cNvSpPr>
          <p:nvPr/>
        </p:nvSpPr>
        <p:spPr bwMode="auto">
          <a:xfrm>
            <a:off x="1208347" y="3415593"/>
            <a:ext cx="493713" cy="252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300" b="1" i="0" u="none" strike="noStrike" cap="none" normalizeH="0" baseline="0" smtClean="0">
                <a:ln>
                  <a:noFill/>
                </a:ln>
                <a:solidFill>
                  <a:srgbClr val="C0504D"/>
                </a:solidFill>
                <a:effectLst/>
                <a:latin typeface="Calibri" pitchFamily="34" charset="0"/>
                <a:cs typeface="Arial" pitchFamily="34" charset="0"/>
              </a:rPr>
              <a:t>1,000 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73082" name="Rectangle 26"/>
          <p:cNvSpPr>
            <a:spLocks noChangeArrowheads="1"/>
          </p:cNvSpPr>
          <p:nvPr/>
        </p:nvSpPr>
        <p:spPr bwMode="auto">
          <a:xfrm>
            <a:off x="1208347" y="3136193"/>
            <a:ext cx="493713" cy="252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300" b="1" i="0" u="none" strike="noStrike" cap="none" normalizeH="0" baseline="0" smtClean="0">
                <a:ln>
                  <a:noFill/>
                </a:ln>
                <a:solidFill>
                  <a:srgbClr val="C0504D"/>
                </a:solidFill>
                <a:effectLst/>
                <a:latin typeface="Calibri" pitchFamily="34" charset="0"/>
                <a:cs typeface="Arial" pitchFamily="34" charset="0"/>
              </a:rPr>
              <a:t>2,000 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73083" name="Rectangle 27"/>
          <p:cNvSpPr>
            <a:spLocks noChangeArrowheads="1"/>
          </p:cNvSpPr>
          <p:nvPr/>
        </p:nvSpPr>
        <p:spPr bwMode="auto">
          <a:xfrm>
            <a:off x="1208347" y="2858381"/>
            <a:ext cx="493713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300" b="1" i="0" u="none" strike="noStrike" cap="none" normalizeH="0" baseline="0" smtClean="0">
                <a:ln>
                  <a:noFill/>
                </a:ln>
                <a:solidFill>
                  <a:srgbClr val="C0504D"/>
                </a:solidFill>
                <a:effectLst/>
                <a:latin typeface="Calibri" pitchFamily="34" charset="0"/>
                <a:cs typeface="Arial" pitchFamily="34" charset="0"/>
              </a:rPr>
              <a:t>3,000 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73084" name="Rectangle 28"/>
          <p:cNvSpPr>
            <a:spLocks noChangeArrowheads="1"/>
          </p:cNvSpPr>
          <p:nvPr/>
        </p:nvSpPr>
        <p:spPr bwMode="auto">
          <a:xfrm>
            <a:off x="1208347" y="2578981"/>
            <a:ext cx="493713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300" b="1" i="0" u="none" strike="noStrike" cap="none" normalizeH="0" baseline="0" smtClean="0">
                <a:ln>
                  <a:noFill/>
                </a:ln>
                <a:solidFill>
                  <a:srgbClr val="C0504D"/>
                </a:solidFill>
                <a:effectLst/>
                <a:latin typeface="Calibri" pitchFamily="34" charset="0"/>
                <a:cs typeface="Arial" pitchFamily="34" charset="0"/>
              </a:rPr>
              <a:t>4,000 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73085" name="Rectangle 29"/>
          <p:cNvSpPr>
            <a:spLocks noChangeArrowheads="1"/>
          </p:cNvSpPr>
          <p:nvPr/>
        </p:nvSpPr>
        <p:spPr bwMode="auto">
          <a:xfrm>
            <a:off x="1208347" y="2299581"/>
            <a:ext cx="493713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300" b="1" i="0" u="none" strike="noStrike" cap="none" normalizeH="0" baseline="0" smtClean="0">
                <a:ln>
                  <a:noFill/>
                </a:ln>
                <a:solidFill>
                  <a:srgbClr val="C0504D"/>
                </a:solidFill>
                <a:effectLst/>
                <a:latin typeface="Calibri" pitchFamily="34" charset="0"/>
                <a:cs typeface="Arial" pitchFamily="34" charset="0"/>
              </a:rPr>
              <a:t>5,000 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73086" name="Rectangle 30"/>
          <p:cNvSpPr>
            <a:spLocks noChangeArrowheads="1"/>
          </p:cNvSpPr>
          <p:nvPr/>
        </p:nvSpPr>
        <p:spPr bwMode="auto">
          <a:xfrm>
            <a:off x="1208347" y="2020181"/>
            <a:ext cx="493713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300" b="1" i="0" u="none" strike="noStrike" cap="none" normalizeH="0" baseline="0" smtClean="0">
                <a:ln>
                  <a:noFill/>
                </a:ln>
                <a:solidFill>
                  <a:srgbClr val="C0504D"/>
                </a:solidFill>
                <a:effectLst/>
                <a:latin typeface="Calibri" pitchFamily="34" charset="0"/>
                <a:cs typeface="Arial" pitchFamily="34" charset="0"/>
              </a:rPr>
              <a:t>6,000 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73087" name="Rectangle 31"/>
          <p:cNvSpPr>
            <a:spLocks noChangeArrowheads="1"/>
          </p:cNvSpPr>
          <p:nvPr/>
        </p:nvSpPr>
        <p:spPr bwMode="auto">
          <a:xfrm>
            <a:off x="1208347" y="1740781"/>
            <a:ext cx="493713" cy="252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300" b="1" i="0" u="none" strike="noStrike" cap="none" normalizeH="0" baseline="0" smtClean="0">
                <a:ln>
                  <a:noFill/>
                </a:ln>
                <a:solidFill>
                  <a:srgbClr val="C0504D"/>
                </a:solidFill>
                <a:effectLst/>
                <a:latin typeface="Calibri" pitchFamily="34" charset="0"/>
                <a:cs typeface="Arial" pitchFamily="34" charset="0"/>
              </a:rPr>
              <a:t>7,000 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73088" name="Rectangle 32"/>
          <p:cNvSpPr>
            <a:spLocks noChangeArrowheads="1"/>
          </p:cNvSpPr>
          <p:nvPr/>
        </p:nvSpPr>
        <p:spPr bwMode="auto">
          <a:xfrm>
            <a:off x="1208347" y="1461381"/>
            <a:ext cx="493713" cy="252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300" b="1" i="0" u="none" strike="noStrike" cap="none" normalizeH="0" baseline="0" smtClean="0">
                <a:ln>
                  <a:noFill/>
                </a:ln>
                <a:solidFill>
                  <a:srgbClr val="C0504D"/>
                </a:solidFill>
                <a:effectLst/>
                <a:latin typeface="Calibri" pitchFamily="34" charset="0"/>
                <a:cs typeface="Arial" pitchFamily="34" charset="0"/>
              </a:rPr>
              <a:t>8,000 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73089" name="Rectangle 33"/>
          <p:cNvSpPr>
            <a:spLocks noChangeArrowheads="1"/>
          </p:cNvSpPr>
          <p:nvPr/>
        </p:nvSpPr>
        <p:spPr bwMode="auto">
          <a:xfrm>
            <a:off x="1208347" y="1181981"/>
            <a:ext cx="493713" cy="252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300" b="1" i="0" u="none" strike="noStrike" cap="none" normalizeH="0" baseline="0" smtClean="0">
                <a:ln>
                  <a:noFill/>
                </a:ln>
                <a:solidFill>
                  <a:srgbClr val="C0504D"/>
                </a:solidFill>
                <a:effectLst/>
                <a:latin typeface="Calibri" pitchFamily="34" charset="0"/>
                <a:cs typeface="Arial" pitchFamily="34" charset="0"/>
              </a:rPr>
              <a:t>9,000 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73090" name="Freeform 34"/>
          <p:cNvSpPr>
            <a:spLocks noEditPoints="1"/>
          </p:cNvSpPr>
          <p:nvPr/>
        </p:nvSpPr>
        <p:spPr bwMode="auto">
          <a:xfrm>
            <a:off x="692410" y="3958518"/>
            <a:ext cx="1241425" cy="1238250"/>
          </a:xfrm>
          <a:custGeom>
            <a:avLst/>
            <a:gdLst/>
            <a:ahLst/>
            <a:cxnLst>
              <a:cxn ang="0">
                <a:pos x="6" y="1912"/>
              </a:cxn>
              <a:cxn ang="0">
                <a:pos x="135" y="1838"/>
              </a:cxn>
              <a:cxn ang="0">
                <a:pos x="112" y="1842"/>
              </a:cxn>
              <a:cxn ang="0">
                <a:pos x="264" y="1824"/>
              </a:cxn>
              <a:cxn ang="0">
                <a:pos x="177" y="1798"/>
              </a:cxn>
              <a:cxn ang="0">
                <a:pos x="213" y="1815"/>
              </a:cxn>
              <a:cxn ang="0">
                <a:pos x="280" y="1701"/>
              </a:cxn>
              <a:cxn ang="0">
                <a:pos x="235" y="1718"/>
              </a:cxn>
              <a:cxn ang="0">
                <a:pos x="362" y="1715"/>
              </a:cxn>
              <a:cxn ang="0">
                <a:pos x="327" y="1675"/>
              </a:cxn>
              <a:cxn ang="0">
                <a:pos x="339" y="1631"/>
              </a:cxn>
              <a:cxn ang="0">
                <a:pos x="514" y="1574"/>
              </a:cxn>
              <a:cxn ang="0">
                <a:pos x="422" y="1570"/>
              </a:cxn>
              <a:cxn ang="0">
                <a:pos x="369" y="1583"/>
              </a:cxn>
              <a:cxn ang="0">
                <a:pos x="552" y="1533"/>
              </a:cxn>
              <a:cxn ang="0">
                <a:pos x="471" y="1452"/>
              </a:cxn>
              <a:cxn ang="0">
                <a:pos x="558" y="1504"/>
              </a:cxn>
              <a:cxn ang="0">
                <a:pos x="515" y="1446"/>
              </a:cxn>
              <a:cxn ang="0">
                <a:pos x="529" y="1444"/>
              </a:cxn>
              <a:cxn ang="0">
                <a:pos x="622" y="1455"/>
              </a:cxn>
              <a:cxn ang="0">
                <a:pos x="588" y="1415"/>
              </a:cxn>
              <a:cxn ang="0">
                <a:pos x="599" y="1371"/>
              </a:cxn>
              <a:cxn ang="0">
                <a:pos x="690" y="1398"/>
              </a:cxn>
              <a:cxn ang="0">
                <a:pos x="607" y="1294"/>
              </a:cxn>
              <a:cxn ang="0">
                <a:pos x="726" y="1275"/>
              </a:cxn>
              <a:cxn ang="0">
                <a:pos x="853" y="1237"/>
              </a:cxn>
              <a:cxn ang="0">
                <a:pos x="801" y="1285"/>
              </a:cxn>
              <a:cxn ang="0">
                <a:pos x="980" y="1089"/>
              </a:cxn>
              <a:cxn ang="0">
                <a:pos x="906" y="1016"/>
              </a:cxn>
              <a:cxn ang="0">
                <a:pos x="967" y="1094"/>
              </a:cxn>
              <a:cxn ang="0">
                <a:pos x="981" y="973"/>
              </a:cxn>
              <a:cxn ang="0">
                <a:pos x="1020" y="1001"/>
              </a:cxn>
              <a:cxn ang="0">
                <a:pos x="1095" y="995"/>
              </a:cxn>
              <a:cxn ang="0">
                <a:pos x="1087" y="896"/>
              </a:cxn>
              <a:cxn ang="0">
                <a:pos x="1193" y="872"/>
              </a:cxn>
              <a:cxn ang="0">
                <a:pos x="1125" y="888"/>
              </a:cxn>
              <a:cxn ang="0">
                <a:pos x="1159" y="863"/>
              </a:cxn>
              <a:cxn ang="0">
                <a:pos x="1251" y="774"/>
              </a:cxn>
              <a:cxn ang="0">
                <a:pos x="1270" y="820"/>
              </a:cxn>
              <a:cxn ang="0">
                <a:pos x="1194" y="799"/>
              </a:cxn>
              <a:cxn ang="0">
                <a:pos x="1311" y="760"/>
              </a:cxn>
              <a:cxn ang="0">
                <a:pos x="1278" y="677"/>
              </a:cxn>
              <a:cxn ang="0">
                <a:pos x="1289" y="719"/>
              </a:cxn>
              <a:cxn ang="0">
                <a:pos x="1296" y="666"/>
              </a:cxn>
              <a:cxn ang="0">
                <a:pos x="1339" y="624"/>
              </a:cxn>
              <a:cxn ang="0">
                <a:pos x="1417" y="673"/>
              </a:cxn>
              <a:cxn ang="0">
                <a:pos x="1324" y="574"/>
              </a:cxn>
              <a:cxn ang="0">
                <a:pos x="1461" y="560"/>
              </a:cxn>
              <a:cxn ang="0">
                <a:pos x="1580" y="510"/>
              </a:cxn>
              <a:cxn ang="0">
                <a:pos x="1526" y="561"/>
              </a:cxn>
              <a:cxn ang="0">
                <a:pos x="1713" y="374"/>
              </a:cxn>
              <a:cxn ang="0">
                <a:pos x="1654" y="435"/>
              </a:cxn>
              <a:cxn ang="0">
                <a:pos x="1677" y="357"/>
              </a:cxn>
              <a:cxn ang="0">
                <a:pos x="1717" y="327"/>
              </a:cxn>
              <a:cxn ang="0">
                <a:pos x="1743" y="344"/>
              </a:cxn>
              <a:cxn ang="0">
                <a:pos x="1733" y="275"/>
              </a:cxn>
              <a:cxn ang="0">
                <a:pos x="1853" y="232"/>
              </a:cxn>
              <a:cxn ang="0">
                <a:pos x="1772" y="151"/>
              </a:cxn>
              <a:cxn ang="0">
                <a:pos x="1916" y="147"/>
              </a:cxn>
              <a:cxn ang="0">
                <a:pos x="1850" y="105"/>
              </a:cxn>
              <a:cxn ang="0">
                <a:pos x="1894" y="14"/>
              </a:cxn>
              <a:cxn ang="0">
                <a:pos x="1963" y="126"/>
              </a:cxn>
              <a:cxn ang="0">
                <a:pos x="1893" y="0"/>
              </a:cxn>
            </a:cxnLst>
            <a:rect l="0" t="0" r="r" b="b"/>
            <a:pathLst>
              <a:path w="1971" h="1968">
                <a:moveTo>
                  <a:pt x="73" y="1841"/>
                </a:moveTo>
                <a:cubicBezTo>
                  <a:pt x="74" y="1841"/>
                  <a:pt x="75" y="1842"/>
                  <a:pt x="75" y="1843"/>
                </a:cubicBezTo>
                <a:cubicBezTo>
                  <a:pt x="76" y="1844"/>
                  <a:pt x="76" y="1845"/>
                  <a:pt x="76" y="1845"/>
                </a:cubicBezTo>
                <a:cubicBezTo>
                  <a:pt x="77" y="1846"/>
                  <a:pt x="77" y="1846"/>
                  <a:pt x="77" y="1847"/>
                </a:cubicBezTo>
                <a:cubicBezTo>
                  <a:pt x="76" y="1847"/>
                  <a:pt x="76" y="1848"/>
                  <a:pt x="76" y="1848"/>
                </a:cubicBezTo>
                <a:lnTo>
                  <a:pt x="50" y="1874"/>
                </a:lnTo>
                <a:lnTo>
                  <a:pt x="130" y="1955"/>
                </a:lnTo>
                <a:cubicBezTo>
                  <a:pt x="131" y="1955"/>
                  <a:pt x="131" y="1956"/>
                  <a:pt x="131" y="1956"/>
                </a:cubicBezTo>
                <a:cubicBezTo>
                  <a:pt x="131" y="1957"/>
                  <a:pt x="131" y="1957"/>
                  <a:pt x="131" y="1958"/>
                </a:cubicBezTo>
                <a:cubicBezTo>
                  <a:pt x="130" y="1959"/>
                  <a:pt x="130" y="1959"/>
                  <a:pt x="129" y="1960"/>
                </a:cubicBezTo>
                <a:cubicBezTo>
                  <a:pt x="129" y="1961"/>
                  <a:pt x="128" y="1962"/>
                  <a:pt x="126" y="1963"/>
                </a:cubicBezTo>
                <a:cubicBezTo>
                  <a:pt x="125" y="1965"/>
                  <a:pt x="124" y="1965"/>
                  <a:pt x="123" y="1966"/>
                </a:cubicBezTo>
                <a:cubicBezTo>
                  <a:pt x="122" y="1967"/>
                  <a:pt x="122" y="1967"/>
                  <a:pt x="121" y="1968"/>
                </a:cubicBezTo>
                <a:cubicBezTo>
                  <a:pt x="120" y="1968"/>
                  <a:pt x="120" y="1968"/>
                  <a:pt x="119" y="1968"/>
                </a:cubicBezTo>
                <a:cubicBezTo>
                  <a:pt x="119" y="1968"/>
                  <a:pt x="118" y="1968"/>
                  <a:pt x="118" y="1967"/>
                </a:cubicBezTo>
                <a:lnTo>
                  <a:pt x="37" y="1887"/>
                </a:lnTo>
                <a:lnTo>
                  <a:pt x="11" y="1913"/>
                </a:lnTo>
                <a:cubicBezTo>
                  <a:pt x="11" y="1913"/>
                  <a:pt x="10" y="1913"/>
                  <a:pt x="10" y="1914"/>
                </a:cubicBezTo>
                <a:cubicBezTo>
                  <a:pt x="9" y="1914"/>
                  <a:pt x="9" y="1914"/>
                  <a:pt x="8" y="1913"/>
                </a:cubicBezTo>
                <a:cubicBezTo>
                  <a:pt x="8" y="1913"/>
                  <a:pt x="7" y="1913"/>
                  <a:pt x="6" y="1912"/>
                </a:cubicBezTo>
                <a:cubicBezTo>
                  <a:pt x="5" y="1912"/>
                  <a:pt x="4" y="1911"/>
                  <a:pt x="4" y="1910"/>
                </a:cubicBezTo>
                <a:cubicBezTo>
                  <a:pt x="3" y="1909"/>
                  <a:pt x="2" y="1908"/>
                  <a:pt x="1" y="1907"/>
                </a:cubicBezTo>
                <a:cubicBezTo>
                  <a:pt x="1" y="1907"/>
                  <a:pt x="0" y="1906"/>
                  <a:pt x="0" y="1905"/>
                </a:cubicBezTo>
                <a:cubicBezTo>
                  <a:pt x="0" y="1905"/>
                  <a:pt x="0" y="1904"/>
                  <a:pt x="0" y="1904"/>
                </a:cubicBezTo>
                <a:cubicBezTo>
                  <a:pt x="0" y="1903"/>
                  <a:pt x="0" y="1903"/>
                  <a:pt x="1" y="1902"/>
                </a:cubicBezTo>
                <a:lnTo>
                  <a:pt x="65" y="1838"/>
                </a:lnTo>
                <a:cubicBezTo>
                  <a:pt x="66" y="1837"/>
                  <a:pt x="66" y="1837"/>
                  <a:pt x="67" y="1837"/>
                </a:cubicBezTo>
                <a:cubicBezTo>
                  <a:pt x="67" y="1837"/>
                  <a:pt x="68" y="1837"/>
                  <a:pt x="68" y="1837"/>
                </a:cubicBezTo>
                <a:cubicBezTo>
                  <a:pt x="69" y="1837"/>
                  <a:pt x="70" y="1838"/>
                  <a:pt x="71" y="1838"/>
                </a:cubicBezTo>
                <a:cubicBezTo>
                  <a:pt x="71" y="1839"/>
                  <a:pt x="72" y="1840"/>
                  <a:pt x="73" y="1841"/>
                </a:cubicBezTo>
                <a:close/>
                <a:moveTo>
                  <a:pt x="145" y="1820"/>
                </a:moveTo>
                <a:cubicBezTo>
                  <a:pt x="146" y="1821"/>
                  <a:pt x="146" y="1822"/>
                  <a:pt x="147" y="1823"/>
                </a:cubicBezTo>
                <a:cubicBezTo>
                  <a:pt x="148" y="1823"/>
                  <a:pt x="148" y="1824"/>
                  <a:pt x="149" y="1825"/>
                </a:cubicBezTo>
                <a:cubicBezTo>
                  <a:pt x="149" y="1825"/>
                  <a:pt x="149" y="1826"/>
                  <a:pt x="149" y="1826"/>
                </a:cubicBezTo>
                <a:cubicBezTo>
                  <a:pt x="149" y="1827"/>
                  <a:pt x="149" y="1827"/>
                  <a:pt x="148" y="1827"/>
                </a:cubicBezTo>
                <a:cubicBezTo>
                  <a:pt x="148" y="1828"/>
                  <a:pt x="147" y="1828"/>
                  <a:pt x="147" y="1828"/>
                </a:cubicBezTo>
                <a:cubicBezTo>
                  <a:pt x="146" y="1829"/>
                  <a:pt x="145" y="1829"/>
                  <a:pt x="144" y="1830"/>
                </a:cubicBezTo>
                <a:cubicBezTo>
                  <a:pt x="143" y="1830"/>
                  <a:pt x="142" y="1831"/>
                  <a:pt x="141" y="1831"/>
                </a:cubicBezTo>
                <a:cubicBezTo>
                  <a:pt x="140" y="1832"/>
                  <a:pt x="139" y="1833"/>
                  <a:pt x="138" y="1834"/>
                </a:cubicBezTo>
                <a:cubicBezTo>
                  <a:pt x="137" y="1835"/>
                  <a:pt x="136" y="1836"/>
                  <a:pt x="135" y="1838"/>
                </a:cubicBezTo>
                <a:cubicBezTo>
                  <a:pt x="135" y="1840"/>
                  <a:pt x="134" y="1842"/>
                  <a:pt x="134" y="1844"/>
                </a:cubicBezTo>
                <a:cubicBezTo>
                  <a:pt x="134" y="1846"/>
                  <a:pt x="134" y="1849"/>
                  <a:pt x="134" y="1852"/>
                </a:cubicBezTo>
                <a:cubicBezTo>
                  <a:pt x="135" y="1856"/>
                  <a:pt x="136" y="1859"/>
                  <a:pt x="137" y="1864"/>
                </a:cubicBezTo>
                <a:lnTo>
                  <a:pt x="179" y="1906"/>
                </a:lnTo>
                <a:cubicBezTo>
                  <a:pt x="179" y="1907"/>
                  <a:pt x="180" y="1907"/>
                  <a:pt x="180" y="1908"/>
                </a:cubicBezTo>
                <a:cubicBezTo>
                  <a:pt x="180" y="1908"/>
                  <a:pt x="180" y="1908"/>
                  <a:pt x="179" y="1909"/>
                </a:cubicBezTo>
                <a:cubicBezTo>
                  <a:pt x="179" y="1910"/>
                  <a:pt x="179" y="1910"/>
                  <a:pt x="178" y="1911"/>
                </a:cubicBezTo>
                <a:cubicBezTo>
                  <a:pt x="177" y="1912"/>
                  <a:pt x="177" y="1913"/>
                  <a:pt x="175" y="1914"/>
                </a:cubicBezTo>
                <a:cubicBezTo>
                  <a:pt x="174" y="1916"/>
                  <a:pt x="173" y="1916"/>
                  <a:pt x="172" y="1917"/>
                </a:cubicBezTo>
                <a:cubicBezTo>
                  <a:pt x="171" y="1918"/>
                  <a:pt x="171" y="1918"/>
                  <a:pt x="170" y="1919"/>
                </a:cubicBezTo>
                <a:cubicBezTo>
                  <a:pt x="169" y="1919"/>
                  <a:pt x="169" y="1919"/>
                  <a:pt x="168" y="1919"/>
                </a:cubicBezTo>
                <a:cubicBezTo>
                  <a:pt x="168" y="1919"/>
                  <a:pt x="168" y="1918"/>
                  <a:pt x="167" y="1918"/>
                </a:cubicBezTo>
                <a:lnTo>
                  <a:pt x="103" y="1853"/>
                </a:lnTo>
                <a:cubicBezTo>
                  <a:pt x="102" y="1853"/>
                  <a:pt x="102" y="1853"/>
                  <a:pt x="102" y="1852"/>
                </a:cubicBezTo>
                <a:cubicBezTo>
                  <a:pt x="102" y="1852"/>
                  <a:pt x="102" y="1851"/>
                  <a:pt x="102" y="1851"/>
                </a:cubicBezTo>
                <a:cubicBezTo>
                  <a:pt x="102" y="1850"/>
                  <a:pt x="103" y="1849"/>
                  <a:pt x="103" y="1849"/>
                </a:cubicBezTo>
                <a:cubicBezTo>
                  <a:pt x="104" y="1848"/>
                  <a:pt x="105" y="1847"/>
                  <a:pt x="106" y="1846"/>
                </a:cubicBezTo>
                <a:cubicBezTo>
                  <a:pt x="107" y="1845"/>
                  <a:pt x="108" y="1844"/>
                  <a:pt x="108" y="1843"/>
                </a:cubicBezTo>
                <a:cubicBezTo>
                  <a:pt x="109" y="1843"/>
                  <a:pt x="110" y="1842"/>
                  <a:pt x="110" y="1842"/>
                </a:cubicBezTo>
                <a:cubicBezTo>
                  <a:pt x="111" y="1842"/>
                  <a:pt x="112" y="1842"/>
                  <a:pt x="112" y="1842"/>
                </a:cubicBezTo>
                <a:cubicBezTo>
                  <a:pt x="112" y="1842"/>
                  <a:pt x="113" y="1842"/>
                  <a:pt x="113" y="1843"/>
                </a:cubicBezTo>
                <a:lnTo>
                  <a:pt x="123" y="1852"/>
                </a:lnTo>
                <a:cubicBezTo>
                  <a:pt x="122" y="1848"/>
                  <a:pt x="121" y="1844"/>
                  <a:pt x="121" y="1841"/>
                </a:cubicBezTo>
                <a:cubicBezTo>
                  <a:pt x="121" y="1838"/>
                  <a:pt x="121" y="1835"/>
                  <a:pt x="122" y="1833"/>
                </a:cubicBezTo>
                <a:cubicBezTo>
                  <a:pt x="122" y="1830"/>
                  <a:pt x="123" y="1828"/>
                  <a:pt x="124" y="1827"/>
                </a:cubicBezTo>
                <a:cubicBezTo>
                  <a:pt x="125" y="1825"/>
                  <a:pt x="126" y="1823"/>
                  <a:pt x="128" y="1822"/>
                </a:cubicBezTo>
                <a:cubicBezTo>
                  <a:pt x="128" y="1821"/>
                  <a:pt x="129" y="1821"/>
                  <a:pt x="130" y="1820"/>
                </a:cubicBezTo>
                <a:cubicBezTo>
                  <a:pt x="131" y="1819"/>
                  <a:pt x="132" y="1818"/>
                  <a:pt x="133" y="1818"/>
                </a:cubicBezTo>
                <a:cubicBezTo>
                  <a:pt x="134" y="1817"/>
                  <a:pt x="135" y="1817"/>
                  <a:pt x="136" y="1816"/>
                </a:cubicBezTo>
                <a:cubicBezTo>
                  <a:pt x="137" y="1816"/>
                  <a:pt x="137" y="1815"/>
                  <a:pt x="138" y="1815"/>
                </a:cubicBezTo>
                <a:cubicBezTo>
                  <a:pt x="138" y="1815"/>
                  <a:pt x="139" y="1815"/>
                  <a:pt x="139" y="1815"/>
                </a:cubicBezTo>
                <a:cubicBezTo>
                  <a:pt x="140" y="1816"/>
                  <a:pt x="140" y="1816"/>
                  <a:pt x="140" y="1816"/>
                </a:cubicBezTo>
                <a:cubicBezTo>
                  <a:pt x="141" y="1816"/>
                  <a:pt x="141" y="1817"/>
                  <a:pt x="142" y="1817"/>
                </a:cubicBezTo>
                <a:cubicBezTo>
                  <a:pt x="143" y="1818"/>
                  <a:pt x="143" y="1819"/>
                  <a:pt x="145" y="1820"/>
                </a:cubicBezTo>
                <a:close/>
                <a:moveTo>
                  <a:pt x="273" y="1813"/>
                </a:moveTo>
                <a:cubicBezTo>
                  <a:pt x="273" y="1813"/>
                  <a:pt x="273" y="1814"/>
                  <a:pt x="273" y="1815"/>
                </a:cubicBezTo>
                <a:cubicBezTo>
                  <a:pt x="273" y="1815"/>
                  <a:pt x="273" y="1816"/>
                  <a:pt x="272" y="1817"/>
                </a:cubicBezTo>
                <a:cubicBezTo>
                  <a:pt x="272" y="1818"/>
                  <a:pt x="271" y="1819"/>
                  <a:pt x="270" y="1820"/>
                </a:cubicBezTo>
                <a:cubicBezTo>
                  <a:pt x="268" y="1821"/>
                  <a:pt x="267" y="1822"/>
                  <a:pt x="266" y="1823"/>
                </a:cubicBezTo>
                <a:cubicBezTo>
                  <a:pt x="266" y="1824"/>
                  <a:pt x="265" y="1824"/>
                  <a:pt x="264" y="1824"/>
                </a:cubicBezTo>
                <a:cubicBezTo>
                  <a:pt x="264" y="1824"/>
                  <a:pt x="263" y="1824"/>
                  <a:pt x="262" y="1823"/>
                </a:cubicBezTo>
                <a:lnTo>
                  <a:pt x="256" y="1817"/>
                </a:lnTo>
                <a:cubicBezTo>
                  <a:pt x="256" y="1822"/>
                  <a:pt x="255" y="1828"/>
                  <a:pt x="253" y="1833"/>
                </a:cubicBezTo>
                <a:cubicBezTo>
                  <a:pt x="252" y="1838"/>
                  <a:pt x="249" y="1843"/>
                  <a:pt x="245" y="1847"/>
                </a:cubicBezTo>
                <a:cubicBezTo>
                  <a:pt x="242" y="1850"/>
                  <a:pt x="238" y="1853"/>
                  <a:pt x="234" y="1855"/>
                </a:cubicBezTo>
                <a:cubicBezTo>
                  <a:pt x="231" y="1856"/>
                  <a:pt x="227" y="1857"/>
                  <a:pt x="224" y="1858"/>
                </a:cubicBezTo>
                <a:cubicBezTo>
                  <a:pt x="220" y="1858"/>
                  <a:pt x="216" y="1857"/>
                  <a:pt x="213" y="1856"/>
                </a:cubicBezTo>
                <a:cubicBezTo>
                  <a:pt x="209" y="1855"/>
                  <a:pt x="206" y="1853"/>
                  <a:pt x="203" y="1849"/>
                </a:cubicBezTo>
                <a:cubicBezTo>
                  <a:pt x="199" y="1846"/>
                  <a:pt x="197" y="1842"/>
                  <a:pt x="196" y="1838"/>
                </a:cubicBezTo>
                <a:cubicBezTo>
                  <a:pt x="194" y="1834"/>
                  <a:pt x="194" y="1829"/>
                  <a:pt x="195" y="1825"/>
                </a:cubicBezTo>
                <a:cubicBezTo>
                  <a:pt x="196" y="1820"/>
                  <a:pt x="198" y="1815"/>
                  <a:pt x="202" y="1810"/>
                </a:cubicBezTo>
                <a:cubicBezTo>
                  <a:pt x="205" y="1806"/>
                  <a:pt x="209" y="1801"/>
                  <a:pt x="214" y="1796"/>
                </a:cubicBezTo>
                <a:lnTo>
                  <a:pt x="223" y="1787"/>
                </a:lnTo>
                <a:lnTo>
                  <a:pt x="218" y="1782"/>
                </a:lnTo>
                <a:cubicBezTo>
                  <a:pt x="215" y="1779"/>
                  <a:pt x="213" y="1777"/>
                  <a:pt x="210" y="1776"/>
                </a:cubicBezTo>
                <a:cubicBezTo>
                  <a:pt x="208" y="1774"/>
                  <a:pt x="205" y="1774"/>
                  <a:pt x="203" y="1774"/>
                </a:cubicBezTo>
                <a:cubicBezTo>
                  <a:pt x="200" y="1773"/>
                  <a:pt x="198" y="1774"/>
                  <a:pt x="196" y="1775"/>
                </a:cubicBezTo>
                <a:cubicBezTo>
                  <a:pt x="193" y="1776"/>
                  <a:pt x="190" y="1778"/>
                  <a:pt x="188" y="1781"/>
                </a:cubicBezTo>
                <a:cubicBezTo>
                  <a:pt x="185" y="1784"/>
                  <a:pt x="182" y="1787"/>
                  <a:pt x="181" y="1790"/>
                </a:cubicBezTo>
                <a:cubicBezTo>
                  <a:pt x="179" y="1793"/>
                  <a:pt x="178" y="1796"/>
                  <a:pt x="177" y="1798"/>
                </a:cubicBezTo>
                <a:cubicBezTo>
                  <a:pt x="176" y="1801"/>
                  <a:pt x="175" y="1803"/>
                  <a:pt x="175" y="1805"/>
                </a:cubicBezTo>
                <a:cubicBezTo>
                  <a:pt x="174" y="1807"/>
                  <a:pt x="174" y="1808"/>
                  <a:pt x="173" y="1809"/>
                </a:cubicBezTo>
                <a:cubicBezTo>
                  <a:pt x="173" y="1809"/>
                  <a:pt x="173" y="1809"/>
                  <a:pt x="172" y="1810"/>
                </a:cubicBezTo>
                <a:cubicBezTo>
                  <a:pt x="172" y="1810"/>
                  <a:pt x="171" y="1810"/>
                  <a:pt x="170" y="1809"/>
                </a:cubicBezTo>
                <a:cubicBezTo>
                  <a:pt x="170" y="1809"/>
                  <a:pt x="169" y="1809"/>
                  <a:pt x="169" y="1808"/>
                </a:cubicBezTo>
                <a:cubicBezTo>
                  <a:pt x="168" y="1808"/>
                  <a:pt x="167" y="1807"/>
                  <a:pt x="166" y="1807"/>
                </a:cubicBezTo>
                <a:cubicBezTo>
                  <a:pt x="165" y="1805"/>
                  <a:pt x="164" y="1804"/>
                  <a:pt x="164" y="1804"/>
                </a:cubicBezTo>
                <a:cubicBezTo>
                  <a:pt x="163" y="1803"/>
                  <a:pt x="163" y="1802"/>
                  <a:pt x="163" y="1800"/>
                </a:cubicBezTo>
                <a:cubicBezTo>
                  <a:pt x="163" y="1799"/>
                  <a:pt x="163" y="1797"/>
                  <a:pt x="164" y="1795"/>
                </a:cubicBezTo>
                <a:cubicBezTo>
                  <a:pt x="165" y="1792"/>
                  <a:pt x="166" y="1790"/>
                  <a:pt x="167" y="1787"/>
                </a:cubicBezTo>
                <a:cubicBezTo>
                  <a:pt x="169" y="1784"/>
                  <a:pt x="170" y="1781"/>
                  <a:pt x="172" y="1779"/>
                </a:cubicBezTo>
                <a:cubicBezTo>
                  <a:pt x="174" y="1776"/>
                  <a:pt x="177" y="1773"/>
                  <a:pt x="179" y="1770"/>
                </a:cubicBezTo>
                <a:cubicBezTo>
                  <a:pt x="184" y="1766"/>
                  <a:pt x="188" y="1762"/>
                  <a:pt x="193" y="1760"/>
                </a:cubicBezTo>
                <a:cubicBezTo>
                  <a:pt x="197" y="1758"/>
                  <a:pt x="201" y="1757"/>
                  <a:pt x="205" y="1757"/>
                </a:cubicBezTo>
                <a:cubicBezTo>
                  <a:pt x="209" y="1757"/>
                  <a:pt x="213" y="1758"/>
                  <a:pt x="217" y="1760"/>
                </a:cubicBezTo>
                <a:cubicBezTo>
                  <a:pt x="221" y="1762"/>
                  <a:pt x="225" y="1765"/>
                  <a:pt x="229" y="1769"/>
                </a:cubicBezTo>
                <a:lnTo>
                  <a:pt x="273" y="1813"/>
                </a:lnTo>
                <a:close/>
                <a:moveTo>
                  <a:pt x="231" y="1795"/>
                </a:moveTo>
                <a:lnTo>
                  <a:pt x="221" y="1805"/>
                </a:lnTo>
                <a:cubicBezTo>
                  <a:pt x="218" y="1809"/>
                  <a:pt x="215" y="1812"/>
                  <a:pt x="213" y="1815"/>
                </a:cubicBezTo>
                <a:cubicBezTo>
                  <a:pt x="212" y="1818"/>
                  <a:pt x="210" y="1820"/>
                  <a:pt x="210" y="1823"/>
                </a:cubicBezTo>
                <a:cubicBezTo>
                  <a:pt x="209" y="1826"/>
                  <a:pt x="210" y="1828"/>
                  <a:pt x="210" y="1830"/>
                </a:cubicBezTo>
                <a:cubicBezTo>
                  <a:pt x="211" y="1833"/>
                  <a:pt x="212" y="1835"/>
                  <a:pt x="214" y="1837"/>
                </a:cubicBezTo>
                <a:cubicBezTo>
                  <a:pt x="218" y="1840"/>
                  <a:pt x="222" y="1842"/>
                  <a:pt x="226" y="1841"/>
                </a:cubicBezTo>
                <a:cubicBezTo>
                  <a:pt x="230" y="1841"/>
                  <a:pt x="234" y="1839"/>
                  <a:pt x="238" y="1836"/>
                </a:cubicBezTo>
                <a:cubicBezTo>
                  <a:pt x="241" y="1832"/>
                  <a:pt x="243" y="1829"/>
                  <a:pt x="244" y="1825"/>
                </a:cubicBezTo>
                <a:cubicBezTo>
                  <a:pt x="245" y="1820"/>
                  <a:pt x="245" y="1815"/>
                  <a:pt x="245" y="1809"/>
                </a:cubicBezTo>
                <a:lnTo>
                  <a:pt x="231" y="1795"/>
                </a:lnTo>
                <a:close/>
                <a:moveTo>
                  <a:pt x="347" y="1738"/>
                </a:moveTo>
                <a:cubicBezTo>
                  <a:pt x="348" y="1738"/>
                  <a:pt x="348" y="1739"/>
                  <a:pt x="348" y="1739"/>
                </a:cubicBezTo>
                <a:cubicBezTo>
                  <a:pt x="348" y="1740"/>
                  <a:pt x="348" y="1740"/>
                  <a:pt x="348" y="1741"/>
                </a:cubicBezTo>
                <a:cubicBezTo>
                  <a:pt x="347" y="1741"/>
                  <a:pt x="347" y="1742"/>
                  <a:pt x="346" y="1743"/>
                </a:cubicBezTo>
                <a:cubicBezTo>
                  <a:pt x="346" y="1744"/>
                  <a:pt x="345" y="1745"/>
                  <a:pt x="344" y="1746"/>
                </a:cubicBezTo>
                <a:cubicBezTo>
                  <a:pt x="342" y="1747"/>
                  <a:pt x="341" y="1748"/>
                  <a:pt x="341" y="1749"/>
                </a:cubicBezTo>
                <a:cubicBezTo>
                  <a:pt x="340" y="1750"/>
                  <a:pt x="339" y="1750"/>
                  <a:pt x="338" y="1750"/>
                </a:cubicBezTo>
                <a:cubicBezTo>
                  <a:pt x="338" y="1751"/>
                  <a:pt x="337" y="1751"/>
                  <a:pt x="337" y="1751"/>
                </a:cubicBezTo>
                <a:cubicBezTo>
                  <a:pt x="336" y="1750"/>
                  <a:pt x="336" y="1750"/>
                  <a:pt x="335" y="1750"/>
                </a:cubicBezTo>
                <a:lnTo>
                  <a:pt x="298" y="1712"/>
                </a:lnTo>
                <a:cubicBezTo>
                  <a:pt x="294" y="1708"/>
                  <a:pt x="291" y="1706"/>
                  <a:pt x="288" y="1704"/>
                </a:cubicBezTo>
                <a:cubicBezTo>
                  <a:pt x="285" y="1702"/>
                  <a:pt x="282" y="1701"/>
                  <a:pt x="280" y="1701"/>
                </a:cubicBezTo>
                <a:cubicBezTo>
                  <a:pt x="277" y="1700"/>
                  <a:pt x="274" y="1700"/>
                  <a:pt x="272" y="1701"/>
                </a:cubicBezTo>
                <a:cubicBezTo>
                  <a:pt x="269" y="1702"/>
                  <a:pt x="266" y="1704"/>
                  <a:pt x="264" y="1706"/>
                </a:cubicBezTo>
                <a:cubicBezTo>
                  <a:pt x="261" y="1709"/>
                  <a:pt x="259" y="1713"/>
                  <a:pt x="258" y="1718"/>
                </a:cubicBezTo>
                <a:cubicBezTo>
                  <a:pt x="258" y="1723"/>
                  <a:pt x="258" y="1729"/>
                  <a:pt x="258" y="1737"/>
                </a:cubicBezTo>
                <a:lnTo>
                  <a:pt x="303" y="1782"/>
                </a:lnTo>
                <a:cubicBezTo>
                  <a:pt x="304" y="1782"/>
                  <a:pt x="304" y="1783"/>
                  <a:pt x="304" y="1783"/>
                </a:cubicBezTo>
                <a:cubicBezTo>
                  <a:pt x="304" y="1784"/>
                  <a:pt x="304" y="1784"/>
                  <a:pt x="304" y="1785"/>
                </a:cubicBezTo>
                <a:cubicBezTo>
                  <a:pt x="304" y="1785"/>
                  <a:pt x="303" y="1786"/>
                  <a:pt x="303" y="1787"/>
                </a:cubicBezTo>
                <a:cubicBezTo>
                  <a:pt x="302" y="1788"/>
                  <a:pt x="301" y="1789"/>
                  <a:pt x="300" y="1790"/>
                </a:cubicBezTo>
                <a:cubicBezTo>
                  <a:pt x="299" y="1791"/>
                  <a:pt x="298" y="1792"/>
                  <a:pt x="297" y="1793"/>
                </a:cubicBezTo>
                <a:cubicBezTo>
                  <a:pt x="296" y="1793"/>
                  <a:pt x="295" y="1794"/>
                  <a:pt x="294" y="1794"/>
                </a:cubicBezTo>
                <a:cubicBezTo>
                  <a:pt x="294" y="1794"/>
                  <a:pt x="293" y="1794"/>
                  <a:pt x="293" y="1794"/>
                </a:cubicBezTo>
                <a:cubicBezTo>
                  <a:pt x="292" y="1794"/>
                  <a:pt x="292" y="1794"/>
                  <a:pt x="292" y="1794"/>
                </a:cubicBezTo>
                <a:lnTo>
                  <a:pt x="227" y="1729"/>
                </a:lnTo>
                <a:cubicBezTo>
                  <a:pt x="227" y="1729"/>
                  <a:pt x="226" y="1728"/>
                  <a:pt x="226" y="1728"/>
                </a:cubicBezTo>
                <a:cubicBezTo>
                  <a:pt x="226" y="1727"/>
                  <a:pt x="226" y="1727"/>
                  <a:pt x="226" y="1726"/>
                </a:cubicBezTo>
                <a:cubicBezTo>
                  <a:pt x="227" y="1726"/>
                  <a:pt x="227" y="1725"/>
                  <a:pt x="228" y="1724"/>
                </a:cubicBezTo>
                <a:cubicBezTo>
                  <a:pt x="228" y="1723"/>
                  <a:pt x="229" y="1723"/>
                  <a:pt x="230" y="1721"/>
                </a:cubicBezTo>
                <a:cubicBezTo>
                  <a:pt x="231" y="1720"/>
                  <a:pt x="232" y="1720"/>
                  <a:pt x="233" y="1719"/>
                </a:cubicBezTo>
                <a:cubicBezTo>
                  <a:pt x="234" y="1718"/>
                  <a:pt x="234" y="1718"/>
                  <a:pt x="235" y="1718"/>
                </a:cubicBezTo>
                <a:cubicBezTo>
                  <a:pt x="236" y="1718"/>
                  <a:pt x="236" y="1717"/>
                  <a:pt x="236" y="1718"/>
                </a:cubicBezTo>
                <a:cubicBezTo>
                  <a:pt x="237" y="1718"/>
                  <a:pt x="237" y="1718"/>
                  <a:pt x="238" y="1718"/>
                </a:cubicBezTo>
                <a:lnTo>
                  <a:pt x="246" y="1727"/>
                </a:lnTo>
                <a:cubicBezTo>
                  <a:pt x="246" y="1719"/>
                  <a:pt x="246" y="1713"/>
                  <a:pt x="248" y="1707"/>
                </a:cubicBezTo>
                <a:cubicBezTo>
                  <a:pt x="250" y="1702"/>
                  <a:pt x="253" y="1697"/>
                  <a:pt x="256" y="1693"/>
                </a:cubicBezTo>
                <a:cubicBezTo>
                  <a:pt x="261" y="1689"/>
                  <a:pt x="265" y="1686"/>
                  <a:pt x="269" y="1685"/>
                </a:cubicBezTo>
                <a:cubicBezTo>
                  <a:pt x="274" y="1683"/>
                  <a:pt x="278" y="1683"/>
                  <a:pt x="282" y="1683"/>
                </a:cubicBezTo>
                <a:cubicBezTo>
                  <a:pt x="287" y="1684"/>
                  <a:pt x="291" y="1685"/>
                  <a:pt x="295" y="1688"/>
                </a:cubicBezTo>
                <a:cubicBezTo>
                  <a:pt x="299" y="1690"/>
                  <a:pt x="303" y="1694"/>
                  <a:pt x="308" y="1699"/>
                </a:cubicBezTo>
                <a:lnTo>
                  <a:pt x="347" y="1738"/>
                </a:lnTo>
                <a:close/>
                <a:moveTo>
                  <a:pt x="394" y="1656"/>
                </a:moveTo>
                <a:cubicBezTo>
                  <a:pt x="397" y="1660"/>
                  <a:pt x="399" y="1663"/>
                  <a:pt x="401" y="1667"/>
                </a:cubicBezTo>
                <a:cubicBezTo>
                  <a:pt x="402" y="1671"/>
                  <a:pt x="403" y="1675"/>
                  <a:pt x="402" y="1679"/>
                </a:cubicBezTo>
                <a:cubicBezTo>
                  <a:pt x="402" y="1683"/>
                  <a:pt x="400" y="1687"/>
                  <a:pt x="398" y="1691"/>
                </a:cubicBezTo>
                <a:cubicBezTo>
                  <a:pt x="396" y="1695"/>
                  <a:pt x="393" y="1699"/>
                  <a:pt x="389" y="1702"/>
                </a:cubicBezTo>
                <a:cubicBezTo>
                  <a:pt x="387" y="1705"/>
                  <a:pt x="385" y="1707"/>
                  <a:pt x="382" y="1708"/>
                </a:cubicBezTo>
                <a:cubicBezTo>
                  <a:pt x="380" y="1710"/>
                  <a:pt x="377" y="1712"/>
                  <a:pt x="375" y="1713"/>
                </a:cubicBezTo>
                <a:cubicBezTo>
                  <a:pt x="373" y="1714"/>
                  <a:pt x="371" y="1715"/>
                  <a:pt x="369" y="1715"/>
                </a:cubicBezTo>
                <a:cubicBezTo>
                  <a:pt x="367" y="1716"/>
                  <a:pt x="366" y="1716"/>
                  <a:pt x="365" y="1716"/>
                </a:cubicBezTo>
                <a:cubicBezTo>
                  <a:pt x="364" y="1716"/>
                  <a:pt x="363" y="1716"/>
                  <a:pt x="362" y="1715"/>
                </a:cubicBezTo>
                <a:cubicBezTo>
                  <a:pt x="361" y="1715"/>
                  <a:pt x="360" y="1713"/>
                  <a:pt x="358" y="1712"/>
                </a:cubicBezTo>
                <a:cubicBezTo>
                  <a:pt x="357" y="1711"/>
                  <a:pt x="356" y="1710"/>
                  <a:pt x="356" y="1710"/>
                </a:cubicBezTo>
                <a:cubicBezTo>
                  <a:pt x="355" y="1709"/>
                  <a:pt x="355" y="1708"/>
                  <a:pt x="355" y="1708"/>
                </a:cubicBezTo>
                <a:cubicBezTo>
                  <a:pt x="355" y="1707"/>
                  <a:pt x="354" y="1707"/>
                  <a:pt x="355" y="1706"/>
                </a:cubicBezTo>
                <a:cubicBezTo>
                  <a:pt x="355" y="1706"/>
                  <a:pt x="355" y="1705"/>
                  <a:pt x="355" y="1705"/>
                </a:cubicBezTo>
                <a:cubicBezTo>
                  <a:pt x="356" y="1705"/>
                  <a:pt x="357" y="1704"/>
                  <a:pt x="358" y="1704"/>
                </a:cubicBezTo>
                <a:cubicBezTo>
                  <a:pt x="360" y="1703"/>
                  <a:pt x="362" y="1703"/>
                  <a:pt x="364" y="1702"/>
                </a:cubicBezTo>
                <a:cubicBezTo>
                  <a:pt x="367" y="1701"/>
                  <a:pt x="369" y="1700"/>
                  <a:pt x="372" y="1699"/>
                </a:cubicBezTo>
                <a:cubicBezTo>
                  <a:pt x="375" y="1697"/>
                  <a:pt x="377" y="1695"/>
                  <a:pt x="380" y="1693"/>
                </a:cubicBezTo>
                <a:cubicBezTo>
                  <a:pt x="382" y="1691"/>
                  <a:pt x="384" y="1689"/>
                  <a:pt x="385" y="1687"/>
                </a:cubicBezTo>
                <a:cubicBezTo>
                  <a:pt x="386" y="1685"/>
                  <a:pt x="387" y="1682"/>
                  <a:pt x="387" y="1680"/>
                </a:cubicBezTo>
                <a:cubicBezTo>
                  <a:pt x="387" y="1678"/>
                  <a:pt x="387" y="1676"/>
                  <a:pt x="387" y="1674"/>
                </a:cubicBezTo>
                <a:cubicBezTo>
                  <a:pt x="386" y="1673"/>
                  <a:pt x="385" y="1671"/>
                  <a:pt x="383" y="1669"/>
                </a:cubicBezTo>
                <a:cubicBezTo>
                  <a:pt x="381" y="1667"/>
                  <a:pt x="379" y="1666"/>
                  <a:pt x="377" y="1666"/>
                </a:cubicBezTo>
                <a:cubicBezTo>
                  <a:pt x="375" y="1665"/>
                  <a:pt x="373" y="1666"/>
                  <a:pt x="370" y="1666"/>
                </a:cubicBezTo>
                <a:cubicBezTo>
                  <a:pt x="368" y="1667"/>
                  <a:pt x="365" y="1668"/>
                  <a:pt x="362" y="1669"/>
                </a:cubicBezTo>
                <a:cubicBezTo>
                  <a:pt x="360" y="1670"/>
                  <a:pt x="357" y="1671"/>
                  <a:pt x="354" y="1672"/>
                </a:cubicBezTo>
                <a:cubicBezTo>
                  <a:pt x="351" y="1674"/>
                  <a:pt x="348" y="1675"/>
                  <a:pt x="345" y="1676"/>
                </a:cubicBezTo>
                <a:cubicBezTo>
                  <a:pt x="342" y="1676"/>
                  <a:pt x="339" y="1677"/>
                  <a:pt x="336" y="1677"/>
                </a:cubicBezTo>
                <a:cubicBezTo>
                  <a:pt x="333" y="1677"/>
                  <a:pt x="330" y="1676"/>
                  <a:pt x="327" y="1675"/>
                </a:cubicBezTo>
                <a:cubicBezTo>
                  <a:pt x="324" y="1674"/>
                  <a:pt x="321" y="1672"/>
                  <a:pt x="319" y="1669"/>
                </a:cubicBezTo>
                <a:cubicBezTo>
                  <a:pt x="316" y="1667"/>
                  <a:pt x="314" y="1664"/>
                  <a:pt x="313" y="1661"/>
                </a:cubicBezTo>
                <a:cubicBezTo>
                  <a:pt x="311" y="1657"/>
                  <a:pt x="311" y="1654"/>
                  <a:pt x="311" y="1650"/>
                </a:cubicBezTo>
                <a:cubicBezTo>
                  <a:pt x="311" y="1646"/>
                  <a:pt x="312" y="1643"/>
                  <a:pt x="314" y="1639"/>
                </a:cubicBezTo>
                <a:cubicBezTo>
                  <a:pt x="316" y="1635"/>
                  <a:pt x="319" y="1631"/>
                  <a:pt x="323" y="1627"/>
                </a:cubicBezTo>
                <a:cubicBezTo>
                  <a:pt x="325" y="1625"/>
                  <a:pt x="327" y="1623"/>
                  <a:pt x="329" y="1622"/>
                </a:cubicBezTo>
                <a:cubicBezTo>
                  <a:pt x="331" y="1620"/>
                  <a:pt x="332" y="1619"/>
                  <a:pt x="334" y="1618"/>
                </a:cubicBezTo>
                <a:cubicBezTo>
                  <a:pt x="336" y="1617"/>
                  <a:pt x="338" y="1617"/>
                  <a:pt x="339" y="1616"/>
                </a:cubicBezTo>
                <a:cubicBezTo>
                  <a:pt x="341" y="1616"/>
                  <a:pt x="342" y="1615"/>
                  <a:pt x="343" y="1615"/>
                </a:cubicBezTo>
                <a:cubicBezTo>
                  <a:pt x="344" y="1615"/>
                  <a:pt x="344" y="1615"/>
                  <a:pt x="345" y="1615"/>
                </a:cubicBezTo>
                <a:cubicBezTo>
                  <a:pt x="345" y="1615"/>
                  <a:pt x="346" y="1616"/>
                  <a:pt x="346" y="1616"/>
                </a:cubicBezTo>
                <a:cubicBezTo>
                  <a:pt x="347" y="1616"/>
                  <a:pt x="347" y="1617"/>
                  <a:pt x="348" y="1617"/>
                </a:cubicBezTo>
                <a:cubicBezTo>
                  <a:pt x="348" y="1617"/>
                  <a:pt x="349" y="1618"/>
                  <a:pt x="350" y="1619"/>
                </a:cubicBezTo>
                <a:cubicBezTo>
                  <a:pt x="351" y="1620"/>
                  <a:pt x="351" y="1620"/>
                  <a:pt x="352" y="1621"/>
                </a:cubicBezTo>
                <a:cubicBezTo>
                  <a:pt x="352" y="1622"/>
                  <a:pt x="353" y="1622"/>
                  <a:pt x="353" y="1623"/>
                </a:cubicBezTo>
                <a:cubicBezTo>
                  <a:pt x="353" y="1623"/>
                  <a:pt x="353" y="1624"/>
                  <a:pt x="353" y="1624"/>
                </a:cubicBezTo>
                <a:cubicBezTo>
                  <a:pt x="353" y="1625"/>
                  <a:pt x="353" y="1625"/>
                  <a:pt x="353" y="1625"/>
                </a:cubicBezTo>
                <a:cubicBezTo>
                  <a:pt x="352" y="1626"/>
                  <a:pt x="351" y="1626"/>
                  <a:pt x="350" y="1626"/>
                </a:cubicBezTo>
                <a:cubicBezTo>
                  <a:pt x="349" y="1627"/>
                  <a:pt x="347" y="1627"/>
                  <a:pt x="345" y="1628"/>
                </a:cubicBezTo>
                <a:cubicBezTo>
                  <a:pt x="343" y="1629"/>
                  <a:pt x="341" y="1630"/>
                  <a:pt x="339" y="1631"/>
                </a:cubicBezTo>
                <a:cubicBezTo>
                  <a:pt x="337" y="1632"/>
                  <a:pt x="334" y="1634"/>
                  <a:pt x="332" y="1636"/>
                </a:cubicBezTo>
                <a:cubicBezTo>
                  <a:pt x="330" y="1638"/>
                  <a:pt x="328" y="1640"/>
                  <a:pt x="327" y="1642"/>
                </a:cubicBezTo>
                <a:cubicBezTo>
                  <a:pt x="326" y="1644"/>
                  <a:pt x="326" y="1646"/>
                  <a:pt x="326" y="1648"/>
                </a:cubicBezTo>
                <a:cubicBezTo>
                  <a:pt x="325" y="1649"/>
                  <a:pt x="326" y="1651"/>
                  <a:pt x="326" y="1653"/>
                </a:cubicBezTo>
                <a:cubicBezTo>
                  <a:pt x="327" y="1655"/>
                  <a:pt x="328" y="1656"/>
                  <a:pt x="329" y="1657"/>
                </a:cubicBezTo>
                <a:cubicBezTo>
                  <a:pt x="331" y="1659"/>
                  <a:pt x="333" y="1660"/>
                  <a:pt x="335" y="1661"/>
                </a:cubicBezTo>
                <a:cubicBezTo>
                  <a:pt x="338" y="1661"/>
                  <a:pt x="340" y="1661"/>
                  <a:pt x="342" y="1660"/>
                </a:cubicBezTo>
                <a:cubicBezTo>
                  <a:pt x="345" y="1660"/>
                  <a:pt x="348" y="1659"/>
                  <a:pt x="350" y="1658"/>
                </a:cubicBezTo>
                <a:cubicBezTo>
                  <a:pt x="353" y="1656"/>
                  <a:pt x="356" y="1655"/>
                  <a:pt x="359" y="1654"/>
                </a:cubicBezTo>
                <a:cubicBezTo>
                  <a:pt x="362" y="1653"/>
                  <a:pt x="364" y="1652"/>
                  <a:pt x="367" y="1651"/>
                </a:cubicBezTo>
                <a:cubicBezTo>
                  <a:pt x="370" y="1650"/>
                  <a:pt x="373" y="1649"/>
                  <a:pt x="376" y="1649"/>
                </a:cubicBezTo>
                <a:cubicBezTo>
                  <a:pt x="379" y="1649"/>
                  <a:pt x="382" y="1649"/>
                  <a:pt x="385" y="1650"/>
                </a:cubicBezTo>
                <a:cubicBezTo>
                  <a:pt x="388" y="1652"/>
                  <a:pt x="391" y="1654"/>
                  <a:pt x="394" y="1656"/>
                </a:cubicBezTo>
                <a:close/>
                <a:moveTo>
                  <a:pt x="523" y="1562"/>
                </a:moveTo>
                <a:cubicBezTo>
                  <a:pt x="524" y="1562"/>
                  <a:pt x="524" y="1563"/>
                  <a:pt x="524" y="1563"/>
                </a:cubicBezTo>
                <a:cubicBezTo>
                  <a:pt x="524" y="1564"/>
                  <a:pt x="524" y="1564"/>
                  <a:pt x="524" y="1565"/>
                </a:cubicBezTo>
                <a:cubicBezTo>
                  <a:pt x="523" y="1566"/>
                  <a:pt x="523" y="1566"/>
                  <a:pt x="522" y="1567"/>
                </a:cubicBezTo>
                <a:cubicBezTo>
                  <a:pt x="522" y="1568"/>
                  <a:pt x="521" y="1569"/>
                  <a:pt x="520" y="1570"/>
                </a:cubicBezTo>
                <a:cubicBezTo>
                  <a:pt x="518" y="1571"/>
                  <a:pt x="517" y="1572"/>
                  <a:pt x="517" y="1573"/>
                </a:cubicBezTo>
                <a:cubicBezTo>
                  <a:pt x="516" y="1574"/>
                  <a:pt x="515" y="1574"/>
                  <a:pt x="514" y="1574"/>
                </a:cubicBezTo>
                <a:cubicBezTo>
                  <a:pt x="514" y="1575"/>
                  <a:pt x="513" y="1575"/>
                  <a:pt x="513" y="1575"/>
                </a:cubicBezTo>
                <a:cubicBezTo>
                  <a:pt x="512" y="1575"/>
                  <a:pt x="512" y="1574"/>
                  <a:pt x="511" y="1574"/>
                </a:cubicBezTo>
                <a:lnTo>
                  <a:pt x="472" y="1535"/>
                </a:lnTo>
                <a:cubicBezTo>
                  <a:pt x="469" y="1532"/>
                  <a:pt x="467" y="1530"/>
                  <a:pt x="464" y="1528"/>
                </a:cubicBezTo>
                <a:cubicBezTo>
                  <a:pt x="461" y="1526"/>
                  <a:pt x="458" y="1525"/>
                  <a:pt x="456" y="1524"/>
                </a:cubicBezTo>
                <a:cubicBezTo>
                  <a:pt x="453" y="1524"/>
                  <a:pt x="451" y="1524"/>
                  <a:pt x="448" y="1525"/>
                </a:cubicBezTo>
                <a:cubicBezTo>
                  <a:pt x="446" y="1525"/>
                  <a:pt x="443" y="1527"/>
                  <a:pt x="441" y="1529"/>
                </a:cubicBezTo>
                <a:cubicBezTo>
                  <a:pt x="438" y="1532"/>
                  <a:pt x="437" y="1536"/>
                  <a:pt x="436" y="1540"/>
                </a:cubicBezTo>
                <a:cubicBezTo>
                  <a:pt x="435" y="1545"/>
                  <a:pt x="435" y="1551"/>
                  <a:pt x="436" y="1559"/>
                </a:cubicBezTo>
                <a:lnTo>
                  <a:pt x="481" y="1604"/>
                </a:lnTo>
                <a:cubicBezTo>
                  <a:pt x="482" y="1604"/>
                  <a:pt x="482" y="1605"/>
                  <a:pt x="482" y="1605"/>
                </a:cubicBezTo>
                <a:cubicBezTo>
                  <a:pt x="482" y="1606"/>
                  <a:pt x="482" y="1606"/>
                  <a:pt x="482" y="1607"/>
                </a:cubicBezTo>
                <a:cubicBezTo>
                  <a:pt x="481" y="1608"/>
                  <a:pt x="481" y="1608"/>
                  <a:pt x="480" y="1609"/>
                </a:cubicBezTo>
                <a:cubicBezTo>
                  <a:pt x="480" y="1610"/>
                  <a:pt x="479" y="1611"/>
                  <a:pt x="478" y="1612"/>
                </a:cubicBezTo>
                <a:cubicBezTo>
                  <a:pt x="476" y="1613"/>
                  <a:pt x="475" y="1614"/>
                  <a:pt x="475" y="1615"/>
                </a:cubicBezTo>
                <a:cubicBezTo>
                  <a:pt x="474" y="1616"/>
                  <a:pt x="473" y="1616"/>
                  <a:pt x="472" y="1616"/>
                </a:cubicBezTo>
                <a:cubicBezTo>
                  <a:pt x="472" y="1617"/>
                  <a:pt x="471" y="1617"/>
                  <a:pt x="471" y="1617"/>
                </a:cubicBezTo>
                <a:cubicBezTo>
                  <a:pt x="470" y="1616"/>
                  <a:pt x="470" y="1616"/>
                  <a:pt x="469" y="1616"/>
                </a:cubicBezTo>
                <a:lnTo>
                  <a:pt x="430" y="1577"/>
                </a:lnTo>
                <a:cubicBezTo>
                  <a:pt x="427" y="1574"/>
                  <a:pt x="425" y="1572"/>
                  <a:pt x="422" y="1570"/>
                </a:cubicBezTo>
                <a:cubicBezTo>
                  <a:pt x="419" y="1568"/>
                  <a:pt x="416" y="1567"/>
                  <a:pt x="414" y="1566"/>
                </a:cubicBezTo>
                <a:cubicBezTo>
                  <a:pt x="411" y="1566"/>
                  <a:pt x="408" y="1566"/>
                  <a:pt x="406" y="1567"/>
                </a:cubicBezTo>
                <a:cubicBezTo>
                  <a:pt x="404" y="1567"/>
                  <a:pt x="401" y="1569"/>
                  <a:pt x="399" y="1571"/>
                </a:cubicBezTo>
                <a:cubicBezTo>
                  <a:pt x="396" y="1574"/>
                  <a:pt x="395" y="1578"/>
                  <a:pt x="394" y="1583"/>
                </a:cubicBezTo>
                <a:cubicBezTo>
                  <a:pt x="393" y="1587"/>
                  <a:pt x="393" y="1594"/>
                  <a:pt x="394" y="1601"/>
                </a:cubicBezTo>
                <a:lnTo>
                  <a:pt x="439" y="1646"/>
                </a:lnTo>
                <a:cubicBezTo>
                  <a:pt x="440" y="1646"/>
                  <a:pt x="440" y="1647"/>
                  <a:pt x="440" y="1647"/>
                </a:cubicBezTo>
                <a:cubicBezTo>
                  <a:pt x="440" y="1648"/>
                  <a:pt x="440" y="1648"/>
                  <a:pt x="440" y="1649"/>
                </a:cubicBezTo>
                <a:cubicBezTo>
                  <a:pt x="439" y="1650"/>
                  <a:pt x="439" y="1650"/>
                  <a:pt x="438" y="1651"/>
                </a:cubicBezTo>
                <a:cubicBezTo>
                  <a:pt x="438" y="1652"/>
                  <a:pt x="437" y="1653"/>
                  <a:pt x="436" y="1654"/>
                </a:cubicBezTo>
                <a:cubicBezTo>
                  <a:pt x="434" y="1655"/>
                  <a:pt x="433" y="1656"/>
                  <a:pt x="433" y="1657"/>
                </a:cubicBezTo>
                <a:cubicBezTo>
                  <a:pt x="432" y="1658"/>
                  <a:pt x="431" y="1658"/>
                  <a:pt x="430" y="1658"/>
                </a:cubicBezTo>
                <a:cubicBezTo>
                  <a:pt x="430" y="1659"/>
                  <a:pt x="429" y="1659"/>
                  <a:pt x="429" y="1659"/>
                </a:cubicBezTo>
                <a:cubicBezTo>
                  <a:pt x="428" y="1659"/>
                  <a:pt x="428" y="1658"/>
                  <a:pt x="427" y="1658"/>
                </a:cubicBezTo>
                <a:lnTo>
                  <a:pt x="363" y="1593"/>
                </a:lnTo>
                <a:cubicBezTo>
                  <a:pt x="362" y="1593"/>
                  <a:pt x="362" y="1592"/>
                  <a:pt x="362" y="1592"/>
                </a:cubicBezTo>
                <a:cubicBezTo>
                  <a:pt x="362" y="1592"/>
                  <a:pt x="362" y="1591"/>
                  <a:pt x="362" y="1590"/>
                </a:cubicBezTo>
                <a:cubicBezTo>
                  <a:pt x="362" y="1590"/>
                  <a:pt x="363" y="1589"/>
                  <a:pt x="363" y="1588"/>
                </a:cubicBezTo>
                <a:cubicBezTo>
                  <a:pt x="364" y="1588"/>
                  <a:pt x="365" y="1587"/>
                  <a:pt x="366" y="1586"/>
                </a:cubicBezTo>
                <a:cubicBezTo>
                  <a:pt x="367" y="1585"/>
                  <a:pt x="368" y="1584"/>
                  <a:pt x="369" y="1583"/>
                </a:cubicBezTo>
                <a:cubicBezTo>
                  <a:pt x="369" y="1582"/>
                  <a:pt x="370" y="1582"/>
                  <a:pt x="371" y="1582"/>
                </a:cubicBezTo>
                <a:cubicBezTo>
                  <a:pt x="371" y="1582"/>
                  <a:pt x="372" y="1582"/>
                  <a:pt x="372" y="1582"/>
                </a:cubicBezTo>
                <a:cubicBezTo>
                  <a:pt x="373" y="1582"/>
                  <a:pt x="373" y="1582"/>
                  <a:pt x="373" y="1583"/>
                </a:cubicBezTo>
                <a:lnTo>
                  <a:pt x="382" y="1591"/>
                </a:lnTo>
                <a:cubicBezTo>
                  <a:pt x="382" y="1583"/>
                  <a:pt x="382" y="1577"/>
                  <a:pt x="384" y="1572"/>
                </a:cubicBezTo>
                <a:cubicBezTo>
                  <a:pt x="385" y="1566"/>
                  <a:pt x="388" y="1562"/>
                  <a:pt x="391" y="1558"/>
                </a:cubicBezTo>
                <a:cubicBezTo>
                  <a:pt x="394" y="1556"/>
                  <a:pt x="397" y="1554"/>
                  <a:pt x="399" y="1552"/>
                </a:cubicBezTo>
                <a:cubicBezTo>
                  <a:pt x="402" y="1551"/>
                  <a:pt x="405" y="1550"/>
                  <a:pt x="408" y="1549"/>
                </a:cubicBezTo>
                <a:cubicBezTo>
                  <a:pt x="410" y="1549"/>
                  <a:pt x="413" y="1548"/>
                  <a:pt x="416" y="1549"/>
                </a:cubicBezTo>
                <a:cubicBezTo>
                  <a:pt x="419" y="1549"/>
                  <a:pt x="421" y="1550"/>
                  <a:pt x="424" y="1551"/>
                </a:cubicBezTo>
                <a:cubicBezTo>
                  <a:pt x="424" y="1547"/>
                  <a:pt x="424" y="1543"/>
                  <a:pt x="424" y="1539"/>
                </a:cubicBezTo>
                <a:cubicBezTo>
                  <a:pt x="424" y="1536"/>
                  <a:pt x="425" y="1532"/>
                  <a:pt x="426" y="1530"/>
                </a:cubicBezTo>
                <a:cubicBezTo>
                  <a:pt x="427" y="1527"/>
                  <a:pt x="428" y="1524"/>
                  <a:pt x="429" y="1522"/>
                </a:cubicBezTo>
                <a:cubicBezTo>
                  <a:pt x="430" y="1520"/>
                  <a:pt x="432" y="1518"/>
                  <a:pt x="433" y="1516"/>
                </a:cubicBezTo>
                <a:cubicBezTo>
                  <a:pt x="437" y="1512"/>
                  <a:pt x="442" y="1509"/>
                  <a:pt x="446" y="1508"/>
                </a:cubicBezTo>
                <a:cubicBezTo>
                  <a:pt x="450" y="1507"/>
                  <a:pt x="454" y="1506"/>
                  <a:pt x="459" y="1507"/>
                </a:cubicBezTo>
                <a:cubicBezTo>
                  <a:pt x="463" y="1508"/>
                  <a:pt x="467" y="1509"/>
                  <a:pt x="471" y="1512"/>
                </a:cubicBezTo>
                <a:cubicBezTo>
                  <a:pt x="475" y="1514"/>
                  <a:pt x="479" y="1518"/>
                  <a:pt x="482" y="1521"/>
                </a:cubicBezTo>
                <a:lnTo>
                  <a:pt x="523" y="1562"/>
                </a:lnTo>
                <a:close/>
                <a:moveTo>
                  <a:pt x="552" y="1533"/>
                </a:moveTo>
                <a:cubicBezTo>
                  <a:pt x="553" y="1533"/>
                  <a:pt x="553" y="1534"/>
                  <a:pt x="553" y="1534"/>
                </a:cubicBezTo>
                <a:cubicBezTo>
                  <a:pt x="553" y="1535"/>
                  <a:pt x="553" y="1535"/>
                  <a:pt x="553" y="1536"/>
                </a:cubicBezTo>
                <a:cubicBezTo>
                  <a:pt x="553" y="1536"/>
                  <a:pt x="552" y="1537"/>
                  <a:pt x="551" y="1538"/>
                </a:cubicBezTo>
                <a:cubicBezTo>
                  <a:pt x="551" y="1539"/>
                  <a:pt x="550" y="1540"/>
                  <a:pt x="549" y="1541"/>
                </a:cubicBezTo>
                <a:cubicBezTo>
                  <a:pt x="548" y="1542"/>
                  <a:pt x="547" y="1543"/>
                  <a:pt x="546" y="1544"/>
                </a:cubicBezTo>
                <a:cubicBezTo>
                  <a:pt x="545" y="1544"/>
                  <a:pt x="544" y="1545"/>
                  <a:pt x="543" y="1545"/>
                </a:cubicBezTo>
                <a:cubicBezTo>
                  <a:pt x="543" y="1545"/>
                  <a:pt x="542" y="1546"/>
                  <a:pt x="542" y="1545"/>
                </a:cubicBezTo>
                <a:cubicBezTo>
                  <a:pt x="541" y="1545"/>
                  <a:pt x="541" y="1545"/>
                  <a:pt x="541" y="1545"/>
                </a:cubicBezTo>
                <a:lnTo>
                  <a:pt x="476" y="1480"/>
                </a:lnTo>
                <a:cubicBezTo>
                  <a:pt x="476" y="1480"/>
                  <a:pt x="475" y="1479"/>
                  <a:pt x="475" y="1479"/>
                </a:cubicBezTo>
                <a:cubicBezTo>
                  <a:pt x="475" y="1478"/>
                  <a:pt x="475" y="1478"/>
                  <a:pt x="475" y="1477"/>
                </a:cubicBezTo>
                <a:cubicBezTo>
                  <a:pt x="476" y="1477"/>
                  <a:pt x="476" y="1476"/>
                  <a:pt x="477" y="1475"/>
                </a:cubicBezTo>
                <a:cubicBezTo>
                  <a:pt x="478" y="1474"/>
                  <a:pt x="478" y="1473"/>
                  <a:pt x="480" y="1472"/>
                </a:cubicBezTo>
                <a:cubicBezTo>
                  <a:pt x="481" y="1471"/>
                  <a:pt x="482" y="1470"/>
                  <a:pt x="483" y="1469"/>
                </a:cubicBezTo>
                <a:cubicBezTo>
                  <a:pt x="484" y="1469"/>
                  <a:pt x="484" y="1468"/>
                  <a:pt x="485" y="1468"/>
                </a:cubicBezTo>
                <a:cubicBezTo>
                  <a:pt x="486" y="1468"/>
                  <a:pt x="486" y="1468"/>
                  <a:pt x="487" y="1468"/>
                </a:cubicBezTo>
                <a:cubicBezTo>
                  <a:pt x="487" y="1468"/>
                  <a:pt x="487" y="1468"/>
                  <a:pt x="488" y="1468"/>
                </a:cubicBezTo>
                <a:lnTo>
                  <a:pt x="552" y="1533"/>
                </a:lnTo>
                <a:close/>
                <a:moveTo>
                  <a:pt x="467" y="1445"/>
                </a:moveTo>
                <a:cubicBezTo>
                  <a:pt x="470" y="1448"/>
                  <a:pt x="471" y="1450"/>
                  <a:pt x="471" y="1452"/>
                </a:cubicBezTo>
                <a:cubicBezTo>
                  <a:pt x="471" y="1454"/>
                  <a:pt x="470" y="1457"/>
                  <a:pt x="467" y="1460"/>
                </a:cubicBezTo>
                <a:cubicBezTo>
                  <a:pt x="464" y="1462"/>
                  <a:pt x="462" y="1464"/>
                  <a:pt x="460" y="1464"/>
                </a:cubicBezTo>
                <a:cubicBezTo>
                  <a:pt x="458" y="1464"/>
                  <a:pt x="456" y="1463"/>
                  <a:pt x="453" y="1460"/>
                </a:cubicBezTo>
                <a:cubicBezTo>
                  <a:pt x="450" y="1457"/>
                  <a:pt x="449" y="1455"/>
                  <a:pt x="449" y="1453"/>
                </a:cubicBezTo>
                <a:cubicBezTo>
                  <a:pt x="449" y="1451"/>
                  <a:pt x="450" y="1448"/>
                  <a:pt x="453" y="1445"/>
                </a:cubicBezTo>
                <a:cubicBezTo>
                  <a:pt x="456" y="1443"/>
                  <a:pt x="458" y="1441"/>
                  <a:pt x="460" y="1441"/>
                </a:cubicBezTo>
                <a:cubicBezTo>
                  <a:pt x="462" y="1441"/>
                  <a:pt x="465" y="1442"/>
                  <a:pt x="467" y="1445"/>
                </a:cubicBezTo>
                <a:close/>
                <a:moveTo>
                  <a:pt x="597" y="1453"/>
                </a:moveTo>
                <a:cubicBezTo>
                  <a:pt x="601" y="1456"/>
                  <a:pt x="603" y="1459"/>
                  <a:pt x="604" y="1463"/>
                </a:cubicBezTo>
                <a:cubicBezTo>
                  <a:pt x="606" y="1467"/>
                  <a:pt x="606" y="1471"/>
                  <a:pt x="606" y="1475"/>
                </a:cubicBezTo>
                <a:cubicBezTo>
                  <a:pt x="605" y="1479"/>
                  <a:pt x="604" y="1483"/>
                  <a:pt x="602" y="1487"/>
                </a:cubicBezTo>
                <a:cubicBezTo>
                  <a:pt x="600" y="1491"/>
                  <a:pt x="597" y="1495"/>
                  <a:pt x="593" y="1499"/>
                </a:cubicBezTo>
                <a:cubicBezTo>
                  <a:pt x="591" y="1501"/>
                  <a:pt x="588" y="1503"/>
                  <a:pt x="586" y="1505"/>
                </a:cubicBezTo>
                <a:cubicBezTo>
                  <a:pt x="583" y="1506"/>
                  <a:pt x="581" y="1508"/>
                  <a:pt x="579" y="1509"/>
                </a:cubicBezTo>
                <a:cubicBezTo>
                  <a:pt x="577" y="1510"/>
                  <a:pt x="575" y="1511"/>
                  <a:pt x="573" y="1511"/>
                </a:cubicBezTo>
                <a:cubicBezTo>
                  <a:pt x="571" y="1512"/>
                  <a:pt x="570" y="1512"/>
                  <a:pt x="569" y="1512"/>
                </a:cubicBezTo>
                <a:cubicBezTo>
                  <a:pt x="568" y="1512"/>
                  <a:pt x="567" y="1512"/>
                  <a:pt x="566" y="1512"/>
                </a:cubicBezTo>
                <a:cubicBezTo>
                  <a:pt x="564" y="1511"/>
                  <a:pt x="563" y="1510"/>
                  <a:pt x="562" y="1508"/>
                </a:cubicBezTo>
                <a:cubicBezTo>
                  <a:pt x="561" y="1507"/>
                  <a:pt x="560" y="1507"/>
                  <a:pt x="560" y="1506"/>
                </a:cubicBezTo>
                <a:cubicBezTo>
                  <a:pt x="559" y="1505"/>
                  <a:pt x="559" y="1505"/>
                  <a:pt x="558" y="1504"/>
                </a:cubicBezTo>
                <a:cubicBezTo>
                  <a:pt x="558" y="1504"/>
                  <a:pt x="558" y="1503"/>
                  <a:pt x="558" y="1503"/>
                </a:cubicBezTo>
                <a:cubicBezTo>
                  <a:pt x="558" y="1502"/>
                  <a:pt x="558" y="1502"/>
                  <a:pt x="559" y="1501"/>
                </a:cubicBezTo>
                <a:cubicBezTo>
                  <a:pt x="559" y="1501"/>
                  <a:pt x="560" y="1500"/>
                  <a:pt x="562" y="1500"/>
                </a:cubicBezTo>
                <a:cubicBezTo>
                  <a:pt x="564" y="1500"/>
                  <a:pt x="566" y="1499"/>
                  <a:pt x="568" y="1498"/>
                </a:cubicBezTo>
                <a:cubicBezTo>
                  <a:pt x="570" y="1498"/>
                  <a:pt x="573" y="1497"/>
                  <a:pt x="576" y="1495"/>
                </a:cubicBezTo>
                <a:cubicBezTo>
                  <a:pt x="578" y="1494"/>
                  <a:pt x="581" y="1492"/>
                  <a:pt x="584" y="1489"/>
                </a:cubicBezTo>
                <a:cubicBezTo>
                  <a:pt x="586" y="1487"/>
                  <a:pt x="587" y="1485"/>
                  <a:pt x="588" y="1483"/>
                </a:cubicBezTo>
                <a:cubicBezTo>
                  <a:pt x="590" y="1481"/>
                  <a:pt x="590" y="1479"/>
                  <a:pt x="591" y="1477"/>
                </a:cubicBezTo>
                <a:cubicBezTo>
                  <a:pt x="591" y="1475"/>
                  <a:pt x="591" y="1473"/>
                  <a:pt x="590" y="1471"/>
                </a:cubicBezTo>
                <a:cubicBezTo>
                  <a:pt x="590" y="1469"/>
                  <a:pt x="588" y="1467"/>
                  <a:pt x="587" y="1465"/>
                </a:cubicBezTo>
                <a:cubicBezTo>
                  <a:pt x="585" y="1463"/>
                  <a:pt x="583" y="1462"/>
                  <a:pt x="581" y="1462"/>
                </a:cubicBezTo>
                <a:cubicBezTo>
                  <a:pt x="579" y="1462"/>
                  <a:pt x="576" y="1462"/>
                  <a:pt x="574" y="1462"/>
                </a:cubicBezTo>
                <a:cubicBezTo>
                  <a:pt x="571" y="1463"/>
                  <a:pt x="569" y="1464"/>
                  <a:pt x="566" y="1465"/>
                </a:cubicBezTo>
                <a:cubicBezTo>
                  <a:pt x="563" y="1466"/>
                  <a:pt x="561" y="1467"/>
                  <a:pt x="558" y="1469"/>
                </a:cubicBezTo>
                <a:cubicBezTo>
                  <a:pt x="555" y="1470"/>
                  <a:pt x="552" y="1471"/>
                  <a:pt x="549" y="1472"/>
                </a:cubicBezTo>
                <a:cubicBezTo>
                  <a:pt x="546" y="1473"/>
                  <a:pt x="543" y="1473"/>
                  <a:pt x="540" y="1473"/>
                </a:cubicBezTo>
                <a:cubicBezTo>
                  <a:pt x="537" y="1473"/>
                  <a:pt x="534" y="1473"/>
                  <a:pt x="531" y="1472"/>
                </a:cubicBezTo>
                <a:cubicBezTo>
                  <a:pt x="528" y="1471"/>
                  <a:pt x="525" y="1469"/>
                  <a:pt x="522" y="1466"/>
                </a:cubicBezTo>
                <a:cubicBezTo>
                  <a:pt x="520" y="1463"/>
                  <a:pt x="518" y="1460"/>
                  <a:pt x="516" y="1457"/>
                </a:cubicBezTo>
                <a:cubicBezTo>
                  <a:pt x="515" y="1454"/>
                  <a:pt x="514" y="1450"/>
                  <a:pt x="515" y="1446"/>
                </a:cubicBezTo>
                <a:cubicBezTo>
                  <a:pt x="515" y="1443"/>
                  <a:pt x="516" y="1439"/>
                  <a:pt x="518" y="1435"/>
                </a:cubicBezTo>
                <a:cubicBezTo>
                  <a:pt x="520" y="1431"/>
                  <a:pt x="523" y="1427"/>
                  <a:pt x="527" y="1423"/>
                </a:cubicBezTo>
                <a:cubicBezTo>
                  <a:pt x="528" y="1421"/>
                  <a:pt x="530" y="1420"/>
                  <a:pt x="532" y="1418"/>
                </a:cubicBezTo>
                <a:cubicBezTo>
                  <a:pt x="534" y="1417"/>
                  <a:pt x="536" y="1416"/>
                  <a:pt x="538" y="1415"/>
                </a:cubicBezTo>
                <a:cubicBezTo>
                  <a:pt x="540" y="1414"/>
                  <a:pt x="541" y="1413"/>
                  <a:pt x="543" y="1412"/>
                </a:cubicBezTo>
                <a:cubicBezTo>
                  <a:pt x="544" y="1412"/>
                  <a:pt x="546" y="1412"/>
                  <a:pt x="546" y="1412"/>
                </a:cubicBezTo>
                <a:cubicBezTo>
                  <a:pt x="547" y="1411"/>
                  <a:pt x="548" y="1411"/>
                  <a:pt x="548" y="1412"/>
                </a:cubicBezTo>
                <a:cubicBezTo>
                  <a:pt x="549" y="1412"/>
                  <a:pt x="549" y="1412"/>
                  <a:pt x="550" y="1412"/>
                </a:cubicBezTo>
                <a:cubicBezTo>
                  <a:pt x="550" y="1412"/>
                  <a:pt x="551" y="1413"/>
                  <a:pt x="551" y="1413"/>
                </a:cubicBezTo>
                <a:cubicBezTo>
                  <a:pt x="552" y="1414"/>
                  <a:pt x="553" y="1414"/>
                  <a:pt x="553" y="1415"/>
                </a:cubicBezTo>
                <a:cubicBezTo>
                  <a:pt x="554" y="1416"/>
                  <a:pt x="555" y="1417"/>
                  <a:pt x="555" y="1417"/>
                </a:cubicBezTo>
                <a:cubicBezTo>
                  <a:pt x="556" y="1418"/>
                  <a:pt x="556" y="1419"/>
                  <a:pt x="557" y="1419"/>
                </a:cubicBezTo>
                <a:cubicBezTo>
                  <a:pt x="557" y="1420"/>
                  <a:pt x="557" y="1420"/>
                  <a:pt x="557" y="1421"/>
                </a:cubicBezTo>
                <a:cubicBezTo>
                  <a:pt x="557" y="1421"/>
                  <a:pt x="556" y="1421"/>
                  <a:pt x="556" y="1422"/>
                </a:cubicBezTo>
                <a:cubicBezTo>
                  <a:pt x="556" y="1422"/>
                  <a:pt x="555" y="1422"/>
                  <a:pt x="554" y="1423"/>
                </a:cubicBezTo>
                <a:cubicBezTo>
                  <a:pt x="552" y="1423"/>
                  <a:pt x="551" y="1424"/>
                  <a:pt x="549" y="1424"/>
                </a:cubicBezTo>
                <a:cubicBezTo>
                  <a:pt x="547" y="1425"/>
                  <a:pt x="545" y="1426"/>
                  <a:pt x="542" y="1427"/>
                </a:cubicBezTo>
                <a:cubicBezTo>
                  <a:pt x="540" y="1428"/>
                  <a:pt x="538" y="1430"/>
                  <a:pt x="536" y="1432"/>
                </a:cubicBezTo>
                <a:cubicBezTo>
                  <a:pt x="534" y="1434"/>
                  <a:pt x="532" y="1436"/>
                  <a:pt x="531" y="1438"/>
                </a:cubicBezTo>
                <a:cubicBezTo>
                  <a:pt x="530" y="1440"/>
                  <a:pt x="529" y="1442"/>
                  <a:pt x="529" y="1444"/>
                </a:cubicBezTo>
                <a:cubicBezTo>
                  <a:pt x="529" y="1446"/>
                  <a:pt x="529" y="1448"/>
                  <a:pt x="530" y="1449"/>
                </a:cubicBezTo>
                <a:cubicBezTo>
                  <a:pt x="531" y="1451"/>
                  <a:pt x="532" y="1452"/>
                  <a:pt x="533" y="1454"/>
                </a:cubicBezTo>
                <a:cubicBezTo>
                  <a:pt x="535" y="1456"/>
                  <a:pt x="537" y="1457"/>
                  <a:pt x="539" y="1457"/>
                </a:cubicBezTo>
                <a:cubicBezTo>
                  <a:pt x="541" y="1457"/>
                  <a:pt x="544" y="1457"/>
                  <a:pt x="546" y="1457"/>
                </a:cubicBezTo>
                <a:cubicBezTo>
                  <a:pt x="549" y="1456"/>
                  <a:pt x="551" y="1455"/>
                  <a:pt x="554" y="1454"/>
                </a:cubicBezTo>
                <a:cubicBezTo>
                  <a:pt x="557" y="1453"/>
                  <a:pt x="559" y="1452"/>
                  <a:pt x="562" y="1450"/>
                </a:cubicBezTo>
                <a:cubicBezTo>
                  <a:pt x="565" y="1449"/>
                  <a:pt x="568" y="1448"/>
                  <a:pt x="571" y="1447"/>
                </a:cubicBezTo>
                <a:cubicBezTo>
                  <a:pt x="574" y="1446"/>
                  <a:pt x="577" y="1445"/>
                  <a:pt x="580" y="1445"/>
                </a:cubicBezTo>
                <a:cubicBezTo>
                  <a:pt x="583" y="1445"/>
                  <a:pt x="586" y="1446"/>
                  <a:pt x="589" y="1447"/>
                </a:cubicBezTo>
                <a:cubicBezTo>
                  <a:pt x="592" y="1448"/>
                  <a:pt x="595" y="1450"/>
                  <a:pt x="597" y="1453"/>
                </a:cubicBezTo>
                <a:close/>
                <a:moveTo>
                  <a:pt x="654" y="1396"/>
                </a:moveTo>
                <a:cubicBezTo>
                  <a:pt x="657" y="1399"/>
                  <a:pt x="660" y="1403"/>
                  <a:pt x="661" y="1407"/>
                </a:cubicBezTo>
                <a:cubicBezTo>
                  <a:pt x="662" y="1411"/>
                  <a:pt x="663" y="1414"/>
                  <a:pt x="662" y="1418"/>
                </a:cubicBezTo>
                <a:cubicBezTo>
                  <a:pt x="662" y="1422"/>
                  <a:pt x="661" y="1427"/>
                  <a:pt x="658" y="1431"/>
                </a:cubicBezTo>
                <a:cubicBezTo>
                  <a:pt x="656" y="1435"/>
                  <a:pt x="653" y="1438"/>
                  <a:pt x="649" y="1442"/>
                </a:cubicBezTo>
                <a:cubicBezTo>
                  <a:pt x="647" y="1444"/>
                  <a:pt x="645" y="1446"/>
                  <a:pt x="642" y="1448"/>
                </a:cubicBezTo>
                <a:cubicBezTo>
                  <a:pt x="640" y="1450"/>
                  <a:pt x="638" y="1451"/>
                  <a:pt x="635" y="1452"/>
                </a:cubicBezTo>
                <a:cubicBezTo>
                  <a:pt x="633" y="1454"/>
                  <a:pt x="631" y="1454"/>
                  <a:pt x="629" y="1455"/>
                </a:cubicBezTo>
                <a:cubicBezTo>
                  <a:pt x="628" y="1455"/>
                  <a:pt x="626" y="1456"/>
                  <a:pt x="625" y="1456"/>
                </a:cubicBezTo>
                <a:cubicBezTo>
                  <a:pt x="624" y="1456"/>
                  <a:pt x="623" y="1456"/>
                  <a:pt x="622" y="1455"/>
                </a:cubicBezTo>
                <a:cubicBezTo>
                  <a:pt x="621" y="1454"/>
                  <a:pt x="620" y="1453"/>
                  <a:pt x="618" y="1452"/>
                </a:cubicBezTo>
                <a:cubicBezTo>
                  <a:pt x="617" y="1451"/>
                  <a:pt x="617" y="1450"/>
                  <a:pt x="616" y="1449"/>
                </a:cubicBezTo>
                <a:cubicBezTo>
                  <a:pt x="616" y="1449"/>
                  <a:pt x="615" y="1448"/>
                  <a:pt x="615" y="1447"/>
                </a:cubicBezTo>
                <a:cubicBezTo>
                  <a:pt x="615" y="1447"/>
                  <a:pt x="615" y="1446"/>
                  <a:pt x="615" y="1446"/>
                </a:cubicBezTo>
                <a:cubicBezTo>
                  <a:pt x="615" y="1446"/>
                  <a:pt x="615" y="1445"/>
                  <a:pt x="615" y="1445"/>
                </a:cubicBezTo>
                <a:cubicBezTo>
                  <a:pt x="616" y="1444"/>
                  <a:pt x="617" y="1444"/>
                  <a:pt x="619" y="1444"/>
                </a:cubicBezTo>
                <a:cubicBezTo>
                  <a:pt x="620" y="1443"/>
                  <a:pt x="622" y="1443"/>
                  <a:pt x="625" y="1442"/>
                </a:cubicBezTo>
                <a:cubicBezTo>
                  <a:pt x="627" y="1441"/>
                  <a:pt x="629" y="1440"/>
                  <a:pt x="632" y="1439"/>
                </a:cubicBezTo>
                <a:cubicBezTo>
                  <a:pt x="635" y="1437"/>
                  <a:pt x="637" y="1435"/>
                  <a:pt x="640" y="1432"/>
                </a:cubicBezTo>
                <a:cubicBezTo>
                  <a:pt x="642" y="1430"/>
                  <a:pt x="644" y="1428"/>
                  <a:pt x="645" y="1426"/>
                </a:cubicBezTo>
                <a:cubicBezTo>
                  <a:pt x="646" y="1424"/>
                  <a:pt x="647" y="1422"/>
                  <a:pt x="647" y="1420"/>
                </a:cubicBezTo>
                <a:cubicBezTo>
                  <a:pt x="648" y="1418"/>
                  <a:pt x="648" y="1416"/>
                  <a:pt x="647" y="1414"/>
                </a:cubicBezTo>
                <a:cubicBezTo>
                  <a:pt x="646" y="1412"/>
                  <a:pt x="645" y="1410"/>
                  <a:pt x="643" y="1409"/>
                </a:cubicBezTo>
                <a:cubicBezTo>
                  <a:pt x="641" y="1407"/>
                  <a:pt x="639" y="1406"/>
                  <a:pt x="637" y="1406"/>
                </a:cubicBezTo>
                <a:cubicBezTo>
                  <a:pt x="635" y="1405"/>
                  <a:pt x="633" y="1405"/>
                  <a:pt x="630" y="1406"/>
                </a:cubicBezTo>
                <a:cubicBezTo>
                  <a:pt x="628" y="1406"/>
                  <a:pt x="625" y="1407"/>
                  <a:pt x="623" y="1409"/>
                </a:cubicBezTo>
                <a:cubicBezTo>
                  <a:pt x="620" y="1410"/>
                  <a:pt x="617" y="1411"/>
                  <a:pt x="614" y="1412"/>
                </a:cubicBezTo>
                <a:cubicBezTo>
                  <a:pt x="611" y="1413"/>
                  <a:pt x="609" y="1414"/>
                  <a:pt x="606" y="1415"/>
                </a:cubicBezTo>
                <a:cubicBezTo>
                  <a:pt x="603" y="1416"/>
                  <a:pt x="600" y="1417"/>
                  <a:pt x="597" y="1417"/>
                </a:cubicBezTo>
                <a:cubicBezTo>
                  <a:pt x="594" y="1417"/>
                  <a:pt x="591" y="1416"/>
                  <a:pt x="588" y="1415"/>
                </a:cubicBezTo>
                <a:cubicBezTo>
                  <a:pt x="585" y="1414"/>
                  <a:pt x="582" y="1412"/>
                  <a:pt x="579" y="1409"/>
                </a:cubicBezTo>
                <a:cubicBezTo>
                  <a:pt x="576" y="1407"/>
                  <a:pt x="574" y="1404"/>
                  <a:pt x="573" y="1400"/>
                </a:cubicBezTo>
                <a:cubicBezTo>
                  <a:pt x="572" y="1397"/>
                  <a:pt x="571" y="1394"/>
                  <a:pt x="571" y="1390"/>
                </a:cubicBezTo>
                <a:cubicBezTo>
                  <a:pt x="571" y="1386"/>
                  <a:pt x="573" y="1382"/>
                  <a:pt x="574" y="1378"/>
                </a:cubicBezTo>
                <a:cubicBezTo>
                  <a:pt x="576" y="1374"/>
                  <a:pt x="579" y="1370"/>
                  <a:pt x="583" y="1366"/>
                </a:cubicBezTo>
                <a:cubicBezTo>
                  <a:pt x="585" y="1365"/>
                  <a:pt x="587" y="1363"/>
                  <a:pt x="589" y="1362"/>
                </a:cubicBezTo>
                <a:cubicBezTo>
                  <a:pt x="591" y="1360"/>
                  <a:pt x="593" y="1359"/>
                  <a:pt x="595" y="1358"/>
                </a:cubicBezTo>
                <a:cubicBezTo>
                  <a:pt x="596" y="1357"/>
                  <a:pt x="598" y="1356"/>
                  <a:pt x="599" y="1356"/>
                </a:cubicBezTo>
                <a:cubicBezTo>
                  <a:pt x="601" y="1355"/>
                  <a:pt x="602" y="1355"/>
                  <a:pt x="603" y="1355"/>
                </a:cubicBezTo>
                <a:cubicBezTo>
                  <a:pt x="604" y="1355"/>
                  <a:pt x="605" y="1355"/>
                  <a:pt x="605" y="1355"/>
                </a:cubicBezTo>
                <a:cubicBezTo>
                  <a:pt x="605" y="1355"/>
                  <a:pt x="606" y="1355"/>
                  <a:pt x="606" y="1356"/>
                </a:cubicBezTo>
                <a:cubicBezTo>
                  <a:pt x="607" y="1356"/>
                  <a:pt x="607" y="1356"/>
                  <a:pt x="608" y="1357"/>
                </a:cubicBezTo>
                <a:cubicBezTo>
                  <a:pt x="608" y="1357"/>
                  <a:pt x="609" y="1358"/>
                  <a:pt x="610" y="1359"/>
                </a:cubicBezTo>
                <a:cubicBezTo>
                  <a:pt x="611" y="1359"/>
                  <a:pt x="611" y="1360"/>
                  <a:pt x="612" y="1361"/>
                </a:cubicBezTo>
                <a:cubicBezTo>
                  <a:pt x="612" y="1361"/>
                  <a:pt x="613" y="1362"/>
                  <a:pt x="613" y="1363"/>
                </a:cubicBezTo>
                <a:cubicBezTo>
                  <a:pt x="613" y="1363"/>
                  <a:pt x="613" y="1364"/>
                  <a:pt x="613" y="1364"/>
                </a:cubicBezTo>
                <a:cubicBezTo>
                  <a:pt x="613" y="1364"/>
                  <a:pt x="613" y="1365"/>
                  <a:pt x="613" y="1365"/>
                </a:cubicBezTo>
                <a:cubicBezTo>
                  <a:pt x="612" y="1366"/>
                  <a:pt x="611" y="1366"/>
                  <a:pt x="610" y="1366"/>
                </a:cubicBezTo>
                <a:cubicBezTo>
                  <a:pt x="609" y="1366"/>
                  <a:pt x="607" y="1367"/>
                  <a:pt x="605" y="1368"/>
                </a:cubicBezTo>
                <a:cubicBezTo>
                  <a:pt x="603" y="1368"/>
                  <a:pt x="601" y="1369"/>
                  <a:pt x="599" y="1371"/>
                </a:cubicBezTo>
                <a:cubicBezTo>
                  <a:pt x="597" y="1372"/>
                  <a:pt x="594" y="1373"/>
                  <a:pt x="592" y="1376"/>
                </a:cubicBezTo>
                <a:cubicBezTo>
                  <a:pt x="590" y="1378"/>
                  <a:pt x="589" y="1380"/>
                  <a:pt x="588" y="1382"/>
                </a:cubicBezTo>
                <a:cubicBezTo>
                  <a:pt x="586" y="1384"/>
                  <a:pt x="586" y="1386"/>
                  <a:pt x="586" y="1387"/>
                </a:cubicBezTo>
                <a:cubicBezTo>
                  <a:pt x="586" y="1389"/>
                  <a:pt x="586" y="1391"/>
                  <a:pt x="586" y="1393"/>
                </a:cubicBezTo>
                <a:cubicBezTo>
                  <a:pt x="587" y="1394"/>
                  <a:pt x="588" y="1396"/>
                  <a:pt x="589" y="1397"/>
                </a:cubicBezTo>
                <a:cubicBezTo>
                  <a:pt x="591" y="1399"/>
                  <a:pt x="593" y="1400"/>
                  <a:pt x="596" y="1400"/>
                </a:cubicBezTo>
                <a:cubicBezTo>
                  <a:pt x="598" y="1401"/>
                  <a:pt x="600" y="1401"/>
                  <a:pt x="603" y="1400"/>
                </a:cubicBezTo>
                <a:cubicBezTo>
                  <a:pt x="605" y="1399"/>
                  <a:pt x="608" y="1399"/>
                  <a:pt x="611" y="1397"/>
                </a:cubicBezTo>
                <a:cubicBezTo>
                  <a:pt x="613" y="1396"/>
                  <a:pt x="616" y="1395"/>
                  <a:pt x="619" y="1394"/>
                </a:cubicBezTo>
                <a:cubicBezTo>
                  <a:pt x="622" y="1393"/>
                  <a:pt x="625" y="1391"/>
                  <a:pt x="628" y="1390"/>
                </a:cubicBezTo>
                <a:cubicBezTo>
                  <a:pt x="631" y="1389"/>
                  <a:pt x="634" y="1389"/>
                  <a:pt x="637" y="1389"/>
                </a:cubicBezTo>
                <a:cubicBezTo>
                  <a:pt x="640" y="1389"/>
                  <a:pt x="643" y="1389"/>
                  <a:pt x="645" y="1390"/>
                </a:cubicBezTo>
                <a:cubicBezTo>
                  <a:pt x="648" y="1391"/>
                  <a:pt x="651" y="1393"/>
                  <a:pt x="654" y="1396"/>
                </a:cubicBezTo>
                <a:close/>
                <a:moveTo>
                  <a:pt x="699" y="1386"/>
                </a:moveTo>
                <a:cubicBezTo>
                  <a:pt x="700" y="1386"/>
                  <a:pt x="700" y="1387"/>
                  <a:pt x="700" y="1387"/>
                </a:cubicBezTo>
                <a:cubicBezTo>
                  <a:pt x="700" y="1388"/>
                  <a:pt x="700" y="1388"/>
                  <a:pt x="700" y="1389"/>
                </a:cubicBezTo>
                <a:cubicBezTo>
                  <a:pt x="700" y="1389"/>
                  <a:pt x="699" y="1390"/>
                  <a:pt x="699" y="1391"/>
                </a:cubicBezTo>
                <a:cubicBezTo>
                  <a:pt x="698" y="1392"/>
                  <a:pt x="697" y="1393"/>
                  <a:pt x="696" y="1394"/>
                </a:cubicBezTo>
                <a:cubicBezTo>
                  <a:pt x="695" y="1395"/>
                  <a:pt x="694" y="1396"/>
                  <a:pt x="693" y="1397"/>
                </a:cubicBezTo>
                <a:cubicBezTo>
                  <a:pt x="692" y="1397"/>
                  <a:pt x="691" y="1398"/>
                  <a:pt x="690" y="1398"/>
                </a:cubicBezTo>
                <a:cubicBezTo>
                  <a:pt x="690" y="1398"/>
                  <a:pt x="689" y="1398"/>
                  <a:pt x="689" y="1398"/>
                </a:cubicBezTo>
                <a:cubicBezTo>
                  <a:pt x="688" y="1398"/>
                  <a:pt x="688" y="1398"/>
                  <a:pt x="688" y="1398"/>
                </a:cubicBezTo>
                <a:lnTo>
                  <a:pt x="623" y="1333"/>
                </a:lnTo>
                <a:cubicBezTo>
                  <a:pt x="623" y="1333"/>
                  <a:pt x="622" y="1332"/>
                  <a:pt x="622" y="1332"/>
                </a:cubicBezTo>
                <a:cubicBezTo>
                  <a:pt x="622" y="1331"/>
                  <a:pt x="622" y="1331"/>
                  <a:pt x="623" y="1330"/>
                </a:cubicBezTo>
                <a:cubicBezTo>
                  <a:pt x="623" y="1330"/>
                  <a:pt x="623" y="1329"/>
                  <a:pt x="624" y="1328"/>
                </a:cubicBezTo>
                <a:cubicBezTo>
                  <a:pt x="625" y="1327"/>
                  <a:pt x="626" y="1326"/>
                  <a:pt x="627" y="1325"/>
                </a:cubicBezTo>
                <a:cubicBezTo>
                  <a:pt x="628" y="1324"/>
                  <a:pt x="629" y="1323"/>
                  <a:pt x="630" y="1322"/>
                </a:cubicBezTo>
                <a:cubicBezTo>
                  <a:pt x="631" y="1321"/>
                  <a:pt x="631" y="1321"/>
                  <a:pt x="632" y="1321"/>
                </a:cubicBezTo>
                <a:cubicBezTo>
                  <a:pt x="633" y="1321"/>
                  <a:pt x="633" y="1320"/>
                  <a:pt x="634" y="1321"/>
                </a:cubicBezTo>
                <a:cubicBezTo>
                  <a:pt x="634" y="1321"/>
                  <a:pt x="635" y="1321"/>
                  <a:pt x="635" y="1321"/>
                </a:cubicBezTo>
                <a:lnTo>
                  <a:pt x="699" y="1386"/>
                </a:lnTo>
                <a:close/>
                <a:moveTo>
                  <a:pt x="614" y="1298"/>
                </a:moveTo>
                <a:cubicBezTo>
                  <a:pt x="617" y="1301"/>
                  <a:pt x="619" y="1303"/>
                  <a:pt x="618" y="1305"/>
                </a:cubicBezTo>
                <a:cubicBezTo>
                  <a:pt x="618" y="1307"/>
                  <a:pt x="617" y="1310"/>
                  <a:pt x="614" y="1313"/>
                </a:cubicBezTo>
                <a:cubicBezTo>
                  <a:pt x="611" y="1315"/>
                  <a:pt x="609" y="1317"/>
                  <a:pt x="607" y="1317"/>
                </a:cubicBezTo>
                <a:cubicBezTo>
                  <a:pt x="605" y="1317"/>
                  <a:pt x="603" y="1316"/>
                  <a:pt x="600" y="1313"/>
                </a:cubicBezTo>
                <a:cubicBezTo>
                  <a:pt x="597" y="1310"/>
                  <a:pt x="596" y="1308"/>
                  <a:pt x="596" y="1306"/>
                </a:cubicBezTo>
                <a:cubicBezTo>
                  <a:pt x="596" y="1303"/>
                  <a:pt x="597" y="1301"/>
                  <a:pt x="600" y="1298"/>
                </a:cubicBezTo>
                <a:cubicBezTo>
                  <a:pt x="603" y="1295"/>
                  <a:pt x="605" y="1294"/>
                  <a:pt x="607" y="1294"/>
                </a:cubicBezTo>
                <a:cubicBezTo>
                  <a:pt x="609" y="1294"/>
                  <a:pt x="612" y="1295"/>
                  <a:pt x="614" y="1298"/>
                </a:cubicBezTo>
                <a:close/>
                <a:moveTo>
                  <a:pt x="749" y="1271"/>
                </a:moveTo>
                <a:cubicBezTo>
                  <a:pt x="754" y="1276"/>
                  <a:pt x="758" y="1281"/>
                  <a:pt x="761" y="1287"/>
                </a:cubicBezTo>
                <a:cubicBezTo>
                  <a:pt x="764" y="1293"/>
                  <a:pt x="766" y="1299"/>
                  <a:pt x="766" y="1305"/>
                </a:cubicBezTo>
                <a:cubicBezTo>
                  <a:pt x="767" y="1311"/>
                  <a:pt x="766" y="1317"/>
                  <a:pt x="764" y="1323"/>
                </a:cubicBezTo>
                <a:cubicBezTo>
                  <a:pt x="761" y="1329"/>
                  <a:pt x="757" y="1334"/>
                  <a:pt x="752" y="1340"/>
                </a:cubicBezTo>
                <a:cubicBezTo>
                  <a:pt x="746" y="1345"/>
                  <a:pt x="741" y="1349"/>
                  <a:pt x="736" y="1351"/>
                </a:cubicBezTo>
                <a:cubicBezTo>
                  <a:pt x="730" y="1354"/>
                  <a:pt x="724" y="1355"/>
                  <a:pt x="719" y="1354"/>
                </a:cubicBezTo>
                <a:cubicBezTo>
                  <a:pt x="713" y="1354"/>
                  <a:pt x="707" y="1352"/>
                  <a:pt x="702" y="1349"/>
                </a:cubicBezTo>
                <a:cubicBezTo>
                  <a:pt x="696" y="1346"/>
                  <a:pt x="691" y="1342"/>
                  <a:pt x="685" y="1337"/>
                </a:cubicBezTo>
                <a:cubicBezTo>
                  <a:pt x="680" y="1331"/>
                  <a:pt x="676" y="1326"/>
                  <a:pt x="673" y="1320"/>
                </a:cubicBezTo>
                <a:cubicBezTo>
                  <a:pt x="670" y="1314"/>
                  <a:pt x="668" y="1308"/>
                  <a:pt x="668" y="1302"/>
                </a:cubicBezTo>
                <a:cubicBezTo>
                  <a:pt x="667" y="1296"/>
                  <a:pt x="668" y="1290"/>
                  <a:pt x="670" y="1285"/>
                </a:cubicBezTo>
                <a:cubicBezTo>
                  <a:pt x="673" y="1279"/>
                  <a:pt x="677" y="1273"/>
                  <a:pt x="682" y="1267"/>
                </a:cubicBezTo>
                <a:cubicBezTo>
                  <a:pt x="687" y="1262"/>
                  <a:pt x="693" y="1258"/>
                  <a:pt x="698" y="1256"/>
                </a:cubicBezTo>
                <a:cubicBezTo>
                  <a:pt x="704" y="1254"/>
                  <a:pt x="710" y="1253"/>
                  <a:pt x="715" y="1253"/>
                </a:cubicBezTo>
                <a:cubicBezTo>
                  <a:pt x="721" y="1253"/>
                  <a:pt x="726" y="1255"/>
                  <a:pt x="732" y="1258"/>
                </a:cubicBezTo>
                <a:cubicBezTo>
                  <a:pt x="738" y="1261"/>
                  <a:pt x="743" y="1265"/>
                  <a:pt x="749" y="1271"/>
                </a:cubicBezTo>
                <a:close/>
                <a:moveTo>
                  <a:pt x="737" y="1284"/>
                </a:moveTo>
                <a:cubicBezTo>
                  <a:pt x="734" y="1280"/>
                  <a:pt x="730" y="1277"/>
                  <a:pt x="726" y="1275"/>
                </a:cubicBezTo>
                <a:cubicBezTo>
                  <a:pt x="722" y="1272"/>
                  <a:pt x="719" y="1271"/>
                  <a:pt x="715" y="1270"/>
                </a:cubicBezTo>
                <a:cubicBezTo>
                  <a:pt x="711" y="1269"/>
                  <a:pt x="707" y="1269"/>
                  <a:pt x="703" y="1270"/>
                </a:cubicBezTo>
                <a:cubicBezTo>
                  <a:pt x="699" y="1271"/>
                  <a:pt x="695" y="1274"/>
                  <a:pt x="692" y="1278"/>
                </a:cubicBezTo>
                <a:cubicBezTo>
                  <a:pt x="688" y="1281"/>
                  <a:pt x="686" y="1285"/>
                  <a:pt x="684" y="1289"/>
                </a:cubicBezTo>
                <a:cubicBezTo>
                  <a:pt x="683" y="1293"/>
                  <a:pt x="683" y="1296"/>
                  <a:pt x="683" y="1300"/>
                </a:cubicBezTo>
                <a:cubicBezTo>
                  <a:pt x="684" y="1304"/>
                  <a:pt x="685" y="1308"/>
                  <a:pt x="688" y="1312"/>
                </a:cubicBezTo>
                <a:cubicBezTo>
                  <a:pt x="690" y="1316"/>
                  <a:pt x="693" y="1320"/>
                  <a:pt x="697" y="1323"/>
                </a:cubicBezTo>
                <a:cubicBezTo>
                  <a:pt x="700" y="1327"/>
                  <a:pt x="704" y="1330"/>
                  <a:pt x="708" y="1332"/>
                </a:cubicBezTo>
                <a:cubicBezTo>
                  <a:pt x="712" y="1335"/>
                  <a:pt x="715" y="1337"/>
                  <a:pt x="719" y="1337"/>
                </a:cubicBezTo>
                <a:cubicBezTo>
                  <a:pt x="723" y="1338"/>
                  <a:pt x="727" y="1338"/>
                  <a:pt x="731" y="1337"/>
                </a:cubicBezTo>
                <a:cubicBezTo>
                  <a:pt x="735" y="1336"/>
                  <a:pt x="739" y="1333"/>
                  <a:pt x="742" y="1329"/>
                </a:cubicBezTo>
                <a:cubicBezTo>
                  <a:pt x="746" y="1326"/>
                  <a:pt x="748" y="1322"/>
                  <a:pt x="750" y="1318"/>
                </a:cubicBezTo>
                <a:cubicBezTo>
                  <a:pt x="751" y="1314"/>
                  <a:pt x="751" y="1311"/>
                  <a:pt x="751" y="1307"/>
                </a:cubicBezTo>
                <a:cubicBezTo>
                  <a:pt x="750" y="1303"/>
                  <a:pt x="749" y="1299"/>
                  <a:pt x="746" y="1295"/>
                </a:cubicBezTo>
                <a:cubicBezTo>
                  <a:pt x="744" y="1291"/>
                  <a:pt x="741" y="1287"/>
                  <a:pt x="737" y="1284"/>
                </a:cubicBezTo>
                <a:close/>
                <a:moveTo>
                  <a:pt x="856" y="1229"/>
                </a:moveTo>
                <a:cubicBezTo>
                  <a:pt x="857" y="1229"/>
                  <a:pt x="857" y="1230"/>
                  <a:pt x="857" y="1230"/>
                </a:cubicBezTo>
                <a:cubicBezTo>
                  <a:pt x="857" y="1231"/>
                  <a:pt x="857" y="1231"/>
                  <a:pt x="857" y="1232"/>
                </a:cubicBezTo>
                <a:cubicBezTo>
                  <a:pt x="857" y="1232"/>
                  <a:pt x="856" y="1233"/>
                  <a:pt x="855" y="1234"/>
                </a:cubicBezTo>
                <a:cubicBezTo>
                  <a:pt x="855" y="1235"/>
                  <a:pt x="854" y="1236"/>
                  <a:pt x="853" y="1237"/>
                </a:cubicBezTo>
                <a:cubicBezTo>
                  <a:pt x="852" y="1238"/>
                  <a:pt x="851" y="1239"/>
                  <a:pt x="850" y="1240"/>
                </a:cubicBezTo>
                <a:cubicBezTo>
                  <a:pt x="849" y="1240"/>
                  <a:pt x="848" y="1241"/>
                  <a:pt x="847" y="1241"/>
                </a:cubicBezTo>
                <a:cubicBezTo>
                  <a:pt x="847" y="1241"/>
                  <a:pt x="846" y="1241"/>
                  <a:pt x="846" y="1241"/>
                </a:cubicBezTo>
                <a:cubicBezTo>
                  <a:pt x="845" y="1241"/>
                  <a:pt x="845" y="1241"/>
                  <a:pt x="845" y="1241"/>
                </a:cubicBezTo>
                <a:lnTo>
                  <a:pt x="807" y="1203"/>
                </a:lnTo>
                <a:cubicBezTo>
                  <a:pt x="803" y="1199"/>
                  <a:pt x="800" y="1197"/>
                  <a:pt x="797" y="1195"/>
                </a:cubicBezTo>
                <a:cubicBezTo>
                  <a:pt x="794" y="1193"/>
                  <a:pt x="791" y="1192"/>
                  <a:pt x="789" y="1192"/>
                </a:cubicBezTo>
                <a:cubicBezTo>
                  <a:pt x="786" y="1191"/>
                  <a:pt x="783" y="1191"/>
                  <a:pt x="781" y="1192"/>
                </a:cubicBezTo>
                <a:cubicBezTo>
                  <a:pt x="778" y="1193"/>
                  <a:pt x="776" y="1195"/>
                  <a:pt x="773" y="1197"/>
                </a:cubicBezTo>
                <a:cubicBezTo>
                  <a:pt x="770" y="1200"/>
                  <a:pt x="768" y="1204"/>
                  <a:pt x="768" y="1209"/>
                </a:cubicBezTo>
                <a:cubicBezTo>
                  <a:pt x="767" y="1214"/>
                  <a:pt x="767" y="1220"/>
                  <a:pt x="767" y="1228"/>
                </a:cubicBezTo>
                <a:lnTo>
                  <a:pt x="813" y="1273"/>
                </a:lnTo>
                <a:cubicBezTo>
                  <a:pt x="813" y="1273"/>
                  <a:pt x="813" y="1273"/>
                  <a:pt x="813" y="1274"/>
                </a:cubicBezTo>
                <a:cubicBezTo>
                  <a:pt x="813" y="1274"/>
                  <a:pt x="813" y="1275"/>
                  <a:pt x="813" y="1276"/>
                </a:cubicBezTo>
                <a:cubicBezTo>
                  <a:pt x="813" y="1276"/>
                  <a:pt x="812" y="1277"/>
                  <a:pt x="812" y="1278"/>
                </a:cubicBezTo>
                <a:cubicBezTo>
                  <a:pt x="811" y="1279"/>
                  <a:pt x="810" y="1280"/>
                  <a:pt x="809" y="1281"/>
                </a:cubicBezTo>
                <a:cubicBezTo>
                  <a:pt x="808" y="1282"/>
                  <a:pt x="807" y="1283"/>
                  <a:pt x="806" y="1284"/>
                </a:cubicBezTo>
                <a:cubicBezTo>
                  <a:pt x="805" y="1284"/>
                  <a:pt x="804" y="1285"/>
                  <a:pt x="804" y="1285"/>
                </a:cubicBezTo>
                <a:cubicBezTo>
                  <a:pt x="803" y="1285"/>
                  <a:pt x="802" y="1285"/>
                  <a:pt x="802" y="1285"/>
                </a:cubicBezTo>
                <a:cubicBezTo>
                  <a:pt x="802" y="1285"/>
                  <a:pt x="801" y="1285"/>
                  <a:pt x="801" y="1285"/>
                </a:cubicBezTo>
                <a:lnTo>
                  <a:pt x="736" y="1220"/>
                </a:lnTo>
                <a:cubicBezTo>
                  <a:pt x="736" y="1220"/>
                  <a:pt x="735" y="1219"/>
                  <a:pt x="735" y="1219"/>
                </a:cubicBezTo>
                <a:cubicBezTo>
                  <a:pt x="735" y="1218"/>
                  <a:pt x="735" y="1218"/>
                  <a:pt x="736" y="1217"/>
                </a:cubicBezTo>
                <a:cubicBezTo>
                  <a:pt x="736" y="1216"/>
                  <a:pt x="736" y="1216"/>
                  <a:pt x="737" y="1215"/>
                </a:cubicBezTo>
                <a:cubicBezTo>
                  <a:pt x="737" y="1214"/>
                  <a:pt x="738" y="1213"/>
                  <a:pt x="739" y="1212"/>
                </a:cubicBezTo>
                <a:cubicBezTo>
                  <a:pt x="740" y="1211"/>
                  <a:pt x="741" y="1210"/>
                  <a:pt x="742" y="1210"/>
                </a:cubicBezTo>
                <a:cubicBezTo>
                  <a:pt x="743" y="1209"/>
                  <a:pt x="743" y="1209"/>
                  <a:pt x="744" y="1209"/>
                </a:cubicBezTo>
                <a:cubicBezTo>
                  <a:pt x="745" y="1208"/>
                  <a:pt x="745" y="1208"/>
                  <a:pt x="746" y="1208"/>
                </a:cubicBezTo>
                <a:cubicBezTo>
                  <a:pt x="746" y="1209"/>
                  <a:pt x="746" y="1209"/>
                  <a:pt x="747" y="1209"/>
                </a:cubicBezTo>
                <a:lnTo>
                  <a:pt x="755" y="1218"/>
                </a:lnTo>
                <a:cubicBezTo>
                  <a:pt x="755" y="1210"/>
                  <a:pt x="756" y="1203"/>
                  <a:pt x="757" y="1198"/>
                </a:cubicBezTo>
                <a:cubicBezTo>
                  <a:pt x="759" y="1192"/>
                  <a:pt x="762" y="1188"/>
                  <a:pt x="765" y="1184"/>
                </a:cubicBezTo>
                <a:cubicBezTo>
                  <a:pt x="770" y="1180"/>
                  <a:pt x="774" y="1177"/>
                  <a:pt x="779" y="1175"/>
                </a:cubicBezTo>
                <a:cubicBezTo>
                  <a:pt x="783" y="1174"/>
                  <a:pt x="787" y="1174"/>
                  <a:pt x="792" y="1174"/>
                </a:cubicBezTo>
                <a:cubicBezTo>
                  <a:pt x="796" y="1175"/>
                  <a:pt x="800" y="1176"/>
                  <a:pt x="804" y="1179"/>
                </a:cubicBezTo>
                <a:cubicBezTo>
                  <a:pt x="808" y="1181"/>
                  <a:pt x="812" y="1185"/>
                  <a:pt x="817" y="1189"/>
                </a:cubicBezTo>
                <a:lnTo>
                  <a:pt x="856" y="1229"/>
                </a:lnTo>
                <a:close/>
                <a:moveTo>
                  <a:pt x="977" y="1085"/>
                </a:moveTo>
                <a:cubicBezTo>
                  <a:pt x="978" y="1086"/>
                  <a:pt x="979" y="1087"/>
                  <a:pt x="979" y="1087"/>
                </a:cubicBezTo>
                <a:cubicBezTo>
                  <a:pt x="980" y="1088"/>
                  <a:pt x="980" y="1089"/>
                  <a:pt x="980" y="1089"/>
                </a:cubicBezTo>
                <a:cubicBezTo>
                  <a:pt x="981" y="1090"/>
                  <a:pt x="981" y="1090"/>
                  <a:pt x="981" y="1091"/>
                </a:cubicBezTo>
                <a:cubicBezTo>
                  <a:pt x="981" y="1091"/>
                  <a:pt x="981" y="1092"/>
                  <a:pt x="981" y="1093"/>
                </a:cubicBezTo>
                <a:cubicBezTo>
                  <a:pt x="981" y="1094"/>
                  <a:pt x="981" y="1096"/>
                  <a:pt x="981" y="1098"/>
                </a:cubicBezTo>
                <a:cubicBezTo>
                  <a:pt x="980" y="1101"/>
                  <a:pt x="979" y="1104"/>
                  <a:pt x="978" y="1107"/>
                </a:cubicBezTo>
                <a:cubicBezTo>
                  <a:pt x="976" y="1110"/>
                  <a:pt x="975" y="1113"/>
                  <a:pt x="972" y="1117"/>
                </a:cubicBezTo>
                <a:cubicBezTo>
                  <a:pt x="970" y="1121"/>
                  <a:pt x="967" y="1124"/>
                  <a:pt x="964" y="1128"/>
                </a:cubicBezTo>
                <a:cubicBezTo>
                  <a:pt x="958" y="1134"/>
                  <a:pt x="951" y="1138"/>
                  <a:pt x="944" y="1141"/>
                </a:cubicBezTo>
                <a:cubicBezTo>
                  <a:pt x="937" y="1144"/>
                  <a:pt x="930" y="1145"/>
                  <a:pt x="923" y="1144"/>
                </a:cubicBezTo>
                <a:cubicBezTo>
                  <a:pt x="916" y="1144"/>
                  <a:pt x="908" y="1142"/>
                  <a:pt x="900" y="1138"/>
                </a:cubicBezTo>
                <a:cubicBezTo>
                  <a:pt x="893" y="1134"/>
                  <a:pt x="885" y="1128"/>
                  <a:pt x="878" y="1121"/>
                </a:cubicBezTo>
                <a:cubicBezTo>
                  <a:pt x="870" y="1113"/>
                  <a:pt x="864" y="1105"/>
                  <a:pt x="860" y="1097"/>
                </a:cubicBezTo>
                <a:cubicBezTo>
                  <a:pt x="856" y="1089"/>
                  <a:pt x="854" y="1081"/>
                  <a:pt x="853" y="1073"/>
                </a:cubicBezTo>
                <a:cubicBezTo>
                  <a:pt x="853" y="1066"/>
                  <a:pt x="854" y="1058"/>
                  <a:pt x="856" y="1051"/>
                </a:cubicBezTo>
                <a:cubicBezTo>
                  <a:pt x="859" y="1044"/>
                  <a:pt x="864" y="1037"/>
                  <a:pt x="870" y="1031"/>
                </a:cubicBezTo>
                <a:cubicBezTo>
                  <a:pt x="872" y="1028"/>
                  <a:pt x="875" y="1026"/>
                  <a:pt x="878" y="1024"/>
                </a:cubicBezTo>
                <a:cubicBezTo>
                  <a:pt x="881" y="1022"/>
                  <a:pt x="884" y="1020"/>
                  <a:pt x="887" y="1019"/>
                </a:cubicBezTo>
                <a:cubicBezTo>
                  <a:pt x="890" y="1017"/>
                  <a:pt x="893" y="1016"/>
                  <a:pt x="896" y="1016"/>
                </a:cubicBezTo>
                <a:cubicBezTo>
                  <a:pt x="898" y="1015"/>
                  <a:pt x="900" y="1015"/>
                  <a:pt x="902" y="1015"/>
                </a:cubicBezTo>
                <a:cubicBezTo>
                  <a:pt x="903" y="1015"/>
                  <a:pt x="904" y="1015"/>
                  <a:pt x="904" y="1015"/>
                </a:cubicBezTo>
                <a:cubicBezTo>
                  <a:pt x="905" y="1015"/>
                  <a:pt x="905" y="1015"/>
                  <a:pt x="906" y="1016"/>
                </a:cubicBezTo>
                <a:cubicBezTo>
                  <a:pt x="907" y="1016"/>
                  <a:pt x="907" y="1016"/>
                  <a:pt x="908" y="1017"/>
                </a:cubicBezTo>
                <a:cubicBezTo>
                  <a:pt x="909" y="1017"/>
                  <a:pt x="909" y="1018"/>
                  <a:pt x="910" y="1019"/>
                </a:cubicBezTo>
                <a:cubicBezTo>
                  <a:pt x="911" y="1020"/>
                  <a:pt x="912" y="1021"/>
                  <a:pt x="913" y="1022"/>
                </a:cubicBezTo>
                <a:cubicBezTo>
                  <a:pt x="913" y="1022"/>
                  <a:pt x="914" y="1023"/>
                  <a:pt x="914" y="1024"/>
                </a:cubicBezTo>
                <a:cubicBezTo>
                  <a:pt x="914" y="1024"/>
                  <a:pt x="914" y="1025"/>
                  <a:pt x="914" y="1025"/>
                </a:cubicBezTo>
                <a:cubicBezTo>
                  <a:pt x="914" y="1026"/>
                  <a:pt x="914" y="1026"/>
                  <a:pt x="913" y="1027"/>
                </a:cubicBezTo>
                <a:cubicBezTo>
                  <a:pt x="913" y="1027"/>
                  <a:pt x="911" y="1028"/>
                  <a:pt x="909" y="1028"/>
                </a:cubicBezTo>
                <a:cubicBezTo>
                  <a:pt x="907" y="1028"/>
                  <a:pt x="905" y="1029"/>
                  <a:pt x="902" y="1030"/>
                </a:cubicBezTo>
                <a:cubicBezTo>
                  <a:pt x="899" y="1030"/>
                  <a:pt x="895" y="1032"/>
                  <a:pt x="892" y="1034"/>
                </a:cubicBezTo>
                <a:cubicBezTo>
                  <a:pt x="888" y="1035"/>
                  <a:pt x="884" y="1038"/>
                  <a:pt x="880" y="1042"/>
                </a:cubicBezTo>
                <a:cubicBezTo>
                  <a:pt x="876" y="1046"/>
                  <a:pt x="873" y="1051"/>
                  <a:pt x="872" y="1056"/>
                </a:cubicBezTo>
                <a:cubicBezTo>
                  <a:pt x="870" y="1061"/>
                  <a:pt x="869" y="1066"/>
                  <a:pt x="870" y="1072"/>
                </a:cubicBezTo>
                <a:cubicBezTo>
                  <a:pt x="871" y="1077"/>
                  <a:pt x="873" y="1083"/>
                  <a:pt x="876" y="1089"/>
                </a:cubicBezTo>
                <a:cubicBezTo>
                  <a:pt x="880" y="1095"/>
                  <a:pt x="884" y="1101"/>
                  <a:pt x="890" y="1107"/>
                </a:cubicBezTo>
                <a:cubicBezTo>
                  <a:pt x="896" y="1113"/>
                  <a:pt x="902" y="1117"/>
                  <a:pt x="908" y="1121"/>
                </a:cubicBezTo>
                <a:cubicBezTo>
                  <a:pt x="913" y="1124"/>
                  <a:pt x="919" y="1126"/>
                  <a:pt x="924" y="1126"/>
                </a:cubicBezTo>
                <a:cubicBezTo>
                  <a:pt x="930" y="1127"/>
                  <a:pt x="935" y="1126"/>
                  <a:pt x="940" y="1125"/>
                </a:cubicBezTo>
                <a:cubicBezTo>
                  <a:pt x="945" y="1123"/>
                  <a:pt x="950" y="1119"/>
                  <a:pt x="954" y="1115"/>
                </a:cubicBezTo>
                <a:cubicBezTo>
                  <a:pt x="958" y="1111"/>
                  <a:pt x="961" y="1108"/>
                  <a:pt x="963" y="1104"/>
                </a:cubicBezTo>
                <a:cubicBezTo>
                  <a:pt x="964" y="1100"/>
                  <a:pt x="966" y="1097"/>
                  <a:pt x="967" y="1094"/>
                </a:cubicBezTo>
                <a:cubicBezTo>
                  <a:pt x="967" y="1091"/>
                  <a:pt x="968" y="1088"/>
                  <a:pt x="968" y="1086"/>
                </a:cubicBezTo>
                <a:cubicBezTo>
                  <a:pt x="969" y="1084"/>
                  <a:pt x="969" y="1082"/>
                  <a:pt x="970" y="1082"/>
                </a:cubicBezTo>
                <a:cubicBezTo>
                  <a:pt x="970" y="1081"/>
                  <a:pt x="971" y="1081"/>
                  <a:pt x="971" y="1081"/>
                </a:cubicBezTo>
                <a:cubicBezTo>
                  <a:pt x="971" y="1081"/>
                  <a:pt x="972" y="1081"/>
                  <a:pt x="972" y="1081"/>
                </a:cubicBezTo>
                <a:cubicBezTo>
                  <a:pt x="973" y="1082"/>
                  <a:pt x="974" y="1082"/>
                  <a:pt x="974" y="1083"/>
                </a:cubicBezTo>
                <a:cubicBezTo>
                  <a:pt x="975" y="1083"/>
                  <a:pt x="976" y="1084"/>
                  <a:pt x="977" y="1085"/>
                </a:cubicBezTo>
                <a:close/>
                <a:moveTo>
                  <a:pt x="1031" y="988"/>
                </a:moveTo>
                <a:cubicBezTo>
                  <a:pt x="1037" y="993"/>
                  <a:pt x="1041" y="999"/>
                  <a:pt x="1044" y="1004"/>
                </a:cubicBezTo>
                <a:cubicBezTo>
                  <a:pt x="1047" y="1010"/>
                  <a:pt x="1049" y="1016"/>
                  <a:pt x="1049" y="1022"/>
                </a:cubicBezTo>
                <a:cubicBezTo>
                  <a:pt x="1050" y="1028"/>
                  <a:pt x="1049" y="1034"/>
                  <a:pt x="1046" y="1040"/>
                </a:cubicBezTo>
                <a:cubicBezTo>
                  <a:pt x="1044" y="1046"/>
                  <a:pt x="1040" y="1052"/>
                  <a:pt x="1035" y="1057"/>
                </a:cubicBezTo>
                <a:cubicBezTo>
                  <a:pt x="1029" y="1062"/>
                  <a:pt x="1024" y="1066"/>
                  <a:pt x="1018" y="1068"/>
                </a:cubicBezTo>
                <a:cubicBezTo>
                  <a:pt x="1013" y="1071"/>
                  <a:pt x="1007" y="1072"/>
                  <a:pt x="1002" y="1071"/>
                </a:cubicBezTo>
                <a:cubicBezTo>
                  <a:pt x="996" y="1071"/>
                  <a:pt x="990" y="1069"/>
                  <a:pt x="985" y="1066"/>
                </a:cubicBezTo>
                <a:cubicBezTo>
                  <a:pt x="979" y="1063"/>
                  <a:pt x="974" y="1059"/>
                  <a:pt x="968" y="1054"/>
                </a:cubicBezTo>
                <a:cubicBezTo>
                  <a:pt x="963" y="1048"/>
                  <a:pt x="959" y="1043"/>
                  <a:pt x="956" y="1037"/>
                </a:cubicBezTo>
                <a:cubicBezTo>
                  <a:pt x="953" y="1031"/>
                  <a:pt x="951" y="1025"/>
                  <a:pt x="950" y="1019"/>
                </a:cubicBezTo>
                <a:cubicBezTo>
                  <a:pt x="950" y="1013"/>
                  <a:pt x="951" y="1008"/>
                  <a:pt x="953" y="1002"/>
                </a:cubicBezTo>
                <a:cubicBezTo>
                  <a:pt x="956" y="996"/>
                  <a:pt x="959" y="990"/>
                  <a:pt x="965" y="985"/>
                </a:cubicBezTo>
                <a:cubicBezTo>
                  <a:pt x="970" y="979"/>
                  <a:pt x="976" y="975"/>
                  <a:pt x="981" y="973"/>
                </a:cubicBezTo>
                <a:cubicBezTo>
                  <a:pt x="987" y="971"/>
                  <a:pt x="992" y="970"/>
                  <a:pt x="998" y="970"/>
                </a:cubicBezTo>
                <a:cubicBezTo>
                  <a:pt x="1004" y="970"/>
                  <a:pt x="1009" y="972"/>
                  <a:pt x="1015" y="975"/>
                </a:cubicBezTo>
                <a:cubicBezTo>
                  <a:pt x="1021" y="978"/>
                  <a:pt x="1026" y="982"/>
                  <a:pt x="1031" y="988"/>
                </a:cubicBezTo>
                <a:close/>
                <a:moveTo>
                  <a:pt x="1020" y="1001"/>
                </a:moveTo>
                <a:cubicBezTo>
                  <a:pt x="1017" y="997"/>
                  <a:pt x="1013" y="994"/>
                  <a:pt x="1009" y="992"/>
                </a:cubicBezTo>
                <a:cubicBezTo>
                  <a:pt x="1005" y="989"/>
                  <a:pt x="1002" y="988"/>
                  <a:pt x="998" y="987"/>
                </a:cubicBezTo>
                <a:cubicBezTo>
                  <a:pt x="994" y="986"/>
                  <a:pt x="990" y="986"/>
                  <a:pt x="986" y="987"/>
                </a:cubicBezTo>
                <a:cubicBezTo>
                  <a:pt x="982" y="989"/>
                  <a:pt x="978" y="991"/>
                  <a:pt x="974" y="995"/>
                </a:cubicBezTo>
                <a:cubicBezTo>
                  <a:pt x="971" y="998"/>
                  <a:pt x="968" y="1002"/>
                  <a:pt x="967" y="1006"/>
                </a:cubicBezTo>
                <a:cubicBezTo>
                  <a:pt x="966" y="1010"/>
                  <a:pt x="966" y="1014"/>
                  <a:pt x="966" y="1017"/>
                </a:cubicBezTo>
                <a:cubicBezTo>
                  <a:pt x="967" y="1021"/>
                  <a:pt x="968" y="1025"/>
                  <a:pt x="971" y="1029"/>
                </a:cubicBezTo>
                <a:cubicBezTo>
                  <a:pt x="973" y="1033"/>
                  <a:pt x="976" y="1037"/>
                  <a:pt x="980" y="1041"/>
                </a:cubicBezTo>
                <a:cubicBezTo>
                  <a:pt x="983" y="1044"/>
                  <a:pt x="987" y="1047"/>
                  <a:pt x="991" y="1050"/>
                </a:cubicBezTo>
                <a:cubicBezTo>
                  <a:pt x="994" y="1052"/>
                  <a:pt x="998" y="1054"/>
                  <a:pt x="1002" y="1054"/>
                </a:cubicBezTo>
                <a:cubicBezTo>
                  <a:pt x="1006" y="1055"/>
                  <a:pt x="1010" y="1055"/>
                  <a:pt x="1014" y="1054"/>
                </a:cubicBezTo>
                <a:cubicBezTo>
                  <a:pt x="1018" y="1053"/>
                  <a:pt x="1021" y="1050"/>
                  <a:pt x="1025" y="1046"/>
                </a:cubicBezTo>
                <a:cubicBezTo>
                  <a:pt x="1029" y="1043"/>
                  <a:pt x="1031" y="1039"/>
                  <a:pt x="1032" y="1035"/>
                </a:cubicBezTo>
                <a:cubicBezTo>
                  <a:pt x="1034" y="1032"/>
                  <a:pt x="1034" y="1028"/>
                  <a:pt x="1034" y="1024"/>
                </a:cubicBezTo>
                <a:cubicBezTo>
                  <a:pt x="1033" y="1020"/>
                  <a:pt x="1031" y="1016"/>
                  <a:pt x="1029" y="1012"/>
                </a:cubicBezTo>
                <a:cubicBezTo>
                  <a:pt x="1027" y="1008"/>
                  <a:pt x="1024" y="1005"/>
                  <a:pt x="1020" y="1001"/>
                </a:cubicBezTo>
                <a:close/>
                <a:moveTo>
                  <a:pt x="1139" y="946"/>
                </a:moveTo>
                <a:cubicBezTo>
                  <a:pt x="1140" y="946"/>
                  <a:pt x="1140" y="947"/>
                  <a:pt x="1140" y="947"/>
                </a:cubicBezTo>
                <a:cubicBezTo>
                  <a:pt x="1140" y="948"/>
                  <a:pt x="1140" y="948"/>
                  <a:pt x="1140" y="949"/>
                </a:cubicBezTo>
                <a:cubicBezTo>
                  <a:pt x="1139" y="950"/>
                  <a:pt x="1139" y="950"/>
                  <a:pt x="1138" y="951"/>
                </a:cubicBezTo>
                <a:cubicBezTo>
                  <a:pt x="1138" y="952"/>
                  <a:pt x="1137" y="953"/>
                  <a:pt x="1136" y="954"/>
                </a:cubicBezTo>
                <a:cubicBezTo>
                  <a:pt x="1134" y="955"/>
                  <a:pt x="1133" y="956"/>
                  <a:pt x="1133" y="957"/>
                </a:cubicBezTo>
                <a:cubicBezTo>
                  <a:pt x="1132" y="958"/>
                  <a:pt x="1131" y="958"/>
                  <a:pt x="1130" y="958"/>
                </a:cubicBezTo>
                <a:cubicBezTo>
                  <a:pt x="1130" y="959"/>
                  <a:pt x="1129" y="959"/>
                  <a:pt x="1129" y="959"/>
                </a:cubicBezTo>
                <a:cubicBezTo>
                  <a:pt x="1128" y="958"/>
                  <a:pt x="1128" y="958"/>
                  <a:pt x="1127" y="958"/>
                </a:cubicBezTo>
                <a:lnTo>
                  <a:pt x="1090" y="920"/>
                </a:lnTo>
                <a:cubicBezTo>
                  <a:pt x="1086" y="916"/>
                  <a:pt x="1083" y="914"/>
                  <a:pt x="1080" y="912"/>
                </a:cubicBezTo>
                <a:cubicBezTo>
                  <a:pt x="1077" y="910"/>
                  <a:pt x="1074" y="909"/>
                  <a:pt x="1071" y="909"/>
                </a:cubicBezTo>
                <a:cubicBezTo>
                  <a:pt x="1069" y="908"/>
                  <a:pt x="1066" y="908"/>
                  <a:pt x="1063" y="909"/>
                </a:cubicBezTo>
                <a:cubicBezTo>
                  <a:pt x="1061" y="910"/>
                  <a:pt x="1058" y="912"/>
                  <a:pt x="1056" y="914"/>
                </a:cubicBezTo>
                <a:cubicBezTo>
                  <a:pt x="1053" y="917"/>
                  <a:pt x="1051" y="921"/>
                  <a:pt x="1050" y="926"/>
                </a:cubicBezTo>
                <a:cubicBezTo>
                  <a:pt x="1049" y="931"/>
                  <a:pt x="1049" y="937"/>
                  <a:pt x="1050" y="945"/>
                </a:cubicBezTo>
                <a:lnTo>
                  <a:pt x="1095" y="990"/>
                </a:lnTo>
                <a:cubicBezTo>
                  <a:pt x="1096" y="990"/>
                  <a:pt x="1096" y="991"/>
                  <a:pt x="1096" y="991"/>
                </a:cubicBezTo>
                <a:cubicBezTo>
                  <a:pt x="1096" y="992"/>
                  <a:pt x="1096" y="992"/>
                  <a:pt x="1096" y="993"/>
                </a:cubicBezTo>
                <a:cubicBezTo>
                  <a:pt x="1096" y="993"/>
                  <a:pt x="1095" y="994"/>
                  <a:pt x="1095" y="995"/>
                </a:cubicBezTo>
                <a:cubicBezTo>
                  <a:pt x="1094" y="996"/>
                  <a:pt x="1093" y="997"/>
                  <a:pt x="1092" y="998"/>
                </a:cubicBezTo>
                <a:cubicBezTo>
                  <a:pt x="1091" y="999"/>
                  <a:pt x="1090" y="1000"/>
                  <a:pt x="1089" y="1001"/>
                </a:cubicBezTo>
                <a:cubicBezTo>
                  <a:pt x="1088" y="1001"/>
                  <a:pt x="1087" y="1002"/>
                  <a:pt x="1086" y="1002"/>
                </a:cubicBezTo>
                <a:cubicBezTo>
                  <a:pt x="1086" y="1002"/>
                  <a:pt x="1085" y="1002"/>
                  <a:pt x="1085" y="1002"/>
                </a:cubicBezTo>
                <a:cubicBezTo>
                  <a:pt x="1084" y="1002"/>
                  <a:pt x="1084" y="1002"/>
                  <a:pt x="1084" y="1002"/>
                </a:cubicBezTo>
                <a:lnTo>
                  <a:pt x="1019" y="937"/>
                </a:lnTo>
                <a:cubicBezTo>
                  <a:pt x="1019" y="937"/>
                  <a:pt x="1018" y="936"/>
                  <a:pt x="1018" y="936"/>
                </a:cubicBezTo>
                <a:cubicBezTo>
                  <a:pt x="1018" y="935"/>
                  <a:pt x="1018" y="935"/>
                  <a:pt x="1018" y="934"/>
                </a:cubicBezTo>
                <a:cubicBezTo>
                  <a:pt x="1019" y="934"/>
                  <a:pt x="1019" y="933"/>
                  <a:pt x="1020" y="932"/>
                </a:cubicBezTo>
                <a:cubicBezTo>
                  <a:pt x="1020" y="931"/>
                  <a:pt x="1021" y="931"/>
                  <a:pt x="1022" y="929"/>
                </a:cubicBezTo>
                <a:cubicBezTo>
                  <a:pt x="1023" y="928"/>
                  <a:pt x="1024" y="928"/>
                  <a:pt x="1025" y="927"/>
                </a:cubicBezTo>
                <a:cubicBezTo>
                  <a:pt x="1026" y="926"/>
                  <a:pt x="1026" y="926"/>
                  <a:pt x="1027" y="926"/>
                </a:cubicBezTo>
                <a:cubicBezTo>
                  <a:pt x="1028" y="926"/>
                  <a:pt x="1028" y="926"/>
                  <a:pt x="1028" y="926"/>
                </a:cubicBezTo>
                <a:cubicBezTo>
                  <a:pt x="1029" y="926"/>
                  <a:pt x="1029" y="926"/>
                  <a:pt x="1030" y="926"/>
                </a:cubicBezTo>
                <a:lnTo>
                  <a:pt x="1038" y="935"/>
                </a:lnTo>
                <a:cubicBezTo>
                  <a:pt x="1038" y="927"/>
                  <a:pt x="1038" y="921"/>
                  <a:pt x="1040" y="915"/>
                </a:cubicBezTo>
                <a:cubicBezTo>
                  <a:pt x="1042" y="910"/>
                  <a:pt x="1045" y="905"/>
                  <a:pt x="1048" y="901"/>
                </a:cubicBezTo>
                <a:cubicBezTo>
                  <a:pt x="1053" y="897"/>
                  <a:pt x="1057" y="894"/>
                  <a:pt x="1061" y="893"/>
                </a:cubicBezTo>
                <a:cubicBezTo>
                  <a:pt x="1066" y="891"/>
                  <a:pt x="1070" y="891"/>
                  <a:pt x="1074" y="891"/>
                </a:cubicBezTo>
                <a:cubicBezTo>
                  <a:pt x="1079" y="892"/>
                  <a:pt x="1083" y="893"/>
                  <a:pt x="1087" y="896"/>
                </a:cubicBezTo>
                <a:cubicBezTo>
                  <a:pt x="1091" y="898"/>
                  <a:pt x="1095" y="902"/>
                  <a:pt x="1100" y="907"/>
                </a:cubicBezTo>
                <a:lnTo>
                  <a:pt x="1139" y="946"/>
                </a:lnTo>
                <a:close/>
                <a:moveTo>
                  <a:pt x="1155" y="807"/>
                </a:moveTo>
                <a:cubicBezTo>
                  <a:pt x="1157" y="808"/>
                  <a:pt x="1158" y="810"/>
                  <a:pt x="1158" y="811"/>
                </a:cubicBezTo>
                <a:cubicBezTo>
                  <a:pt x="1158" y="812"/>
                  <a:pt x="1158" y="813"/>
                  <a:pt x="1157" y="814"/>
                </a:cubicBezTo>
                <a:lnTo>
                  <a:pt x="1148" y="823"/>
                </a:lnTo>
                <a:cubicBezTo>
                  <a:pt x="1152" y="823"/>
                  <a:pt x="1155" y="824"/>
                  <a:pt x="1157" y="825"/>
                </a:cubicBezTo>
                <a:cubicBezTo>
                  <a:pt x="1160" y="827"/>
                  <a:pt x="1163" y="829"/>
                  <a:pt x="1165" y="831"/>
                </a:cubicBezTo>
                <a:cubicBezTo>
                  <a:pt x="1169" y="835"/>
                  <a:pt x="1171" y="839"/>
                  <a:pt x="1173" y="843"/>
                </a:cubicBezTo>
                <a:cubicBezTo>
                  <a:pt x="1175" y="847"/>
                  <a:pt x="1175" y="851"/>
                  <a:pt x="1175" y="855"/>
                </a:cubicBezTo>
                <a:cubicBezTo>
                  <a:pt x="1175" y="859"/>
                  <a:pt x="1174" y="863"/>
                  <a:pt x="1172" y="868"/>
                </a:cubicBezTo>
                <a:cubicBezTo>
                  <a:pt x="1170" y="872"/>
                  <a:pt x="1167" y="876"/>
                  <a:pt x="1163" y="879"/>
                </a:cubicBezTo>
                <a:cubicBezTo>
                  <a:pt x="1161" y="882"/>
                  <a:pt x="1158" y="884"/>
                  <a:pt x="1155" y="886"/>
                </a:cubicBezTo>
                <a:cubicBezTo>
                  <a:pt x="1152" y="887"/>
                  <a:pt x="1149" y="888"/>
                  <a:pt x="1147" y="889"/>
                </a:cubicBezTo>
                <a:cubicBezTo>
                  <a:pt x="1147" y="890"/>
                  <a:pt x="1147" y="892"/>
                  <a:pt x="1147" y="894"/>
                </a:cubicBezTo>
                <a:cubicBezTo>
                  <a:pt x="1148" y="895"/>
                  <a:pt x="1149" y="897"/>
                  <a:pt x="1150" y="898"/>
                </a:cubicBezTo>
                <a:cubicBezTo>
                  <a:pt x="1152" y="900"/>
                  <a:pt x="1154" y="901"/>
                  <a:pt x="1157" y="900"/>
                </a:cubicBezTo>
                <a:cubicBezTo>
                  <a:pt x="1159" y="900"/>
                  <a:pt x="1162" y="898"/>
                  <a:pt x="1165" y="896"/>
                </a:cubicBezTo>
                <a:lnTo>
                  <a:pt x="1182" y="880"/>
                </a:lnTo>
                <a:cubicBezTo>
                  <a:pt x="1186" y="877"/>
                  <a:pt x="1189" y="874"/>
                  <a:pt x="1193" y="872"/>
                </a:cubicBezTo>
                <a:cubicBezTo>
                  <a:pt x="1196" y="870"/>
                  <a:pt x="1199" y="869"/>
                  <a:pt x="1203" y="869"/>
                </a:cubicBezTo>
                <a:cubicBezTo>
                  <a:pt x="1206" y="868"/>
                  <a:pt x="1210" y="868"/>
                  <a:pt x="1213" y="869"/>
                </a:cubicBezTo>
                <a:cubicBezTo>
                  <a:pt x="1216" y="870"/>
                  <a:pt x="1219" y="872"/>
                  <a:pt x="1222" y="875"/>
                </a:cubicBezTo>
                <a:cubicBezTo>
                  <a:pt x="1225" y="878"/>
                  <a:pt x="1227" y="882"/>
                  <a:pt x="1229" y="885"/>
                </a:cubicBezTo>
                <a:cubicBezTo>
                  <a:pt x="1230" y="889"/>
                  <a:pt x="1230" y="894"/>
                  <a:pt x="1230" y="898"/>
                </a:cubicBezTo>
                <a:cubicBezTo>
                  <a:pt x="1229" y="903"/>
                  <a:pt x="1228" y="908"/>
                  <a:pt x="1225" y="913"/>
                </a:cubicBezTo>
                <a:cubicBezTo>
                  <a:pt x="1222" y="918"/>
                  <a:pt x="1218" y="923"/>
                  <a:pt x="1213" y="929"/>
                </a:cubicBezTo>
                <a:cubicBezTo>
                  <a:pt x="1207" y="934"/>
                  <a:pt x="1203" y="938"/>
                  <a:pt x="1198" y="941"/>
                </a:cubicBezTo>
                <a:cubicBezTo>
                  <a:pt x="1193" y="943"/>
                  <a:pt x="1189" y="945"/>
                  <a:pt x="1185" y="946"/>
                </a:cubicBezTo>
                <a:cubicBezTo>
                  <a:pt x="1181" y="947"/>
                  <a:pt x="1178" y="947"/>
                  <a:pt x="1175" y="946"/>
                </a:cubicBezTo>
                <a:cubicBezTo>
                  <a:pt x="1172" y="945"/>
                  <a:pt x="1169" y="943"/>
                  <a:pt x="1166" y="940"/>
                </a:cubicBezTo>
                <a:cubicBezTo>
                  <a:pt x="1165" y="939"/>
                  <a:pt x="1163" y="937"/>
                  <a:pt x="1162" y="935"/>
                </a:cubicBezTo>
                <a:cubicBezTo>
                  <a:pt x="1161" y="933"/>
                  <a:pt x="1160" y="931"/>
                  <a:pt x="1160" y="929"/>
                </a:cubicBezTo>
                <a:cubicBezTo>
                  <a:pt x="1159" y="927"/>
                  <a:pt x="1159" y="925"/>
                  <a:pt x="1159" y="922"/>
                </a:cubicBezTo>
                <a:cubicBezTo>
                  <a:pt x="1159" y="920"/>
                  <a:pt x="1159" y="917"/>
                  <a:pt x="1159" y="915"/>
                </a:cubicBezTo>
                <a:cubicBezTo>
                  <a:pt x="1156" y="916"/>
                  <a:pt x="1152" y="916"/>
                  <a:pt x="1150" y="915"/>
                </a:cubicBezTo>
                <a:cubicBezTo>
                  <a:pt x="1147" y="915"/>
                  <a:pt x="1144" y="913"/>
                  <a:pt x="1142" y="911"/>
                </a:cubicBezTo>
                <a:cubicBezTo>
                  <a:pt x="1139" y="908"/>
                  <a:pt x="1137" y="905"/>
                  <a:pt x="1136" y="902"/>
                </a:cubicBezTo>
                <a:cubicBezTo>
                  <a:pt x="1135" y="898"/>
                  <a:pt x="1134" y="894"/>
                  <a:pt x="1134" y="891"/>
                </a:cubicBezTo>
                <a:cubicBezTo>
                  <a:pt x="1131" y="891"/>
                  <a:pt x="1128" y="890"/>
                  <a:pt x="1125" y="888"/>
                </a:cubicBezTo>
                <a:cubicBezTo>
                  <a:pt x="1122" y="887"/>
                  <a:pt x="1118" y="885"/>
                  <a:pt x="1115" y="882"/>
                </a:cubicBezTo>
                <a:cubicBezTo>
                  <a:pt x="1112" y="878"/>
                  <a:pt x="1109" y="874"/>
                  <a:pt x="1107" y="870"/>
                </a:cubicBezTo>
                <a:cubicBezTo>
                  <a:pt x="1106" y="866"/>
                  <a:pt x="1105" y="861"/>
                  <a:pt x="1105" y="857"/>
                </a:cubicBezTo>
                <a:cubicBezTo>
                  <a:pt x="1105" y="853"/>
                  <a:pt x="1106" y="849"/>
                  <a:pt x="1108" y="845"/>
                </a:cubicBezTo>
                <a:cubicBezTo>
                  <a:pt x="1110" y="841"/>
                  <a:pt x="1113" y="837"/>
                  <a:pt x="1117" y="833"/>
                </a:cubicBezTo>
                <a:cubicBezTo>
                  <a:pt x="1119" y="831"/>
                  <a:pt x="1121" y="829"/>
                  <a:pt x="1123" y="828"/>
                </a:cubicBezTo>
                <a:cubicBezTo>
                  <a:pt x="1125" y="826"/>
                  <a:pt x="1126" y="825"/>
                  <a:pt x="1128" y="824"/>
                </a:cubicBezTo>
                <a:lnTo>
                  <a:pt x="1148" y="804"/>
                </a:lnTo>
                <a:cubicBezTo>
                  <a:pt x="1149" y="804"/>
                  <a:pt x="1150" y="803"/>
                  <a:pt x="1151" y="804"/>
                </a:cubicBezTo>
                <a:cubicBezTo>
                  <a:pt x="1152" y="804"/>
                  <a:pt x="1153" y="805"/>
                  <a:pt x="1155" y="807"/>
                </a:cubicBezTo>
                <a:close/>
                <a:moveTo>
                  <a:pt x="1154" y="842"/>
                </a:moveTo>
                <a:cubicBezTo>
                  <a:pt x="1149" y="838"/>
                  <a:pt x="1145" y="836"/>
                  <a:pt x="1140" y="836"/>
                </a:cubicBezTo>
                <a:cubicBezTo>
                  <a:pt x="1135" y="836"/>
                  <a:pt x="1130" y="838"/>
                  <a:pt x="1126" y="842"/>
                </a:cubicBezTo>
                <a:cubicBezTo>
                  <a:pt x="1123" y="845"/>
                  <a:pt x="1122" y="847"/>
                  <a:pt x="1121" y="849"/>
                </a:cubicBezTo>
                <a:cubicBezTo>
                  <a:pt x="1120" y="852"/>
                  <a:pt x="1120" y="854"/>
                  <a:pt x="1120" y="857"/>
                </a:cubicBezTo>
                <a:cubicBezTo>
                  <a:pt x="1120" y="859"/>
                  <a:pt x="1121" y="862"/>
                  <a:pt x="1122" y="864"/>
                </a:cubicBezTo>
                <a:cubicBezTo>
                  <a:pt x="1123" y="866"/>
                  <a:pt x="1125" y="868"/>
                  <a:pt x="1127" y="870"/>
                </a:cubicBezTo>
                <a:cubicBezTo>
                  <a:pt x="1131" y="875"/>
                  <a:pt x="1135" y="877"/>
                  <a:pt x="1140" y="877"/>
                </a:cubicBezTo>
                <a:cubicBezTo>
                  <a:pt x="1145" y="877"/>
                  <a:pt x="1150" y="875"/>
                  <a:pt x="1154" y="870"/>
                </a:cubicBezTo>
                <a:cubicBezTo>
                  <a:pt x="1156" y="868"/>
                  <a:pt x="1158" y="865"/>
                  <a:pt x="1159" y="863"/>
                </a:cubicBezTo>
                <a:cubicBezTo>
                  <a:pt x="1160" y="861"/>
                  <a:pt x="1160" y="858"/>
                  <a:pt x="1160" y="856"/>
                </a:cubicBezTo>
                <a:cubicBezTo>
                  <a:pt x="1160" y="853"/>
                  <a:pt x="1159" y="851"/>
                  <a:pt x="1158" y="849"/>
                </a:cubicBezTo>
                <a:cubicBezTo>
                  <a:pt x="1157" y="846"/>
                  <a:pt x="1155" y="844"/>
                  <a:pt x="1154" y="842"/>
                </a:cubicBezTo>
                <a:close/>
                <a:moveTo>
                  <a:pt x="1211" y="888"/>
                </a:moveTo>
                <a:cubicBezTo>
                  <a:pt x="1208" y="885"/>
                  <a:pt x="1205" y="884"/>
                  <a:pt x="1201" y="885"/>
                </a:cubicBezTo>
                <a:cubicBezTo>
                  <a:pt x="1197" y="885"/>
                  <a:pt x="1193" y="888"/>
                  <a:pt x="1189" y="891"/>
                </a:cubicBezTo>
                <a:lnTo>
                  <a:pt x="1172" y="908"/>
                </a:lnTo>
                <a:cubicBezTo>
                  <a:pt x="1172" y="910"/>
                  <a:pt x="1172" y="913"/>
                  <a:pt x="1172" y="915"/>
                </a:cubicBezTo>
                <a:cubicBezTo>
                  <a:pt x="1172" y="917"/>
                  <a:pt x="1172" y="919"/>
                  <a:pt x="1172" y="920"/>
                </a:cubicBezTo>
                <a:cubicBezTo>
                  <a:pt x="1173" y="922"/>
                  <a:pt x="1173" y="923"/>
                  <a:pt x="1174" y="924"/>
                </a:cubicBezTo>
                <a:cubicBezTo>
                  <a:pt x="1175" y="925"/>
                  <a:pt x="1176" y="927"/>
                  <a:pt x="1177" y="928"/>
                </a:cubicBezTo>
                <a:cubicBezTo>
                  <a:pt x="1180" y="931"/>
                  <a:pt x="1184" y="931"/>
                  <a:pt x="1189" y="930"/>
                </a:cubicBezTo>
                <a:cubicBezTo>
                  <a:pt x="1193" y="928"/>
                  <a:pt x="1199" y="925"/>
                  <a:pt x="1204" y="919"/>
                </a:cubicBezTo>
                <a:cubicBezTo>
                  <a:pt x="1208" y="915"/>
                  <a:pt x="1210" y="912"/>
                  <a:pt x="1212" y="909"/>
                </a:cubicBezTo>
                <a:cubicBezTo>
                  <a:pt x="1214" y="906"/>
                  <a:pt x="1215" y="903"/>
                  <a:pt x="1215" y="900"/>
                </a:cubicBezTo>
                <a:cubicBezTo>
                  <a:pt x="1216" y="898"/>
                  <a:pt x="1215" y="895"/>
                  <a:pt x="1214" y="893"/>
                </a:cubicBezTo>
                <a:cubicBezTo>
                  <a:pt x="1214" y="891"/>
                  <a:pt x="1212" y="889"/>
                  <a:pt x="1211" y="888"/>
                </a:cubicBezTo>
                <a:close/>
                <a:moveTo>
                  <a:pt x="1251" y="764"/>
                </a:moveTo>
                <a:cubicBezTo>
                  <a:pt x="1253" y="766"/>
                  <a:pt x="1253" y="768"/>
                  <a:pt x="1253" y="770"/>
                </a:cubicBezTo>
                <a:cubicBezTo>
                  <a:pt x="1253" y="771"/>
                  <a:pt x="1252" y="773"/>
                  <a:pt x="1251" y="774"/>
                </a:cubicBezTo>
                <a:lnTo>
                  <a:pt x="1209" y="817"/>
                </a:lnTo>
                <a:cubicBezTo>
                  <a:pt x="1212" y="820"/>
                  <a:pt x="1216" y="823"/>
                  <a:pt x="1219" y="825"/>
                </a:cubicBezTo>
                <a:cubicBezTo>
                  <a:pt x="1223" y="827"/>
                  <a:pt x="1227" y="829"/>
                  <a:pt x="1230" y="829"/>
                </a:cubicBezTo>
                <a:cubicBezTo>
                  <a:pt x="1234" y="829"/>
                  <a:pt x="1238" y="829"/>
                  <a:pt x="1242" y="827"/>
                </a:cubicBezTo>
                <a:cubicBezTo>
                  <a:pt x="1246" y="826"/>
                  <a:pt x="1249" y="823"/>
                  <a:pt x="1253" y="819"/>
                </a:cubicBezTo>
                <a:cubicBezTo>
                  <a:pt x="1256" y="816"/>
                  <a:pt x="1259" y="813"/>
                  <a:pt x="1261" y="810"/>
                </a:cubicBezTo>
                <a:cubicBezTo>
                  <a:pt x="1263" y="807"/>
                  <a:pt x="1264" y="804"/>
                  <a:pt x="1265" y="802"/>
                </a:cubicBezTo>
                <a:cubicBezTo>
                  <a:pt x="1266" y="800"/>
                  <a:pt x="1267" y="798"/>
                  <a:pt x="1268" y="796"/>
                </a:cubicBezTo>
                <a:cubicBezTo>
                  <a:pt x="1269" y="794"/>
                  <a:pt x="1269" y="793"/>
                  <a:pt x="1270" y="793"/>
                </a:cubicBezTo>
                <a:cubicBezTo>
                  <a:pt x="1270" y="792"/>
                  <a:pt x="1271" y="792"/>
                  <a:pt x="1271" y="792"/>
                </a:cubicBezTo>
                <a:cubicBezTo>
                  <a:pt x="1271" y="792"/>
                  <a:pt x="1272" y="792"/>
                  <a:pt x="1272" y="792"/>
                </a:cubicBezTo>
                <a:cubicBezTo>
                  <a:pt x="1273" y="792"/>
                  <a:pt x="1273" y="793"/>
                  <a:pt x="1274" y="793"/>
                </a:cubicBezTo>
                <a:cubicBezTo>
                  <a:pt x="1275" y="794"/>
                  <a:pt x="1275" y="795"/>
                  <a:pt x="1276" y="795"/>
                </a:cubicBezTo>
                <a:cubicBezTo>
                  <a:pt x="1277" y="796"/>
                  <a:pt x="1277" y="797"/>
                  <a:pt x="1278" y="797"/>
                </a:cubicBezTo>
                <a:cubicBezTo>
                  <a:pt x="1278" y="798"/>
                  <a:pt x="1279" y="798"/>
                  <a:pt x="1279" y="799"/>
                </a:cubicBezTo>
                <a:cubicBezTo>
                  <a:pt x="1279" y="799"/>
                  <a:pt x="1279" y="799"/>
                  <a:pt x="1280" y="800"/>
                </a:cubicBezTo>
                <a:cubicBezTo>
                  <a:pt x="1280" y="800"/>
                  <a:pt x="1280" y="801"/>
                  <a:pt x="1280" y="801"/>
                </a:cubicBezTo>
                <a:cubicBezTo>
                  <a:pt x="1280" y="802"/>
                  <a:pt x="1279" y="803"/>
                  <a:pt x="1279" y="805"/>
                </a:cubicBezTo>
                <a:cubicBezTo>
                  <a:pt x="1278" y="807"/>
                  <a:pt x="1277" y="809"/>
                  <a:pt x="1275" y="812"/>
                </a:cubicBezTo>
                <a:cubicBezTo>
                  <a:pt x="1274" y="814"/>
                  <a:pt x="1272" y="817"/>
                  <a:pt x="1270" y="820"/>
                </a:cubicBezTo>
                <a:cubicBezTo>
                  <a:pt x="1268" y="824"/>
                  <a:pt x="1265" y="827"/>
                  <a:pt x="1262" y="830"/>
                </a:cubicBezTo>
                <a:cubicBezTo>
                  <a:pt x="1257" y="835"/>
                  <a:pt x="1251" y="839"/>
                  <a:pt x="1246" y="842"/>
                </a:cubicBezTo>
                <a:cubicBezTo>
                  <a:pt x="1240" y="844"/>
                  <a:pt x="1235" y="845"/>
                  <a:pt x="1229" y="845"/>
                </a:cubicBezTo>
                <a:cubicBezTo>
                  <a:pt x="1223" y="845"/>
                  <a:pt x="1218" y="843"/>
                  <a:pt x="1212" y="840"/>
                </a:cubicBezTo>
                <a:cubicBezTo>
                  <a:pt x="1206" y="837"/>
                  <a:pt x="1200" y="833"/>
                  <a:pt x="1194" y="827"/>
                </a:cubicBezTo>
                <a:cubicBezTo>
                  <a:pt x="1189" y="821"/>
                  <a:pt x="1185" y="816"/>
                  <a:pt x="1182" y="810"/>
                </a:cubicBezTo>
                <a:cubicBezTo>
                  <a:pt x="1179" y="804"/>
                  <a:pt x="1177" y="798"/>
                  <a:pt x="1176" y="792"/>
                </a:cubicBezTo>
                <a:cubicBezTo>
                  <a:pt x="1176" y="786"/>
                  <a:pt x="1177" y="781"/>
                  <a:pt x="1179" y="775"/>
                </a:cubicBezTo>
                <a:cubicBezTo>
                  <a:pt x="1181" y="770"/>
                  <a:pt x="1185" y="765"/>
                  <a:pt x="1190" y="760"/>
                </a:cubicBezTo>
                <a:cubicBezTo>
                  <a:pt x="1195" y="755"/>
                  <a:pt x="1200" y="751"/>
                  <a:pt x="1205" y="750"/>
                </a:cubicBezTo>
                <a:cubicBezTo>
                  <a:pt x="1210" y="748"/>
                  <a:pt x="1215" y="747"/>
                  <a:pt x="1220" y="747"/>
                </a:cubicBezTo>
                <a:cubicBezTo>
                  <a:pt x="1225" y="748"/>
                  <a:pt x="1230" y="749"/>
                  <a:pt x="1235" y="752"/>
                </a:cubicBezTo>
                <a:cubicBezTo>
                  <a:pt x="1240" y="755"/>
                  <a:pt x="1244" y="758"/>
                  <a:pt x="1249" y="762"/>
                </a:cubicBezTo>
                <a:lnTo>
                  <a:pt x="1251" y="764"/>
                </a:lnTo>
                <a:close/>
                <a:moveTo>
                  <a:pt x="1235" y="773"/>
                </a:moveTo>
                <a:cubicBezTo>
                  <a:pt x="1229" y="766"/>
                  <a:pt x="1223" y="763"/>
                  <a:pt x="1216" y="762"/>
                </a:cubicBezTo>
                <a:cubicBezTo>
                  <a:pt x="1210" y="762"/>
                  <a:pt x="1204" y="764"/>
                  <a:pt x="1198" y="770"/>
                </a:cubicBezTo>
                <a:cubicBezTo>
                  <a:pt x="1195" y="773"/>
                  <a:pt x="1193" y="776"/>
                  <a:pt x="1192" y="779"/>
                </a:cubicBezTo>
                <a:cubicBezTo>
                  <a:pt x="1191" y="783"/>
                  <a:pt x="1191" y="786"/>
                  <a:pt x="1191" y="789"/>
                </a:cubicBezTo>
                <a:cubicBezTo>
                  <a:pt x="1191" y="793"/>
                  <a:pt x="1192" y="796"/>
                  <a:pt x="1194" y="799"/>
                </a:cubicBezTo>
                <a:cubicBezTo>
                  <a:pt x="1195" y="802"/>
                  <a:pt x="1197" y="805"/>
                  <a:pt x="1200" y="808"/>
                </a:cubicBezTo>
                <a:lnTo>
                  <a:pt x="1235" y="773"/>
                </a:lnTo>
                <a:close/>
                <a:moveTo>
                  <a:pt x="1333" y="717"/>
                </a:moveTo>
                <a:cubicBezTo>
                  <a:pt x="1336" y="721"/>
                  <a:pt x="1338" y="724"/>
                  <a:pt x="1340" y="728"/>
                </a:cubicBezTo>
                <a:cubicBezTo>
                  <a:pt x="1341" y="732"/>
                  <a:pt x="1342" y="736"/>
                  <a:pt x="1341" y="740"/>
                </a:cubicBezTo>
                <a:cubicBezTo>
                  <a:pt x="1341" y="744"/>
                  <a:pt x="1339" y="748"/>
                  <a:pt x="1337" y="752"/>
                </a:cubicBezTo>
                <a:cubicBezTo>
                  <a:pt x="1335" y="756"/>
                  <a:pt x="1332" y="760"/>
                  <a:pt x="1328" y="763"/>
                </a:cubicBezTo>
                <a:cubicBezTo>
                  <a:pt x="1326" y="766"/>
                  <a:pt x="1324" y="768"/>
                  <a:pt x="1321" y="769"/>
                </a:cubicBezTo>
                <a:cubicBezTo>
                  <a:pt x="1319" y="771"/>
                  <a:pt x="1316" y="773"/>
                  <a:pt x="1314" y="774"/>
                </a:cubicBezTo>
                <a:cubicBezTo>
                  <a:pt x="1312" y="775"/>
                  <a:pt x="1310" y="776"/>
                  <a:pt x="1308" y="776"/>
                </a:cubicBezTo>
                <a:cubicBezTo>
                  <a:pt x="1307" y="777"/>
                  <a:pt x="1305" y="777"/>
                  <a:pt x="1304" y="777"/>
                </a:cubicBezTo>
                <a:cubicBezTo>
                  <a:pt x="1303" y="777"/>
                  <a:pt x="1302" y="777"/>
                  <a:pt x="1301" y="776"/>
                </a:cubicBezTo>
                <a:cubicBezTo>
                  <a:pt x="1300" y="776"/>
                  <a:pt x="1299" y="774"/>
                  <a:pt x="1297" y="773"/>
                </a:cubicBezTo>
                <a:cubicBezTo>
                  <a:pt x="1296" y="772"/>
                  <a:pt x="1295" y="771"/>
                  <a:pt x="1295" y="771"/>
                </a:cubicBezTo>
                <a:cubicBezTo>
                  <a:pt x="1294" y="770"/>
                  <a:pt x="1294" y="769"/>
                  <a:pt x="1294" y="769"/>
                </a:cubicBezTo>
                <a:cubicBezTo>
                  <a:pt x="1294" y="768"/>
                  <a:pt x="1293" y="768"/>
                  <a:pt x="1294" y="767"/>
                </a:cubicBezTo>
                <a:cubicBezTo>
                  <a:pt x="1294" y="767"/>
                  <a:pt x="1294" y="766"/>
                  <a:pt x="1294" y="766"/>
                </a:cubicBezTo>
                <a:cubicBezTo>
                  <a:pt x="1295" y="766"/>
                  <a:pt x="1296" y="765"/>
                  <a:pt x="1298" y="765"/>
                </a:cubicBezTo>
                <a:cubicBezTo>
                  <a:pt x="1299" y="764"/>
                  <a:pt x="1301" y="764"/>
                  <a:pt x="1303" y="763"/>
                </a:cubicBezTo>
                <a:cubicBezTo>
                  <a:pt x="1306" y="762"/>
                  <a:pt x="1308" y="761"/>
                  <a:pt x="1311" y="760"/>
                </a:cubicBezTo>
                <a:cubicBezTo>
                  <a:pt x="1314" y="758"/>
                  <a:pt x="1316" y="756"/>
                  <a:pt x="1319" y="754"/>
                </a:cubicBezTo>
                <a:cubicBezTo>
                  <a:pt x="1321" y="752"/>
                  <a:pt x="1323" y="750"/>
                  <a:pt x="1324" y="748"/>
                </a:cubicBezTo>
                <a:cubicBezTo>
                  <a:pt x="1325" y="745"/>
                  <a:pt x="1326" y="743"/>
                  <a:pt x="1326" y="741"/>
                </a:cubicBezTo>
                <a:cubicBezTo>
                  <a:pt x="1327" y="739"/>
                  <a:pt x="1326" y="737"/>
                  <a:pt x="1326" y="735"/>
                </a:cubicBezTo>
                <a:cubicBezTo>
                  <a:pt x="1325" y="734"/>
                  <a:pt x="1324" y="732"/>
                  <a:pt x="1322" y="730"/>
                </a:cubicBezTo>
                <a:cubicBezTo>
                  <a:pt x="1320" y="728"/>
                  <a:pt x="1318" y="727"/>
                  <a:pt x="1316" y="727"/>
                </a:cubicBezTo>
                <a:cubicBezTo>
                  <a:pt x="1314" y="726"/>
                  <a:pt x="1312" y="727"/>
                  <a:pt x="1309" y="727"/>
                </a:cubicBezTo>
                <a:cubicBezTo>
                  <a:pt x="1307" y="728"/>
                  <a:pt x="1304" y="729"/>
                  <a:pt x="1301" y="730"/>
                </a:cubicBezTo>
                <a:cubicBezTo>
                  <a:pt x="1299" y="731"/>
                  <a:pt x="1296" y="732"/>
                  <a:pt x="1293" y="733"/>
                </a:cubicBezTo>
                <a:cubicBezTo>
                  <a:pt x="1290" y="735"/>
                  <a:pt x="1287" y="736"/>
                  <a:pt x="1284" y="736"/>
                </a:cubicBezTo>
                <a:cubicBezTo>
                  <a:pt x="1281" y="737"/>
                  <a:pt x="1278" y="738"/>
                  <a:pt x="1275" y="738"/>
                </a:cubicBezTo>
                <a:cubicBezTo>
                  <a:pt x="1272" y="738"/>
                  <a:pt x="1269" y="737"/>
                  <a:pt x="1266" y="736"/>
                </a:cubicBezTo>
                <a:cubicBezTo>
                  <a:pt x="1263" y="735"/>
                  <a:pt x="1260" y="733"/>
                  <a:pt x="1258" y="730"/>
                </a:cubicBezTo>
                <a:cubicBezTo>
                  <a:pt x="1255" y="728"/>
                  <a:pt x="1253" y="725"/>
                  <a:pt x="1252" y="722"/>
                </a:cubicBezTo>
                <a:cubicBezTo>
                  <a:pt x="1250" y="718"/>
                  <a:pt x="1250" y="715"/>
                  <a:pt x="1250" y="711"/>
                </a:cubicBezTo>
                <a:cubicBezTo>
                  <a:pt x="1250" y="707"/>
                  <a:pt x="1251" y="703"/>
                  <a:pt x="1253" y="699"/>
                </a:cubicBezTo>
                <a:cubicBezTo>
                  <a:pt x="1255" y="695"/>
                  <a:pt x="1258" y="692"/>
                  <a:pt x="1262" y="688"/>
                </a:cubicBezTo>
                <a:cubicBezTo>
                  <a:pt x="1264" y="686"/>
                  <a:pt x="1266" y="684"/>
                  <a:pt x="1268" y="683"/>
                </a:cubicBezTo>
                <a:cubicBezTo>
                  <a:pt x="1270" y="681"/>
                  <a:pt x="1272" y="680"/>
                  <a:pt x="1273" y="679"/>
                </a:cubicBezTo>
                <a:cubicBezTo>
                  <a:pt x="1275" y="678"/>
                  <a:pt x="1277" y="678"/>
                  <a:pt x="1278" y="677"/>
                </a:cubicBezTo>
                <a:cubicBezTo>
                  <a:pt x="1280" y="677"/>
                  <a:pt x="1281" y="676"/>
                  <a:pt x="1282" y="676"/>
                </a:cubicBezTo>
                <a:cubicBezTo>
                  <a:pt x="1283" y="676"/>
                  <a:pt x="1283" y="676"/>
                  <a:pt x="1284" y="676"/>
                </a:cubicBezTo>
                <a:cubicBezTo>
                  <a:pt x="1284" y="676"/>
                  <a:pt x="1285" y="677"/>
                  <a:pt x="1285" y="677"/>
                </a:cubicBezTo>
                <a:cubicBezTo>
                  <a:pt x="1286" y="677"/>
                  <a:pt x="1286" y="677"/>
                  <a:pt x="1287" y="678"/>
                </a:cubicBezTo>
                <a:cubicBezTo>
                  <a:pt x="1287" y="678"/>
                  <a:pt x="1288" y="679"/>
                  <a:pt x="1289" y="680"/>
                </a:cubicBezTo>
                <a:cubicBezTo>
                  <a:pt x="1290" y="681"/>
                  <a:pt x="1290" y="681"/>
                  <a:pt x="1291" y="682"/>
                </a:cubicBezTo>
                <a:cubicBezTo>
                  <a:pt x="1291" y="683"/>
                  <a:pt x="1292" y="683"/>
                  <a:pt x="1292" y="684"/>
                </a:cubicBezTo>
                <a:cubicBezTo>
                  <a:pt x="1292" y="684"/>
                  <a:pt x="1292" y="685"/>
                  <a:pt x="1292" y="685"/>
                </a:cubicBezTo>
                <a:cubicBezTo>
                  <a:pt x="1292" y="686"/>
                  <a:pt x="1292" y="686"/>
                  <a:pt x="1292" y="686"/>
                </a:cubicBezTo>
                <a:cubicBezTo>
                  <a:pt x="1291" y="687"/>
                  <a:pt x="1290" y="687"/>
                  <a:pt x="1289" y="687"/>
                </a:cubicBezTo>
                <a:cubicBezTo>
                  <a:pt x="1288" y="688"/>
                  <a:pt x="1286" y="688"/>
                  <a:pt x="1284" y="689"/>
                </a:cubicBezTo>
                <a:cubicBezTo>
                  <a:pt x="1282" y="690"/>
                  <a:pt x="1280" y="690"/>
                  <a:pt x="1278" y="692"/>
                </a:cubicBezTo>
                <a:cubicBezTo>
                  <a:pt x="1276" y="693"/>
                  <a:pt x="1273" y="695"/>
                  <a:pt x="1271" y="697"/>
                </a:cubicBezTo>
                <a:cubicBezTo>
                  <a:pt x="1269" y="699"/>
                  <a:pt x="1267" y="701"/>
                  <a:pt x="1266" y="703"/>
                </a:cubicBezTo>
                <a:cubicBezTo>
                  <a:pt x="1265" y="705"/>
                  <a:pt x="1265" y="707"/>
                  <a:pt x="1265" y="709"/>
                </a:cubicBezTo>
                <a:cubicBezTo>
                  <a:pt x="1264" y="710"/>
                  <a:pt x="1265" y="712"/>
                  <a:pt x="1265" y="714"/>
                </a:cubicBezTo>
                <a:cubicBezTo>
                  <a:pt x="1266" y="715"/>
                  <a:pt x="1267" y="717"/>
                  <a:pt x="1268" y="718"/>
                </a:cubicBezTo>
                <a:cubicBezTo>
                  <a:pt x="1270" y="720"/>
                  <a:pt x="1272" y="721"/>
                  <a:pt x="1274" y="722"/>
                </a:cubicBezTo>
                <a:cubicBezTo>
                  <a:pt x="1277" y="722"/>
                  <a:pt x="1279" y="722"/>
                  <a:pt x="1282" y="721"/>
                </a:cubicBezTo>
                <a:cubicBezTo>
                  <a:pt x="1284" y="721"/>
                  <a:pt x="1287" y="720"/>
                  <a:pt x="1289" y="719"/>
                </a:cubicBezTo>
                <a:cubicBezTo>
                  <a:pt x="1292" y="717"/>
                  <a:pt x="1295" y="716"/>
                  <a:pt x="1298" y="715"/>
                </a:cubicBezTo>
                <a:cubicBezTo>
                  <a:pt x="1301" y="714"/>
                  <a:pt x="1303" y="713"/>
                  <a:pt x="1306" y="712"/>
                </a:cubicBezTo>
                <a:cubicBezTo>
                  <a:pt x="1309" y="711"/>
                  <a:pt x="1312" y="710"/>
                  <a:pt x="1315" y="710"/>
                </a:cubicBezTo>
                <a:cubicBezTo>
                  <a:pt x="1318" y="710"/>
                  <a:pt x="1321" y="710"/>
                  <a:pt x="1324" y="711"/>
                </a:cubicBezTo>
                <a:cubicBezTo>
                  <a:pt x="1327" y="713"/>
                  <a:pt x="1330" y="714"/>
                  <a:pt x="1333" y="717"/>
                </a:cubicBezTo>
                <a:close/>
                <a:moveTo>
                  <a:pt x="1395" y="680"/>
                </a:moveTo>
                <a:cubicBezTo>
                  <a:pt x="1397" y="682"/>
                  <a:pt x="1398" y="683"/>
                  <a:pt x="1398" y="684"/>
                </a:cubicBezTo>
                <a:cubicBezTo>
                  <a:pt x="1399" y="685"/>
                  <a:pt x="1399" y="686"/>
                  <a:pt x="1399" y="687"/>
                </a:cubicBezTo>
                <a:cubicBezTo>
                  <a:pt x="1399" y="688"/>
                  <a:pt x="1399" y="688"/>
                  <a:pt x="1399" y="690"/>
                </a:cubicBezTo>
                <a:cubicBezTo>
                  <a:pt x="1398" y="691"/>
                  <a:pt x="1398" y="692"/>
                  <a:pt x="1397" y="693"/>
                </a:cubicBezTo>
                <a:cubicBezTo>
                  <a:pt x="1396" y="694"/>
                  <a:pt x="1395" y="695"/>
                  <a:pt x="1394" y="697"/>
                </a:cubicBezTo>
                <a:cubicBezTo>
                  <a:pt x="1393" y="698"/>
                  <a:pt x="1392" y="699"/>
                  <a:pt x="1391" y="700"/>
                </a:cubicBezTo>
                <a:cubicBezTo>
                  <a:pt x="1388" y="704"/>
                  <a:pt x="1384" y="706"/>
                  <a:pt x="1381" y="707"/>
                </a:cubicBezTo>
                <a:cubicBezTo>
                  <a:pt x="1378" y="709"/>
                  <a:pt x="1375" y="710"/>
                  <a:pt x="1371" y="709"/>
                </a:cubicBezTo>
                <a:cubicBezTo>
                  <a:pt x="1368" y="709"/>
                  <a:pt x="1365" y="708"/>
                  <a:pt x="1361" y="706"/>
                </a:cubicBezTo>
                <a:cubicBezTo>
                  <a:pt x="1358" y="704"/>
                  <a:pt x="1354" y="701"/>
                  <a:pt x="1350" y="697"/>
                </a:cubicBezTo>
                <a:lnTo>
                  <a:pt x="1313" y="659"/>
                </a:lnTo>
                <a:lnTo>
                  <a:pt x="1304" y="668"/>
                </a:lnTo>
                <a:cubicBezTo>
                  <a:pt x="1303" y="669"/>
                  <a:pt x="1302" y="669"/>
                  <a:pt x="1301" y="669"/>
                </a:cubicBezTo>
                <a:cubicBezTo>
                  <a:pt x="1299" y="669"/>
                  <a:pt x="1298" y="668"/>
                  <a:pt x="1296" y="666"/>
                </a:cubicBezTo>
                <a:cubicBezTo>
                  <a:pt x="1295" y="665"/>
                  <a:pt x="1295" y="664"/>
                  <a:pt x="1294" y="663"/>
                </a:cubicBezTo>
                <a:cubicBezTo>
                  <a:pt x="1294" y="663"/>
                  <a:pt x="1293" y="662"/>
                  <a:pt x="1293" y="661"/>
                </a:cubicBezTo>
                <a:cubicBezTo>
                  <a:pt x="1293" y="661"/>
                  <a:pt x="1293" y="660"/>
                  <a:pt x="1293" y="660"/>
                </a:cubicBezTo>
                <a:cubicBezTo>
                  <a:pt x="1293" y="659"/>
                  <a:pt x="1293" y="659"/>
                  <a:pt x="1294" y="659"/>
                </a:cubicBezTo>
                <a:lnTo>
                  <a:pt x="1303" y="650"/>
                </a:lnTo>
                <a:lnTo>
                  <a:pt x="1287" y="634"/>
                </a:lnTo>
                <a:cubicBezTo>
                  <a:pt x="1287" y="634"/>
                  <a:pt x="1287" y="633"/>
                  <a:pt x="1287" y="633"/>
                </a:cubicBezTo>
                <a:cubicBezTo>
                  <a:pt x="1287" y="633"/>
                  <a:pt x="1287" y="632"/>
                  <a:pt x="1287" y="631"/>
                </a:cubicBezTo>
                <a:cubicBezTo>
                  <a:pt x="1287" y="631"/>
                  <a:pt x="1288" y="630"/>
                  <a:pt x="1288" y="629"/>
                </a:cubicBezTo>
                <a:cubicBezTo>
                  <a:pt x="1289" y="628"/>
                  <a:pt x="1290" y="627"/>
                  <a:pt x="1291" y="626"/>
                </a:cubicBezTo>
                <a:cubicBezTo>
                  <a:pt x="1292" y="625"/>
                  <a:pt x="1293" y="624"/>
                  <a:pt x="1294" y="623"/>
                </a:cubicBezTo>
                <a:cubicBezTo>
                  <a:pt x="1295" y="623"/>
                  <a:pt x="1296" y="622"/>
                  <a:pt x="1296" y="622"/>
                </a:cubicBezTo>
                <a:cubicBezTo>
                  <a:pt x="1297" y="622"/>
                  <a:pt x="1298" y="622"/>
                  <a:pt x="1298" y="622"/>
                </a:cubicBezTo>
                <a:cubicBezTo>
                  <a:pt x="1298" y="622"/>
                  <a:pt x="1299" y="622"/>
                  <a:pt x="1299" y="622"/>
                </a:cubicBezTo>
                <a:lnTo>
                  <a:pt x="1315" y="638"/>
                </a:lnTo>
                <a:lnTo>
                  <a:pt x="1331" y="621"/>
                </a:lnTo>
                <a:cubicBezTo>
                  <a:pt x="1332" y="621"/>
                  <a:pt x="1332" y="620"/>
                  <a:pt x="1332" y="620"/>
                </a:cubicBezTo>
                <a:cubicBezTo>
                  <a:pt x="1333" y="620"/>
                  <a:pt x="1333" y="620"/>
                  <a:pt x="1334" y="620"/>
                </a:cubicBezTo>
                <a:cubicBezTo>
                  <a:pt x="1335" y="621"/>
                  <a:pt x="1335" y="621"/>
                  <a:pt x="1336" y="622"/>
                </a:cubicBezTo>
                <a:cubicBezTo>
                  <a:pt x="1337" y="622"/>
                  <a:pt x="1338" y="623"/>
                  <a:pt x="1339" y="624"/>
                </a:cubicBezTo>
                <a:cubicBezTo>
                  <a:pt x="1340" y="625"/>
                  <a:pt x="1341" y="627"/>
                  <a:pt x="1342" y="628"/>
                </a:cubicBezTo>
                <a:cubicBezTo>
                  <a:pt x="1342" y="629"/>
                  <a:pt x="1342" y="630"/>
                  <a:pt x="1341" y="631"/>
                </a:cubicBezTo>
                <a:lnTo>
                  <a:pt x="1324" y="648"/>
                </a:lnTo>
                <a:lnTo>
                  <a:pt x="1360" y="684"/>
                </a:lnTo>
                <a:cubicBezTo>
                  <a:pt x="1365" y="688"/>
                  <a:pt x="1369" y="691"/>
                  <a:pt x="1373" y="692"/>
                </a:cubicBezTo>
                <a:cubicBezTo>
                  <a:pt x="1376" y="693"/>
                  <a:pt x="1380" y="691"/>
                  <a:pt x="1383" y="688"/>
                </a:cubicBezTo>
                <a:cubicBezTo>
                  <a:pt x="1384" y="687"/>
                  <a:pt x="1385" y="686"/>
                  <a:pt x="1386" y="685"/>
                </a:cubicBezTo>
                <a:cubicBezTo>
                  <a:pt x="1386" y="684"/>
                  <a:pt x="1387" y="683"/>
                  <a:pt x="1387" y="682"/>
                </a:cubicBezTo>
                <a:cubicBezTo>
                  <a:pt x="1388" y="681"/>
                  <a:pt x="1388" y="680"/>
                  <a:pt x="1388" y="679"/>
                </a:cubicBezTo>
                <a:cubicBezTo>
                  <a:pt x="1389" y="679"/>
                  <a:pt x="1389" y="678"/>
                  <a:pt x="1389" y="678"/>
                </a:cubicBezTo>
                <a:cubicBezTo>
                  <a:pt x="1390" y="678"/>
                  <a:pt x="1390" y="677"/>
                  <a:pt x="1390" y="677"/>
                </a:cubicBezTo>
                <a:cubicBezTo>
                  <a:pt x="1390" y="677"/>
                  <a:pt x="1391" y="677"/>
                  <a:pt x="1391" y="677"/>
                </a:cubicBezTo>
                <a:cubicBezTo>
                  <a:pt x="1392" y="678"/>
                  <a:pt x="1392" y="678"/>
                  <a:pt x="1393" y="678"/>
                </a:cubicBezTo>
                <a:cubicBezTo>
                  <a:pt x="1394" y="679"/>
                  <a:pt x="1394" y="680"/>
                  <a:pt x="1395" y="680"/>
                </a:cubicBezTo>
                <a:close/>
                <a:moveTo>
                  <a:pt x="1424" y="662"/>
                </a:moveTo>
                <a:cubicBezTo>
                  <a:pt x="1424" y="662"/>
                  <a:pt x="1424" y="663"/>
                  <a:pt x="1424" y="663"/>
                </a:cubicBezTo>
                <a:cubicBezTo>
                  <a:pt x="1424" y="663"/>
                  <a:pt x="1424" y="664"/>
                  <a:pt x="1424" y="665"/>
                </a:cubicBezTo>
                <a:cubicBezTo>
                  <a:pt x="1424" y="665"/>
                  <a:pt x="1423" y="666"/>
                  <a:pt x="1423" y="667"/>
                </a:cubicBezTo>
                <a:cubicBezTo>
                  <a:pt x="1422" y="668"/>
                  <a:pt x="1421" y="669"/>
                  <a:pt x="1420" y="670"/>
                </a:cubicBezTo>
                <a:cubicBezTo>
                  <a:pt x="1419" y="671"/>
                  <a:pt x="1418" y="672"/>
                  <a:pt x="1417" y="673"/>
                </a:cubicBezTo>
                <a:cubicBezTo>
                  <a:pt x="1416" y="673"/>
                  <a:pt x="1415" y="674"/>
                  <a:pt x="1415" y="674"/>
                </a:cubicBezTo>
                <a:cubicBezTo>
                  <a:pt x="1414" y="674"/>
                  <a:pt x="1413" y="674"/>
                  <a:pt x="1413" y="674"/>
                </a:cubicBezTo>
                <a:cubicBezTo>
                  <a:pt x="1412" y="674"/>
                  <a:pt x="1412" y="674"/>
                  <a:pt x="1412" y="674"/>
                </a:cubicBezTo>
                <a:lnTo>
                  <a:pt x="1347" y="609"/>
                </a:lnTo>
                <a:cubicBezTo>
                  <a:pt x="1347" y="609"/>
                  <a:pt x="1347" y="608"/>
                  <a:pt x="1346" y="608"/>
                </a:cubicBezTo>
                <a:cubicBezTo>
                  <a:pt x="1346" y="607"/>
                  <a:pt x="1346" y="607"/>
                  <a:pt x="1347" y="606"/>
                </a:cubicBezTo>
                <a:cubicBezTo>
                  <a:pt x="1347" y="605"/>
                  <a:pt x="1347" y="605"/>
                  <a:pt x="1348" y="604"/>
                </a:cubicBezTo>
                <a:cubicBezTo>
                  <a:pt x="1349" y="603"/>
                  <a:pt x="1350" y="602"/>
                  <a:pt x="1351" y="601"/>
                </a:cubicBezTo>
                <a:cubicBezTo>
                  <a:pt x="1352" y="600"/>
                  <a:pt x="1353" y="599"/>
                  <a:pt x="1354" y="598"/>
                </a:cubicBezTo>
                <a:cubicBezTo>
                  <a:pt x="1355" y="597"/>
                  <a:pt x="1355" y="597"/>
                  <a:pt x="1356" y="597"/>
                </a:cubicBezTo>
                <a:cubicBezTo>
                  <a:pt x="1357" y="596"/>
                  <a:pt x="1357" y="596"/>
                  <a:pt x="1358" y="596"/>
                </a:cubicBezTo>
                <a:cubicBezTo>
                  <a:pt x="1358" y="597"/>
                  <a:pt x="1359" y="597"/>
                  <a:pt x="1359" y="597"/>
                </a:cubicBezTo>
                <a:lnTo>
                  <a:pt x="1424" y="662"/>
                </a:lnTo>
                <a:close/>
                <a:moveTo>
                  <a:pt x="1338" y="574"/>
                </a:moveTo>
                <a:cubicBezTo>
                  <a:pt x="1341" y="577"/>
                  <a:pt x="1343" y="579"/>
                  <a:pt x="1343" y="581"/>
                </a:cubicBezTo>
                <a:cubicBezTo>
                  <a:pt x="1342" y="583"/>
                  <a:pt x="1341" y="586"/>
                  <a:pt x="1338" y="588"/>
                </a:cubicBezTo>
                <a:cubicBezTo>
                  <a:pt x="1335" y="591"/>
                  <a:pt x="1333" y="593"/>
                  <a:pt x="1331" y="593"/>
                </a:cubicBezTo>
                <a:cubicBezTo>
                  <a:pt x="1329" y="593"/>
                  <a:pt x="1327" y="591"/>
                  <a:pt x="1324" y="589"/>
                </a:cubicBezTo>
                <a:cubicBezTo>
                  <a:pt x="1321" y="586"/>
                  <a:pt x="1320" y="584"/>
                  <a:pt x="1320" y="581"/>
                </a:cubicBezTo>
                <a:cubicBezTo>
                  <a:pt x="1320" y="579"/>
                  <a:pt x="1321" y="577"/>
                  <a:pt x="1324" y="574"/>
                </a:cubicBezTo>
                <a:cubicBezTo>
                  <a:pt x="1327" y="571"/>
                  <a:pt x="1329" y="570"/>
                  <a:pt x="1331" y="570"/>
                </a:cubicBezTo>
                <a:cubicBezTo>
                  <a:pt x="1333" y="570"/>
                  <a:pt x="1336" y="571"/>
                  <a:pt x="1338" y="574"/>
                </a:cubicBezTo>
                <a:close/>
                <a:moveTo>
                  <a:pt x="1473" y="547"/>
                </a:moveTo>
                <a:cubicBezTo>
                  <a:pt x="1478" y="552"/>
                  <a:pt x="1482" y="557"/>
                  <a:pt x="1485" y="563"/>
                </a:cubicBezTo>
                <a:cubicBezTo>
                  <a:pt x="1488" y="569"/>
                  <a:pt x="1490" y="575"/>
                  <a:pt x="1490" y="581"/>
                </a:cubicBezTo>
                <a:cubicBezTo>
                  <a:pt x="1491" y="587"/>
                  <a:pt x="1490" y="593"/>
                  <a:pt x="1488" y="599"/>
                </a:cubicBezTo>
                <a:cubicBezTo>
                  <a:pt x="1485" y="605"/>
                  <a:pt x="1481" y="610"/>
                  <a:pt x="1476" y="616"/>
                </a:cubicBezTo>
                <a:cubicBezTo>
                  <a:pt x="1471" y="621"/>
                  <a:pt x="1465" y="625"/>
                  <a:pt x="1460" y="627"/>
                </a:cubicBezTo>
                <a:cubicBezTo>
                  <a:pt x="1454" y="630"/>
                  <a:pt x="1448" y="631"/>
                  <a:pt x="1443" y="630"/>
                </a:cubicBezTo>
                <a:cubicBezTo>
                  <a:pt x="1437" y="630"/>
                  <a:pt x="1432" y="628"/>
                  <a:pt x="1426" y="625"/>
                </a:cubicBezTo>
                <a:cubicBezTo>
                  <a:pt x="1420" y="622"/>
                  <a:pt x="1415" y="618"/>
                  <a:pt x="1409" y="612"/>
                </a:cubicBezTo>
                <a:cubicBezTo>
                  <a:pt x="1404" y="607"/>
                  <a:pt x="1400" y="602"/>
                  <a:pt x="1397" y="596"/>
                </a:cubicBezTo>
                <a:cubicBezTo>
                  <a:pt x="1394" y="590"/>
                  <a:pt x="1392" y="584"/>
                  <a:pt x="1392" y="578"/>
                </a:cubicBezTo>
                <a:cubicBezTo>
                  <a:pt x="1391" y="572"/>
                  <a:pt x="1392" y="566"/>
                  <a:pt x="1394" y="560"/>
                </a:cubicBezTo>
                <a:cubicBezTo>
                  <a:pt x="1397" y="555"/>
                  <a:pt x="1401" y="549"/>
                  <a:pt x="1406" y="543"/>
                </a:cubicBezTo>
                <a:cubicBezTo>
                  <a:pt x="1412" y="538"/>
                  <a:pt x="1417" y="534"/>
                  <a:pt x="1422" y="532"/>
                </a:cubicBezTo>
                <a:cubicBezTo>
                  <a:pt x="1428" y="529"/>
                  <a:pt x="1434" y="528"/>
                  <a:pt x="1439" y="529"/>
                </a:cubicBezTo>
                <a:cubicBezTo>
                  <a:pt x="1445" y="529"/>
                  <a:pt x="1451" y="531"/>
                  <a:pt x="1456" y="534"/>
                </a:cubicBezTo>
                <a:cubicBezTo>
                  <a:pt x="1462" y="537"/>
                  <a:pt x="1467" y="541"/>
                  <a:pt x="1473" y="547"/>
                </a:cubicBezTo>
                <a:close/>
                <a:moveTo>
                  <a:pt x="1461" y="560"/>
                </a:moveTo>
                <a:cubicBezTo>
                  <a:pt x="1458" y="556"/>
                  <a:pt x="1454" y="553"/>
                  <a:pt x="1450" y="551"/>
                </a:cubicBezTo>
                <a:cubicBezTo>
                  <a:pt x="1447" y="548"/>
                  <a:pt x="1443" y="547"/>
                  <a:pt x="1439" y="546"/>
                </a:cubicBezTo>
                <a:cubicBezTo>
                  <a:pt x="1435" y="545"/>
                  <a:pt x="1431" y="545"/>
                  <a:pt x="1427" y="546"/>
                </a:cubicBezTo>
                <a:cubicBezTo>
                  <a:pt x="1423" y="547"/>
                  <a:pt x="1419" y="550"/>
                  <a:pt x="1416" y="554"/>
                </a:cubicBezTo>
                <a:cubicBezTo>
                  <a:pt x="1412" y="557"/>
                  <a:pt x="1410" y="561"/>
                  <a:pt x="1408" y="565"/>
                </a:cubicBezTo>
                <a:cubicBezTo>
                  <a:pt x="1407" y="568"/>
                  <a:pt x="1407" y="572"/>
                  <a:pt x="1407" y="576"/>
                </a:cubicBezTo>
                <a:cubicBezTo>
                  <a:pt x="1408" y="580"/>
                  <a:pt x="1410" y="584"/>
                  <a:pt x="1412" y="588"/>
                </a:cubicBezTo>
                <a:cubicBezTo>
                  <a:pt x="1414" y="592"/>
                  <a:pt x="1417" y="596"/>
                  <a:pt x="1421" y="599"/>
                </a:cubicBezTo>
                <a:cubicBezTo>
                  <a:pt x="1424" y="603"/>
                  <a:pt x="1428" y="606"/>
                  <a:pt x="1432" y="608"/>
                </a:cubicBezTo>
                <a:cubicBezTo>
                  <a:pt x="1436" y="611"/>
                  <a:pt x="1439" y="612"/>
                  <a:pt x="1443" y="613"/>
                </a:cubicBezTo>
                <a:cubicBezTo>
                  <a:pt x="1447" y="614"/>
                  <a:pt x="1451" y="614"/>
                  <a:pt x="1455" y="613"/>
                </a:cubicBezTo>
                <a:cubicBezTo>
                  <a:pt x="1459" y="611"/>
                  <a:pt x="1463" y="609"/>
                  <a:pt x="1467" y="605"/>
                </a:cubicBezTo>
                <a:cubicBezTo>
                  <a:pt x="1470" y="602"/>
                  <a:pt x="1472" y="598"/>
                  <a:pt x="1474" y="594"/>
                </a:cubicBezTo>
                <a:cubicBezTo>
                  <a:pt x="1475" y="590"/>
                  <a:pt x="1475" y="587"/>
                  <a:pt x="1475" y="583"/>
                </a:cubicBezTo>
                <a:cubicBezTo>
                  <a:pt x="1474" y="579"/>
                  <a:pt x="1473" y="575"/>
                  <a:pt x="1470" y="571"/>
                </a:cubicBezTo>
                <a:cubicBezTo>
                  <a:pt x="1468" y="567"/>
                  <a:pt x="1465" y="563"/>
                  <a:pt x="1461" y="560"/>
                </a:cubicBezTo>
                <a:close/>
                <a:moveTo>
                  <a:pt x="1580" y="505"/>
                </a:moveTo>
                <a:cubicBezTo>
                  <a:pt x="1581" y="505"/>
                  <a:pt x="1581" y="506"/>
                  <a:pt x="1581" y="506"/>
                </a:cubicBezTo>
                <a:cubicBezTo>
                  <a:pt x="1581" y="507"/>
                  <a:pt x="1581" y="507"/>
                  <a:pt x="1581" y="508"/>
                </a:cubicBezTo>
                <a:cubicBezTo>
                  <a:pt x="1581" y="508"/>
                  <a:pt x="1580" y="509"/>
                  <a:pt x="1580" y="510"/>
                </a:cubicBezTo>
                <a:cubicBezTo>
                  <a:pt x="1579" y="511"/>
                  <a:pt x="1578" y="512"/>
                  <a:pt x="1577" y="513"/>
                </a:cubicBezTo>
                <a:cubicBezTo>
                  <a:pt x="1576" y="514"/>
                  <a:pt x="1575" y="515"/>
                  <a:pt x="1574" y="516"/>
                </a:cubicBezTo>
                <a:cubicBezTo>
                  <a:pt x="1573" y="516"/>
                  <a:pt x="1572" y="517"/>
                  <a:pt x="1572" y="517"/>
                </a:cubicBezTo>
                <a:cubicBezTo>
                  <a:pt x="1571" y="517"/>
                  <a:pt x="1570" y="517"/>
                  <a:pt x="1570" y="517"/>
                </a:cubicBezTo>
                <a:cubicBezTo>
                  <a:pt x="1569" y="517"/>
                  <a:pt x="1569" y="517"/>
                  <a:pt x="1569" y="517"/>
                </a:cubicBezTo>
                <a:lnTo>
                  <a:pt x="1531" y="479"/>
                </a:lnTo>
                <a:cubicBezTo>
                  <a:pt x="1527" y="475"/>
                  <a:pt x="1524" y="472"/>
                  <a:pt x="1521" y="471"/>
                </a:cubicBezTo>
                <a:cubicBezTo>
                  <a:pt x="1518" y="469"/>
                  <a:pt x="1515" y="468"/>
                  <a:pt x="1513" y="467"/>
                </a:cubicBezTo>
                <a:cubicBezTo>
                  <a:pt x="1510" y="467"/>
                  <a:pt x="1507" y="467"/>
                  <a:pt x="1505" y="468"/>
                </a:cubicBezTo>
                <a:cubicBezTo>
                  <a:pt x="1502" y="469"/>
                  <a:pt x="1500" y="470"/>
                  <a:pt x="1497" y="473"/>
                </a:cubicBezTo>
                <a:cubicBezTo>
                  <a:pt x="1494" y="476"/>
                  <a:pt x="1492" y="480"/>
                  <a:pt x="1492" y="485"/>
                </a:cubicBezTo>
                <a:cubicBezTo>
                  <a:pt x="1491" y="490"/>
                  <a:pt x="1491" y="496"/>
                  <a:pt x="1492" y="503"/>
                </a:cubicBezTo>
                <a:lnTo>
                  <a:pt x="1537" y="549"/>
                </a:lnTo>
                <a:cubicBezTo>
                  <a:pt x="1537" y="549"/>
                  <a:pt x="1537" y="549"/>
                  <a:pt x="1537" y="550"/>
                </a:cubicBezTo>
                <a:cubicBezTo>
                  <a:pt x="1537" y="550"/>
                  <a:pt x="1537" y="551"/>
                  <a:pt x="1537" y="551"/>
                </a:cubicBezTo>
                <a:cubicBezTo>
                  <a:pt x="1537" y="552"/>
                  <a:pt x="1536" y="553"/>
                  <a:pt x="1536" y="554"/>
                </a:cubicBezTo>
                <a:cubicBezTo>
                  <a:pt x="1535" y="555"/>
                  <a:pt x="1534" y="556"/>
                  <a:pt x="1533" y="557"/>
                </a:cubicBezTo>
                <a:cubicBezTo>
                  <a:pt x="1532" y="558"/>
                  <a:pt x="1531" y="559"/>
                  <a:pt x="1530" y="560"/>
                </a:cubicBezTo>
                <a:cubicBezTo>
                  <a:pt x="1529" y="560"/>
                  <a:pt x="1528" y="561"/>
                  <a:pt x="1528" y="561"/>
                </a:cubicBezTo>
                <a:cubicBezTo>
                  <a:pt x="1527" y="561"/>
                  <a:pt x="1526" y="561"/>
                  <a:pt x="1526" y="561"/>
                </a:cubicBezTo>
                <a:cubicBezTo>
                  <a:pt x="1526" y="561"/>
                  <a:pt x="1525" y="561"/>
                  <a:pt x="1525" y="560"/>
                </a:cubicBezTo>
                <a:lnTo>
                  <a:pt x="1460" y="496"/>
                </a:lnTo>
                <a:cubicBezTo>
                  <a:pt x="1460" y="495"/>
                  <a:pt x="1460" y="495"/>
                  <a:pt x="1459" y="495"/>
                </a:cubicBezTo>
                <a:cubicBezTo>
                  <a:pt x="1459" y="494"/>
                  <a:pt x="1459" y="494"/>
                  <a:pt x="1460" y="493"/>
                </a:cubicBezTo>
                <a:cubicBezTo>
                  <a:pt x="1460" y="492"/>
                  <a:pt x="1460" y="492"/>
                  <a:pt x="1461" y="491"/>
                </a:cubicBezTo>
                <a:cubicBezTo>
                  <a:pt x="1461" y="490"/>
                  <a:pt x="1462" y="489"/>
                  <a:pt x="1463" y="488"/>
                </a:cubicBezTo>
                <a:cubicBezTo>
                  <a:pt x="1464" y="487"/>
                  <a:pt x="1465" y="486"/>
                  <a:pt x="1466" y="486"/>
                </a:cubicBezTo>
                <a:cubicBezTo>
                  <a:pt x="1467" y="485"/>
                  <a:pt x="1468" y="485"/>
                  <a:pt x="1468" y="485"/>
                </a:cubicBezTo>
                <a:cubicBezTo>
                  <a:pt x="1469" y="484"/>
                  <a:pt x="1469" y="484"/>
                  <a:pt x="1470" y="484"/>
                </a:cubicBezTo>
                <a:cubicBezTo>
                  <a:pt x="1470" y="484"/>
                  <a:pt x="1471" y="485"/>
                  <a:pt x="1471" y="485"/>
                </a:cubicBezTo>
                <a:lnTo>
                  <a:pt x="1479" y="494"/>
                </a:lnTo>
                <a:cubicBezTo>
                  <a:pt x="1479" y="486"/>
                  <a:pt x="1480" y="479"/>
                  <a:pt x="1481" y="474"/>
                </a:cubicBezTo>
                <a:cubicBezTo>
                  <a:pt x="1483" y="468"/>
                  <a:pt x="1486" y="464"/>
                  <a:pt x="1490" y="460"/>
                </a:cubicBezTo>
                <a:cubicBezTo>
                  <a:pt x="1494" y="456"/>
                  <a:pt x="1498" y="453"/>
                  <a:pt x="1503" y="451"/>
                </a:cubicBezTo>
                <a:cubicBezTo>
                  <a:pt x="1507" y="450"/>
                  <a:pt x="1511" y="449"/>
                  <a:pt x="1516" y="450"/>
                </a:cubicBezTo>
                <a:cubicBezTo>
                  <a:pt x="1520" y="451"/>
                  <a:pt x="1524" y="452"/>
                  <a:pt x="1528" y="455"/>
                </a:cubicBezTo>
                <a:cubicBezTo>
                  <a:pt x="1532" y="457"/>
                  <a:pt x="1536" y="461"/>
                  <a:pt x="1541" y="465"/>
                </a:cubicBezTo>
                <a:lnTo>
                  <a:pt x="1580" y="505"/>
                </a:lnTo>
                <a:close/>
                <a:moveTo>
                  <a:pt x="1713" y="373"/>
                </a:moveTo>
                <a:cubicBezTo>
                  <a:pt x="1713" y="373"/>
                  <a:pt x="1713" y="373"/>
                  <a:pt x="1713" y="374"/>
                </a:cubicBezTo>
                <a:cubicBezTo>
                  <a:pt x="1713" y="374"/>
                  <a:pt x="1713" y="375"/>
                  <a:pt x="1713" y="375"/>
                </a:cubicBezTo>
                <a:cubicBezTo>
                  <a:pt x="1713" y="376"/>
                  <a:pt x="1712" y="377"/>
                  <a:pt x="1712" y="378"/>
                </a:cubicBezTo>
                <a:cubicBezTo>
                  <a:pt x="1711" y="379"/>
                  <a:pt x="1710" y="380"/>
                  <a:pt x="1708" y="381"/>
                </a:cubicBezTo>
                <a:cubicBezTo>
                  <a:pt x="1707" y="383"/>
                  <a:pt x="1706" y="384"/>
                  <a:pt x="1705" y="384"/>
                </a:cubicBezTo>
                <a:cubicBezTo>
                  <a:pt x="1704" y="385"/>
                  <a:pt x="1703" y="386"/>
                  <a:pt x="1703" y="386"/>
                </a:cubicBezTo>
                <a:cubicBezTo>
                  <a:pt x="1702" y="386"/>
                  <a:pt x="1701" y="386"/>
                  <a:pt x="1701" y="386"/>
                </a:cubicBezTo>
                <a:cubicBezTo>
                  <a:pt x="1700" y="386"/>
                  <a:pt x="1699" y="386"/>
                  <a:pt x="1699" y="385"/>
                </a:cubicBezTo>
                <a:lnTo>
                  <a:pt x="1668" y="372"/>
                </a:lnTo>
                <a:cubicBezTo>
                  <a:pt x="1665" y="370"/>
                  <a:pt x="1661" y="369"/>
                  <a:pt x="1658" y="368"/>
                </a:cubicBezTo>
                <a:cubicBezTo>
                  <a:pt x="1655" y="367"/>
                  <a:pt x="1652" y="367"/>
                  <a:pt x="1649" y="367"/>
                </a:cubicBezTo>
                <a:cubicBezTo>
                  <a:pt x="1646" y="367"/>
                  <a:pt x="1643" y="367"/>
                  <a:pt x="1640" y="368"/>
                </a:cubicBezTo>
                <a:cubicBezTo>
                  <a:pt x="1637" y="370"/>
                  <a:pt x="1634" y="372"/>
                  <a:pt x="1632" y="374"/>
                </a:cubicBezTo>
                <a:lnTo>
                  <a:pt x="1623" y="383"/>
                </a:lnTo>
                <a:lnTo>
                  <a:pt x="1663" y="422"/>
                </a:lnTo>
                <a:cubicBezTo>
                  <a:pt x="1663" y="423"/>
                  <a:pt x="1664" y="423"/>
                  <a:pt x="1664" y="424"/>
                </a:cubicBezTo>
                <a:cubicBezTo>
                  <a:pt x="1664" y="424"/>
                  <a:pt x="1664" y="425"/>
                  <a:pt x="1663" y="425"/>
                </a:cubicBezTo>
                <a:cubicBezTo>
                  <a:pt x="1663" y="426"/>
                  <a:pt x="1663" y="427"/>
                  <a:pt x="1662" y="428"/>
                </a:cubicBezTo>
                <a:cubicBezTo>
                  <a:pt x="1661" y="428"/>
                  <a:pt x="1660" y="429"/>
                  <a:pt x="1659" y="431"/>
                </a:cubicBezTo>
                <a:cubicBezTo>
                  <a:pt x="1658" y="432"/>
                  <a:pt x="1657" y="433"/>
                  <a:pt x="1656" y="433"/>
                </a:cubicBezTo>
                <a:cubicBezTo>
                  <a:pt x="1655" y="434"/>
                  <a:pt x="1654" y="435"/>
                  <a:pt x="1654" y="435"/>
                </a:cubicBezTo>
                <a:cubicBezTo>
                  <a:pt x="1653" y="435"/>
                  <a:pt x="1652" y="435"/>
                  <a:pt x="1652" y="435"/>
                </a:cubicBezTo>
                <a:cubicBezTo>
                  <a:pt x="1651" y="435"/>
                  <a:pt x="1651" y="435"/>
                  <a:pt x="1651" y="435"/>
                </a:cubicBezTo>
                <a:lnTo>
                  <a:pt x="1565" y="349"/>
                </a:lnTo>
                <a:cubicBezTo>
                  <a:pt x="1563" y="347"/>
                  <a:pt x="1562" y="345"/>
                  <a:pt x="1562" y="343"/>
                </a:cubicBezTo>
                <a:cubicBezTo>
                  <a:pt x="1562" y="341"/>
                  <a:pt x="1563" y="340"/>
                  <a:pt x="1564" y="339"/>
                </a:cubicBezTo>
                <a:lnTo>
                  <a:pt x="1584" y="319"/>
                </a:lnTo>
                <a:cubicBezTo>
                  <a:pt x="1586" y="317"/>
                  <a:pt x="1588" y="315"/>
                  <a:pt x="1590" y="313"/>
                </a:cubicBezTo>
                <a:cubicBezTo>
                  <a:pt x="1592" y="312"/>
                  <a:pt x="1593" y="311"/>
                  <a:pt x="1594" y="310"/>
                </a:cubicBezTo>
                <a:cubicBezTo>
                  <a:pt x="1599" y="307"/>
                  <a:pt x="1603" y="305"/>
                  <a:pt x="1607" y="303"/>
                </a:cubicBezTo>
                <a:cubicBezTo>
                  <a:pt x="1611" y="302"/>
                  <a:pt x="1615" y="301"/>
                  <a:pt x="1619" y="301"/>
                </a:cubicBezTo>
                <a:cubicBezTo>
                  <a:pt x="1623" y="301"/>
                  <a:pt x="1627" y="302"/>
                  <a:pt x="1630" y="304"/>
                </a:cubicBezTo>
                <a:cubicBezTo>
                  <a:pt x="1634" y="306"/>
                  <a:pt x="1637" y="308"/>
                  <a:pt x="1640" y="312"/>
                </a:cubicBezTo>
                <a:cubicBezTo>
                  <a:pt x="1644" y="315"/>
                  <a:pt x="1646" y="318"/>
                  <a:pt x="1648" y="321"/>
                </a:cubicBezTo>
                <a:cubicBezTo>
                  <a:pt x="1649" y="324"/>
                  <a:pt x="1650" y="328"/>
                  <a:pt x="1650" y="331"/>
                </a:cubicBezTo>
                <a:cubicBezTo>
                  <a:pt x="1651" y="335"/>
                  <a:pt x="1651" y="338"/>
                  <a:pt x="1650" y="342"/>
                </a:cubicBezTo>
                <a:cubicBezTo>
                  <a:pt x="1649" y="346"/>
                  <a:pt x="1648" y="349"/>
                  <a:pt x="1646" y="353"/>
                </a:cubicBezTo>
                <a:cubicBezTo>
                  <a:pt x="1648" y="352"/>
                  <a:pt x="1650" y="351"/>
                  <a:pt x="1653" y="351"/>
                </a:cubicBezTo>
                <a:cubicBezTo>
                  <a:pt x="1655" y="351"/>
                  <a:pt x="1657" y="351"/>
                  <a:pt x="1660" y="351"/>
                </a:cubicBezTo>
                <a:cubicBezTo>
                  <a:pt x="1662" y="352"/>
                  <a:pt x="1665" y="352"/>
                  <a:pt x="1668" y="353"/>
                </a:cubicBezTo>
                <a:cubicBezTo>
                  <a:pt x="1671" y="354"/>
                  <a:pt x="1674" y="355"/>
                  <a:pt x="1677" y="357"/>
                </a:cubicBezTo>
                <a:lnTo>
                  <a:pt x="1706" y="369"/>
                </a:lnTo>
                <a:cubicBezTo>
                  <a:pt x="1708" y="370"/>
                  <a:pt x="1710" y="371"/>
                  <a:pt x="1711" y="371"/>
                </a:cubicBezTo>
                <a:cubicBezTo>
                  <a:pt x="1712" y="372"/>
                  <a:pt x="1712" y="372"/>
                  <a:pt x="1713" y="373"/>
                </a:cubicBezTo>
                <a:close/>
                <a:moveTo>
                  <a:pt x="1629" y="326"/>
                </a:moveTo>
                <a:cubicBezTo>
                  <a:pt x="1625" y="322"/>
                  <a:pt x="1621" y="320"/>
                  <a:pt x="1617" y="319"/>
                </a:cubicBezTo>
                <a:cubicBezTo>
                  <a:pt x="1613" y="318"/>
                  <a:pt x="1608" y="319"/>
                  <a:pt x="1603" y="322"/>
                </a:cubicBezTo>
                <a:cubicBezTo>
                  <a:pt x="1602" y="323"/>
                  <a:pt x="1600" y="324"/>
                  <a:pt x="1599" y="325"/>
                </a:cubicBezTo>
                <a:cubicBezTo>
                  <a:pt x="1597" y="327"/>
                  <a:pt x="1595" y="328"/>
                  <a:pt x="1592" y="331"/>
                </a:cubicBezTo>
                <a:lnTo>
                  <a:pt x="1582" y="341"/>
                </a:lnTo>
                <a:lnTo>
                  <a:pt x="1613" y="373"/>
                </a:lnTo>
                <a:lnTo>
                  <a:pt x="1625" y="361"/>
                </a:lnTo>
                <a:cubicBezTo>
                  <a:pt x="1629" y="357"/>
                  <a:pt x="1631" y="354"/>
                  <a:pt x="1633" y="351"/>
                </a:cubicBezTo>
                <a:cubicBezTo>
                  <a:pt x="1634" y="348"/>
                  <a:pt x="1635" y="345"/>
                  <a:pt x="1635" y="342"/>
                </a:cubicBezTo>
                <a:cubicBezTo>
                  <a:pt x="1635" y="339"/>
                  <a:pt x="1635" y="336"/>
                  <a:pt x="1634" y="333"/>
                </a:cubicBezTo>
                <a:cubicBezTo>
                  <a:pt x="1633" y="331"/>
                  <a:pt x="1631" y="328"/>
                  <a:pt x="1629" y="326"/>
                </a:cubicBezTo>
                <a:close/>
                <a:moveTo>
                  <a:pt x="1749" y="267"/>
                </a:moveTo>
                <a:cubicBezTo>
                  <a:pt x="1750" y="268"/>
                  <a:pt x="1751" y="270"/>
                  <a:pt x="1751" y="272"/>
                </a:cubicBezTo>
                <a:cubicBezTo>
                  <a:pt x="1751" y="274"/>
                  <a:pt x="1750" y="275"/>
                  <a:pt x="1749" y="276"/>
                </a:cubicBezTo>
                <a:lnTo>
                  <a:pt x="1707" y="319"/>
                </a:lnTo>
                <a:cubicBezTo>
                  <a:pt x="1710" y="322"/>
                  <a:pt x="1714" y="325"/>
                  <a:pt x="1717" y="327"/>
                </a:cubicBezTo>
                <a:cubicBezTo>
                  <a:pt x="1721" y="330"/>
                  <a:pt x="1725" y="331"/>
                  <a:pt x="1728" y="331"/>
                </a:cubicBezTo>
                <a:cubicBezTo>
                  <a:pt x="1732" y="332"/>
                  <a:pt x="1736" y="331"/>
                  <a:pt x="1740" y="329"/>
                </a:cubicBezTo>
                <a:cubicBezTo>
                  <a:pt x="1743" y="328"/>
                  <a:pt x="1747" y="325"/>
                  <a:pt x="1751" y="321"/>
                </a:cubicBezTo>
                <a:cubicBezTo>
                  <a:pt x="1754" y="318"/>
                  <a:pt x="1757" y="315"/>
                  <a:pt x="1759" y="312"/>
                </a:cubicBezTo>
                <a:cubicBezTo>
                  <a:pt x="1761" y="309"/>
                  <a:pt x="1762" y="307"/>
                  <a:pt x="1763" y="304"/>
                </a:cubicBezTo>
                <a:cubicBezTo>
                  <a:pt x="1764" y="302"/>
                  <a:pt x="1765" y="300"/>
                  <a:pt x="1766" y="298"/>
                </a:cubicBezTo>
                <a:cubicBezTo>
                  <a:pt x="1766" y="297"/>
                  <a:pt x="1767" y="296"/>
                  <a:pt x="1768" y="295"/>
                </a:cubicBezTo>
                <a:cubicBezTo>
                  <a:pt x="1768" y="295"/>
                  <a:pt x="1768" y="294"/>
                  <a:pt x="1769" y="294"/>
                </a:cubicBezTo>
                <a:cubicBezTo>
                  <a:pt x="1769" y="294"/>
                  <a:pt x="1770" y="294"/>
                  <a:pt x="1770" y="294"/>
                </a:cubicBezTo>
                <a:cubicBezTo>
                  <a:pt x="1771" y="295"/>
                  <a:pt x="1771" y="295"/>
                  <a:pt x="1772" y="296"/>
                </a:cubicBezTo>
                <a:cubicBezTo>
                  <a:pt x="1773" y="296"/>
                  <a:pt x="1773" y="297"/>
                  <a:pt x="1774" y="298"/>
                </a:cubicBezTo>
                <a:cubicBezTo>
                  <a:pt x="1775" y="298"/>
                  <a:pt x="1775" y="299"/>
                  <a:pt x="1776" y="299"/>
                </a:cubicBezTo>
                <a:cubicBezTo>
                  <a:pt x="1776" y="300"/>
                  <a:pt x="1776" y="300"/>
                  <a:pt x="1777" y="301"/>
                </a:cubicBezTo>
                <a:cubicBezTo>
                  <a:pt x="1777" y="301"/>
                  <a:pt x="1777" y="302"/>
                  <a:pt x="1777" y="302"/>
                </a:cubicBezTo>
                <a:cubicBezTo>
                  <a:pt x="1777" y="302"/>
                  <a:pt x="1778" y="303"/>
                  <a:pt x="1778" y="304"/>
                </a:cubicBezTo>
                <a:cubicBezTo>
                  <a:pt x="1778" y="304"/>
                  <a:pt x="1777" y="305"/>
                  <a:pt x="1776" y="307"/>
                </a:cubicBezTo>
                <a:cubicBezTo>
                  <a:pt x="1776" y="309"/>
                  <a:pt x="1775" y="311"/>
                  <a:pt x="1773" y="314"/>
                </a:cubicBezTo>
                <a:cubicBezTo>
                  <a:pt x="1772" y="317"/>
                  <a:pt x="1770" y="319"/>
                  <a:pt x="1768" y="323"/>
                </a:cubicBezTo>
                <a:cubicBezTo>
                  <a:pt x="1765" y="326"/>
                  <a:pt x="1763" y="329"/>
                  <a:pt x="1760" y="332"/>
                </a:cubicBezTo>
                <a:cubicBezTo>
                  <a:pt x="1754" y="337"/>
                  <a:pt x="1749" y="341"/>
                  <a:pt x="1743" y="344"/>
                </a:cubicBezTo>
                <a:cubicBezTo>
                  <a:pt x="1738" y="346"/>
                  <a:pt x="1732" y="347"/>
                  <a:pt x="1727" y="347"/>
                </a:cubicBezTo>
                <a:cubicBezTo>
                  <a:pt x="1721" y="347"/>
                  <a:pt x="1715" y="345"/>
                  <a:pt x="1710" y="342"/>
                </a:cubicBezTo>
                <a:cubicBezTo>
                  <a:pt x="1704" y="339"/>
                  <a:pt x="1698" y="335"/>
                  <a:pt x="1692" y="329"/>
                </a:cubicBezTo>
                <a:cubicBezTo>
                  <a:pt x="1687" y="324"/>
                  <a:pt x="1682" y="318"/>
                  <a:pt x="1679" y="312"/>
                </a:cubicBezTo>
                <a:cubicBezTo>
                  <a:pt x="1676" y="306"/>
                  <a:pt x="1675" y="300"/>
                  <a:pt x="1674" y="294"/>
                </a:cubicBezTo>
                <a:cubicBezTo>
                  <a:pt x="1674" y="289"/>
                  <a:pt x="1675" y="283"/>
                  <a:pt x="1677" y="278"/>
                </a:cubicBezTo>
                <a:cubicBezTo>
                  <a:pt x="1679" y="272"/>
                  <a:pt x="1683" y="267"/>
                  <a:pt x="1687" y="262"/>
                </a:cubicBezTo>
                <a:cubicBezTo>
                  <a:pt x="1692" y="257"/>
                  <a:pt x="1698" y="254"/>
                  <a:pt x="1703" y="252"/>
                </a:cubicBezTo>
                <a:cubicBezTo>
                  <a:pt x="1708" y="250"/>
                  <a:pt x="1713" y="249"/>
                  <a:pt x="1718" y="249"/>
                </a:cubicBezTo>
                <a:cubicBezTo>
                  <a:pt x="1723" y="250"/>
                  <a:pt x="1728" y="251"/>
                  <a:pt x="1733" y="254"/>
                </a:cubicBezTo>
                <a:cubicBezTo>
                  <a:pt x="1738" y="257"/>
                  <a:pt x="1742" y="260"/>
                  <a:pt x="1746" y="264"/>
                </a:cubicBezTo>
                <a:lnTo>
                  <a:pt x="1749" y="267"/>
                </a:lnTo>
                <a:close/>
                <a:moveTo>
                  <a:pt x="1733" y="275"/>
                </a:moveTo>
                <a:cubicBezTo>
                  <a:pt x="1727" y="269"/>
                  <a:pt x="1721" y="265"/>
                  <a:pt x="1714" y="264"/>
                </a:cubicBezTo>
                <a:cubicBezTo>
                  <a:pt x="1708" y="264"/>
                  <a:pt x="1702" y="266"/>
                  <a:pt x="1696" y="272"/>
                </a:cubicBezTo>
                <a:cubicBezTo>
                  <a:pt x="1693" y="275"/>
                  <a:pt x="1691" y="278"/>
                  <a:pt x="1690" y="281"/>
                </a:cubicBezTo>
                <a:cubicBezTo>
                  <a:pt x="1689" y="285"/>
                  <a:pt x="1688" y="288"/>
                  <a:pt x="1689" y="291"/>
                </a:cubicBezTo>
                <a:cubicBezTo>
                  <a:pt x="1689" y="295"/>
                  <a:pt x="1690" y="298"/>
                  <a:pt x="1692" y="301"/>
                </a:cubicBezTo>
                <a:cubicBezTo>
                  <a:pt x="1693" y="304"/>
                  <a:pt x="1695" y="307"/>
                  <a:pt x="1698" y="310"/>
                </a:cubicBezTo>
                <a:lnTo>
                  <a:pt x="1733" y="275"/>
                </a:lnTo>
                <a:close/>
                <a:moveTo>
                  <a:pt x="1820" y="266"/>
                </a:moveTo>
                <a:cubicBezTo>
                  <a:pt x="1820" y="266"/>
                  <a:pt x="1820" y="267"/>
                  <a:pt x="1820" y="267"/>
                </a:cubicBezTo>
                <a:cubicBezTo>
                  <a:pt x="1820" y="267"/>
                  <a:pt x="1820" y="268"/>
                  <a:pt x="1820" y="269"/>
                </a:cubicBezTo>
                <a:cubicBezTo>
                  <a:pt x="1820" y="269"/>
                  <a:pt x="1819" y="270"/>
                  <a:pt x="1819" y="271"/>
                </a:cubicBezTo>
                <a:cubicBezTo>
                  <a:pt x="1818" y="272"/>
                  <a:pt x="1817" y="273"/>
                  <a:pt x="1816" y="274"/>
                </a:cubicBezTo>
                <a:cubicBezTo>
                  <a:pt x="1815" y="275"/>
                  <a:pt x="1814" y="276"/>
                  <a:pt x="1813" y="277"/>
                </a:cubicBezTo>
                <a:cubicBezTo>
                  <a:pt x="1812" y="277"/>
                  <a:pt x="1811" y="278"/>
                  <a:pt x="1811" y="278"/>
                </a:cubicBezTo>
                <a:cubicBezTo>
                  <a:pt x="1810" y="278"/>
                  <a:pt x="1809" y="278"/>
                  <a:pt x="1809" y="278"/>
                </a:cubicBezTo>
                <a:cubicBezTo>
                  <a:pt x="1808" y="278"/>
                  <a:pt x="1808" y="278"/>
                  <a:pt x="1808" y="278"/>
                </a:cubicBezTo>
                <a:lnTo>
                  <a:pt x="1712" y="182"/>
                </a:lnTo>
                <a:cubicBezTo>
                  <a:pt x="1711" y="181"/>
                  <a:pt x="1711" y="181"/>
                  <a:pt x="1711" y="180"/>
                </a:cubicBezTo>
                <a:cubicBezTo>
                  <a:pt x="1711" y="180"/>
                  <a:pt x="1711" y="179"/>
                  <a:pt x="1711" y="179"/>
                </a:cubicBezTo>
                <a:cubicBezTo>
                  <a:pt x="1711" y="178"/>
                  <a:pt x="1712" y="177"/>
                  <a:pt x="1713" y="176"/>
                </a:cubicBezTo>
                <a:cubicBezTo>
                  <a:pt x="1713" y="176"/>
                  <a:pt x="1714" y="175"/>
                  <a:pt x="1715" y="173"/>
                </a:cubicBezTo>
                <a:cubicBezTo>
                  <a:pt x="1717" y="172"/>
                  <a:pt x="1718" y="171"/>
                  <a:pt x="1718" y="171"/>
                </a:cubicBezTo>
                <a:cubicBezTo>
                  <a:pt x="1719" y="170"/>
                  <a:pt x="1720" y="170"/>
                  <a:pt x="1721" y="169"/>
                </a:cubicBezTo>
                <a:cubicBezTo>
                  <a:pt x="1721" y="169"/>
                  <a:pt x="1722" y="169"/>
                  <a:pt x="1722" y="169"/>
                </a:cubicBezTo>
                <a:cubicBezTo>
                  <a:pt x="1723" y="169"/>
                  <a:pt x="1723" y="169"/>
                  <a:pt x="1724" y="170"/>
                </a:cubicBezTo>
                <a:lnTo>
                  <a:pt x="1820" y="266"/>
                </a:lnTo>
                <a:close/>
                <a:moveTo>
                  <a:pt x="1853" y="232"/>
                </a:moveTo>
                <a:cubicBezTo>
                  <a:pt x="1854" y="232"/>
                  <a:pt x="1854" y="233"/>
                  <a:pt x="1854" y="233"/>
                </a:cubicBezTo>
                <a:cubicBezTo>
                  <a:pt x="1854" y="234"/>
                  <a:pt x="1854" y="234"/>
                  <a:pt x="1854" y="235"/>
                </a:cubicBezTo>
                <a:cubicBezTo>
                  <a:pt x="1854" y="235"/>
                  <a:pt x="1853" y="236"/>
                  <a:pt x="1853" y="237"/>
                </a:cubicBezTo>
                <a:cubicBezTo>
                  <a:pt x="1852" y="238"/>
                  <a:pt x="1851" y="239"/>
                  <a:pt x="1850" y="240"/>
                </a:cubicBezTo>
                <a:cubicBezTo>
                  <a:pt x="1849" y="241"/>
                  <a:pt x="1848" y="242"/>
                  <a:pt x="1847" y="243"/>
                </a:cubicBezTo>
                <a:cubicBezTo>
                  <a:pt x="1846" y="243"/>
                  <a:pt x="1845" y="244"/>
                  <a:pt x="1844" y="244"/>
                </a:cubicBezTo>
                <a:cubicBezTo>
                  <a:pt x="1844" y="244"/>
                  <a:pt x="1843" y="244"/>
                  <a:pt x="1843" y="244"/>
                </a:cubicBezTo>
                <a:cubicBezTo>
                  <a:pt x="1842" y="244"/>
                  <a:pt x="1842" y="244"/>
                  <a:pt x="1842" y="244"/>
                </a:cubicBezTo>
                <a:lnTo>
                  <a:pt x="1777" y="179"/>
                </a:lnTo>
                <a:cubicBezTo>
                  <a:pt x="1777" y="179"/>
                  <a:pt x="1776" y="178"/>
                  <a:pt x="1776" y="178"/>
                </a:cubicBezTo>
                <a:cubicBezTo>
                  <a:pt x="1776" y="177"/>
                  <a:pt x="1776" y="177"/>
                  <a:pt x="1777" y="176"/>
                </a:cubicBezTo>
                <a:cubicBezTo>
                  <a:pt x="1777" y="176"/>
                  <a:pt x="1777" y="175"/>
                  <a:pt x="1778" y="174"/>
                </a:cubicBezTo>
                <a:cubicBezTo>
                  <a:pt x="1779" y="173"/>
                  <a:pt x="1780" y="172"/>
                  <a:pt x="1781" y="171"/>
                </a:cubicBezTo>
                <a:cubicBezTo>
                  <a:pt x="1782" y="170"/>
                  <a:pt x="1783" y="169"/>
                  <a:pt x="1784" y="168"/>
                </a:cubicBezTo>
                <a:cubicBezTo>
                  <a:pt x="1785" y="167"/>
                  <a:pt x="1785" y="167"/>
                  <a:pt x="1786" y="167"/>
                </a:cubicBezTo>
                <a:cubicBezTo>
                  <a:pt x="1787" y="167"/>
                  <a:pt x="1787" y="166"/>
                  <a:pt x="1788" y="167"/>
                </a:cubicBezTo>
                <a:cubicBezTo>
                  <a:pt x="1788" y="167"/>
                  <a:pt x="1789" y="167"/>
                  <a:pt x="1789" y="167"/>
                </a:cubicBezTo>
                <a:lnTo>
                  <a:pt x="1853" y="232"/>
                </a:lnTo>
                <a:close/>
                <a:moveTo>
                  <a:pt x="1768" y="144"/>
                </a:moveTo>
                <a:cubicBezTo>
                  <a:pt x="1771" y="147"/>
                  <a:pt x="1773" y="149"/>
                  <a:pt x="1772" y="151"/>
                </a:cubicBezTo>
                <a:cubicBezTo>
                  <a:pt x="1772" y="153"/>
                  <a:pt x="1771" y="156"/>
                  <a:pt x="1768" y="159"/>
                </a:cubicBezTo>
                <a:cubicBezTo>
                  <a:pt x="1765" y="161"/>
                  <a:pt x="1763" y="163"/>
                  <a:pt x="1761" y="163"/>
                </a:cubicBezTo>
                <a:cubicBezTo>
                  <a:pt x="1759" y="163"/>
                  <a:pt x="1757" y="162"/>
                  <a:pt x="1754" y="159"/>
                </a:cubicBezTo>
                <a:cubicBezTo>
                  <a:pt x="1751" y="156"/>
                  <a:pt x="1750" y="154"/>
                  <a:pt x="1750" y="152"/>
                </a:cubicBezTo>
                <a:cubicBezTo>
                  <a:pt x="1750" y="149"/>
                  <a:pt x="1751" y="147"/>
                  <a:pt x="1754" y="144"/>
                </a:cubicBezTo>
                <a:cubicBezTo>
                  <a:pt x="1757" y="141"/>
                  <a:pt x="1759" y="140"/>
                  <a:pt x="1761" y="140"/>
                </a:cubicBezTo>
                <a:cubicBezTo>
                  <a:pt x="1763" y="140"/>
                  <a:pt x="1766" y="141"/>
                  <a:pt x="1768" y="144"/>
                </a:cubicBezTo>
                <a:close/>
                <a:moveTo>
                  <a:pt x="1896" y="119"/>
                </a:moveTo>
                <a:cubicBezTo>
                  <a:pt x="1897" y="121"/>
                  <a:pt x="1898" y="123"/>
                  <a:pt x="1898" y="125"/>
                </a:cubicBezTo>
                <a:cubicBezTo>
                  <a:pt x="1898" y="127"/>
                  <a:pt x="1897" y="128"/>
                  <a:pt x="1896" y="129"/>
                </a:cubicBezTo>
                <a:lnTo>
                  <a:pt x="1854" y="172"/>
                </a:lnTo>
                <a:cubicBezTo>
                  <a:pt x="1857" y="175"/>
                  <a:pt x="1861" y="178"/>
                  <a:pt x="1864" y="180"/>
                </a:cubicBezTo>
                <a:cubicBezTo>
                  <a:pt x="1868" y="183"/>
                  <a:pt x="1872" y="184"/>
                  <a:pt x="1875" y="184"/>
                </a:cubicBezTo>
                <a:cubicBezTo>
                  <a:pt x="1879" y="185"/>
                  <a:pt x="1883" y="184"/>
                  <a:pt x="1887" y="182"/>
                </a:cubicBezTo>
                <a:cubicBezTo>
                  <a:pt x="1890" y="181"/>
                  <a:pt x="1894" y="178"/>
                  <a:pt x="1898" y="174"/>
                </a:cubicBezTo>
                <a:cubicBezTo>
                  <a:pt x="1901" y="171"/>
                  <a:pt x="1904" y="168"/>
                  <a:pt x="1906" y="165"/>
                </a:cubicBezTo>
                <a:cubicBezTo>
                  <a:pt x="1908" y="162"/>
                  <a:pt x="1909" y="160"/>
                  <a:pt x="1910" y="157"/>
                </a:cubicBezTo>
                <a:cubicBezTo>
                  <a:pt x="1911" y="155"/>
                  <a:pt x="1912" y="153"/>
                  <a:pt x="1913" y="151"/>
                </a:cubicBezTo>
                <a:cubicBezTo>
                  <a:pt x="1914" y="150"/>
                  <a:pt x="1914" y="148"/>
                  <a:pt x="1915" y="148"/>
                </a:cubicBezTo>
                <a:cubicBezTo>
                  <a:pt x="1915" y="148"/>
                  <a:pt x="1915" y="147"/>
                  <a:pt x="1916" y="147"/>
                </a:cubicBezTo>
                <a:cubicBezTo>
                  <a:pt x="1916" y="147"/>
                  <a:pt x="1917" y="147"/>
                  <a:pt x="1917" y="147"/>
                </a:cubicBezTo>
                <a:cubicBezTo>
                  <a:pt x="1918" y="148"/>
                  <a:pt x="1918" y="148"/>
                  <a:pt x="1919" y="148"/>
                </a:cubicBezTo>
                <a:cubicBezTo>
                  <a:pt x="1920" y="149"/>
                  <a:pt x="1920" y="150"/>
                  <a:pt x="1921" y="151"/>
                </a:cubicBezTo>
                <a:cubicBezTo>
                  <a:pt x="1922" y="151"/>
                  <a:pt x="1922" y="152"/>
                  <a:pt x="1923" y="152"/>
                </a:cubicBezTo>
                <a:cubicBezTo>
                  <a:pt x="1923" y="153"/>
                  <a:pt x="1924" y="153"/>
                  <a:pt x="1924" y="154"/>
                </a:cubicBezTo>
                <a:cubicBezTo>
                  <a:pt x="1924" y="154"/>
                  <a:pt x="1924" y="155"/>
                  <a:pt x="1924" y="155"/>
                </a:cubicBezTo>
                <a:cubicBezTo>
                  <a:pt x="1925" y="155"/>
                  <a:pt x="1925" y="156"/>
                  <a:pt x="1925" y="156"/>
                </a:cubicBezTo>
                <a:cubicBezTo>
                  <a:pt x="1925" y="157"/>
                  <a:pt x="1924" y="158"/>
                  <a:pt x="1924" y="160"/>
                </a:cubicBezTo>
                <a:cubicBezTo>
                  <a:pt x="1923" y="162"/>
                  <a:pt x="1922" y="164"/>
                  <a:pt x="1920" y="167"/>
                </a:cubicBezTo>
                <a:cubicBezTo>
                  <a:pt x="1919" y="169"/>
                  <a:pt x="1917" y="172"/>
                  <a:pt x="1915" y="176"/>
                </a:cubicBezTo>
                <a:cubicBezTo>
                  <a:pt x="1912" y="179"/>
                  <a:pt x="1910" y="182"/>
                  <a:pt x="1907" y="185"/>
                </a:cubicBezTo>
                <a:cubicBezTo>
                  <a:pt x="1901" y="190"/>
                  <a:pt x="1896" y="194"/>
                  <a:pt x="1891" y="197"/>
                </a:cubicBezTo>
                <a:cubicBezTo>
                  <a:pt x="1885" y="199"/>
                  <a:pt x="1879" y="200"/>
                  <a:pt x="1874" y="200"/>
                </a:cubicBezTo>
                <a:cubicBezTo>
                  <a:pt x="1868" y="200"/>
                  <a:pt x="1862" y="198"/>
                  <a:pt x="1857" y="195"/>
                </a:cubicBezTo>
                <a:cubicBezTo>
                  <a:pt x="1851" y="192"/>
                  <a:pt x="1845" y="188"/>
                  <a:pt x="1839" y="182"/>
                </a:cubicBezTo>
                <a:cubicBezTo>
                  <a:pt x="1834" y="176"/>
                  <a:pt x="1829" y="171"/>
                  <a:pt x="1826" y="165"/>
                </a:cubicBezTo>
                <a:cubicBezTo>
                  <a:pt x="1823" y="159"/>
                  <a:pt x="1822" y="153"/>
                  <a:pt x="1821" y="147"/>
                </a:cubicBezTo>
                <a:cubicBezTo>
                  <a:pt x="1821" y="142"/>
                  <a:pt x="1822" y="136"/>
                  <a:pt x="1824" y="130"/>
                </a:cubicBezTo>
                <a:cubicBezTo>
                  <a:pt x="1826" y="125"/>
                  <a:pt x="1830" y="120"/>
                  <a:pt x="1834" y="115"/>
                </a:cubicBezTo>
                <a:cubicBezTo>
                  <a:pt x="1839" y="110"/>
                  <a:pt x="1845" y="107"/>
                  <a:pt x="1850" y="105"/>
                </a:cubicBezTo>
                <a:cubicBezTo>
                  <a:pt x="1855" y="103"/>
                  <a:pt x="1860" y="102"/>
                  <a:pt x="1865" y="102"/>
                </a:cubicBezTo>
                <a:cubicBezTo>
                  <a:pt x="1870" y="103"/>
                  <a:pt x="1875" y="104"/>
                  <a:pt x="1880" y="107"/>
                </a:cubicBezTo>
                <a:cubicBezTo>
                  <a:pt x="1885" y="110"/>
                  <a:pt x="1889" y="113"/>
                  <a:pt x="1893" y="117"/>
                </a:cubicBezTo>
                <a:lnTo>
                  <a:pt x="1896" y="119"/>
                </a:lnTo>
                <a:close/>
                <a:moveTo>
                  <a:pt x="1880" y="128"/>
                </a:moveTo>
                <a:cubicBezTo>
                  <a:pt x="1874" y="121"/>
                  <a:pt x="1868" y="118"/>
                  <a:pt x="1861" y="117"/>
                </a:cubicBezTo>
                <a:cubicBezTo>
                  <a:pt x="1855" y="117"/>
                  <a:pt x="1849" y="119"/>
                  <a:pt x="1843" y="125"/>
                </a:cubicBezTo>
                <a:cubicBezTo>
                  <a:pt x="1840" y="128"/>
                  <a:pt x="1838" y="131"/>
                  <a:pt x="1837" y="134"/>
                </a:cubicBezTo>
                <a:cubicBezTo>
                  <a:pt x="1836" y="138"/>
                  <a:pt x="1835" y="141"/>
                  <a:pt x="1836" y="144"/>
                </a:cubicBezTo>
                <a:cubicBezTo>
                  <a:pt x="1836" y="148"/>
                  <a:pt x="1837" y="151"/>
                  <a:pt x="1839" y="154"/>
                </a:cubicBezTo>
                <a:cubicBezTo>
                  <a:pt x="1840" y="157"/>
                  <a:pt x="1842" y="160"/>
                  <a:pt x="1845" y="163"/>
                </a:cubicBezTo>
                <a:lnTo>
                  <a:pt x="1880" y="128"/>
                </a:lnTo>
                <a:close/>
                <a:moveTo>
                  <a:pt x="1899" y="4"/>
                </a:moveTo>
                <a:cubicBezTo>
                  <a:pt x="1900" y="5"/>
                  <a:pt x="1901" y="6"/>
                  <a:pt x="1901" y="6"/>
                </a:cubicBezTo>
                <a:cubicBezTo>
                  <a:pt x="1901" y="7"/>
                  <a:pt x="1902" y="7"/>
                  <a:pt x="1902" y="8"/>
                </a:cubicBezTo>
                <a:cubicBezTo>
                  <a:pt x="1902" y="8"/>
                  <a:pt x="1902" y="9"/>
                  <a:pt x="1902" y="9"/>
                </a:cubicBezTo>
                <a:cubicBezTo>
                  <a:pt x="1902" y="9"/>
                  <a:pt x="1902" y="10"/>
                  <a:pt x="1902" y="10"/>
                </a:cubicBezTo>
                <a:cubicBezTo>
                  <a:pt x="1901" y="10"/>
                  <a:pt x="1901" y="11"/>
                  <a:pt x="1900" y="11"/>
                </a:cubicBezTo>
                <a:cubicBezTo>
                  <a:pt x="1899" y="11"/>
                  <a:pt x="1899" y="12"/>
                  <a:pt x="1898" y="12"/>
                </a:cubicBezTo>
                <a:cubicBezTo>
                  <a:pt x="1897" y="12"/>
                  <a:pt x="1895" y="13"/>
                  <a:pt x="1894" y="14"/>
                </a:cubicBezTo>
                <a:cubicBezTo>
                  <a:pt x="1893" y="15"/>
                  <a:pt x="1892" y="16"/>
                  <a:pt x="1891" y="17"/>
                </a:cubicBezTo>
                <a:cubicBezTo>
                  <a:pt x="1889" y="19"/>
                  <a:pt x="1888" y="20"/>
                  <a:pt x="1887" y="22"/>
                </a:cubicBezTo>
                <a:cubicBezTo>
                  <a:pt x="1886" y="24"/>
                  <a:pt x="1886" y="26"/>
                  <a:pt x="1887" y="28"/>
                </a:cubicBezTo>
                <a:cubicBezTo>
                  <a:pt x="1887" y="30"/>
                  <a:pt x="1888" y="32"/>
                  <a:pt x="1890" y="34"/>
                </a:cubicBezTo>
                <a:cubicBezTo>
                  <a:pt x="1891" y="37"/>
                  <a:pt x="1893" y="39"/>
                  <a:pt x="1896" y="42"/>
                </a:cubicBezTo>
                <a:lnTo>
                  <a:pt x="1903" y="49"/>
                </a:lnTo>
                <a:lnTo>
                  <a:pt x="1918" y="35"/>
                </a:lnTo>
                <a:cubicBezTo>
                  <a:pt x="1918" y="34"/>
                  <a:pt x="1918" y="34"/>
                  <a:pt x="1919" y="34"/>
                </a:cubicBezTo>
                <a:cubicBezTo>
                  <a:pt x="1919" y="34"/>
                  <a:pt x="1920" y="34"/>
                  <a:pt x="1921" y="34"/>
                </a:cubicBezTo>
                <a:cubicBezTo>
                  <a:pt x="1921" y="34"/>
                  <a:pt x="1922" y="35"/>
                  <a:pt x="1923" y="35"/>
                </a:cubicBezTo>
                <a:cubicBezTo>
                  <a:pt x="1923" y="36"/>
                  <a:pt x="1924" y="36"/>
                  <a:pt x="1925" y="37"/>
                </a:cubicBezTo>
                <a:cubicBezTo>
                  <a:pt x="1927" y="39"/>
                  <a:pt x="1928" y="40"/>
                  <a:pt x="1928" y="42"/>
                </a:cubicBezTo>
                <a:cubicBezTo>
                  <a:pt x="1928" y="43"/>
                  <a:pt x="1928" y="44"/>
                  <a:pt x="1928" y="44"/>
                </a:cubicBezTo>
                <a:lnTo>
                  <a:pt x="1913" y="59"/>
                </a:lnTo>
                <a:lnTo>
                  <a:pt x="1970" y="116"/>
                </a:lnTo>
                <a:cubicBezTo>
                  <a:pt x="1970" y="116"/>
                  <a:pt x="1970" y="116"/>
                  <a:pt x="1970" y="117"/>
                </a:cubicBezTo>
                <a:cubicBezTo>
                  <a:pt x="1971" y="117"/>
                  <a:pt x="1970" y="118"/>
                  <a:pt x="1970" y="118"/>
                </a:cubicBezTo>
                <a:cubicBezTo>
                  <a:pt x="1970" y="119"/>
                  <a:pt x="1969" y="120"/>
                  <a:pt x="1969" y="121"/>
                </a:cubicBezTo>
                <a:cubicBezTo>
                  <a:pt x="1968" y="122"/>
                  <a:pt x="1967" y="123"/>
                  <a:pt x="1966" y="124"/>
                </a:cubicBezTo>
                <a:cubicBezTo>
                  <a:pt x="1965" y="125"/>
                  <a:pt x="1964" y="126"/>
                  <a:pt x="1963" y="126"/>
                </a:cubicBezTo>
                <a:cubicBezTo>
                  <a:pt x="1962" y="127"/>
                  <a:pt x="1961" y="128"/>
                  <a:pt x="1961" y="128"/>
                </a:cubicBezTo>
                <a:cubicBezTo>
                  <a:pt x="1960" y="128"/>
                  <a:pt x="1960" y="128"/>
                  <a:pt x="1959" y="128"/>
                </a:cubicBezTo>
                <a:cubicBezTo>
                  <a:pt x="1959" y="128"/>
                  <a:pt x="1958" y="128"/>
                  <a:pt x="1958" y="127"/>
                </a:cubicBezTo>
                <a:lnTo>
                  <a:pt x="1901" y="71"/>
                </a:lnTo>
                <a:lnTo>
                  <a:pt x="1892" y="80"/>
                </a:lnTo>
                <a:cubicBezTo>
                  <a:pt x="1891" y="81"/>
                  <a:pt x="1890" y="81"/>
                  <a:pt x="1889" y="80"/>
                </a:cubicBezTo>
                <a:cubicBezTo>
                  <a:pt x="1888" y="80"/>
                  <a:pt x="1887" y="79"/>
                  <a:pt x="1885" y="77"/>
                </a:cubicBezTo>
                <a:cubicBezTo>
                  <a:pt x="1884" y="76"/>
                  <a:pt x="1883" y="76"/>
                  <a:pt x="1883" y="75"/>
                </a:cubicBezTo>
                <a:cubicBezTo>
                  <a:pt x="1882" y="74"/>
                  <a:pt x="1882" y="73"/>
                  <a:pt x="1882" y="73"/>
                </a:cubicBezTo>
                <a:cubicBezTo>
                  <a:pt x="1881" y="72"/>
                  <a:pt x="1881" y="72"/>
                  <a:pt x="1881" y="71"/>
                </a:cubicBezTo>
                <a:cubicBezTo>
                  <a:pt x="1882" y="71"/>
                  <a:pt x="1882" y="70"/>
                  <a:pt x="1882" y="70"/>
                </a:cubicBezTo>
                <a:lnTo>
                  <a:pt x="1891" y="61"/>
                </a:lnTo>
                <a:lnTo>
                  <a:pt x="1885" y="54"/>
                </a:lnTo>
                <a:cubicBezTo>
                  <a:pt x="1880" y="50"/>
                  <a:pt x="1877" y="45"/>
                  <a:pt x="1874" y="41"/>
                </a:cubicBezTo>
                <a:cubicBezTo>
                  <a:pt x="1872" y="37"/>
                  <a:pt x="1871" y="33"/>
                  <a:pt x="1870" y="30"/>
                </a:cubicBezTo>
                <a:cubicBezTo>
                  <a:pt x="1870" y="26"/>
                  <a:pt x="1871" y="22"/>
                  <a:pt x="1872" y="19"/>
                </a:cubicBezTo>
                <a:cubicBezTo>
                  <a:pt x="1874" y="15"/>
                  <a:pt x="1876" y="11"/>
                  <a:pt x="1880" y="8"/>
                </a:cubicBezTo>
                <a:cubicBezTo>
                  <a:pt x="1882" y="6"/>
                  <a:pt x="1883" y="5"/>
                  <a:pt x="1885" y="3"/>
                </a:cubicBezTo>
                <a:cubicBezTo>
                  <a:pt x="1887" y="2"/>
                  <a:pt x="1889" y="1"/>
                  <a:pt x="1890" y="1"/>
                </a:cubicBezTo>
                <a:cubicBezTo>
                  <a:pt x="1891" y="0"/>
                  <a:pt x="1892" y="0"/>
                  <a:pt x="1893" y="0"/>
                </a:cubicBezTo>
                <a:cubicBezTo>
                  <a:pt x="1893" y="0"/>
                  <a:pt x="1894" y="0"/>
                  <a:pt x="1894" y="0"/>
                </a:cubicBezTo>
                <a:cubicBezTo>
                  <a:pt x="1895" y="1"/>
                  <a:pt x="1896" y="1"/>
                  <a:pt x="1897" y="2"/>
                </a:cubicBezTo>
                <a:cubicBezTo>
                  <a:pt x="1897" y="2"/>
                  <a:pt x="1898" y="3"/>
                  <a:pt x="1899" y="4"/>
                </a:cubicBezTo>
                <a:close/>
              </a:path>
            </a:pathLst>
          </a:custGeom>
          <a:solidFill>
            <a:srgbClr val="000000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091" name="Freeform 35"/>
          <p:cNvSpPr>
            <a:spLocks noEditPoints="1"/>
          </p:cNvSpPr>
          <p:nvPr/>
        </p:nvSpPr>
        <p:spPr bwMode="auto">
          <a:xfrm>
            <a:off x="1362335" y="3980743"/>
            <a:ext cx="881063" cy="847725"/>
          </a:xfrm>
          <a:custGeom>
            <a:avLst/>
            <a:gdLst/>
            <a:ahLst/>
            <a:cxnLst>
              <a:cxn ang="0">
                <a:pos x="120" y="1348"/>
              </a:cxn>
              <a:cxn ang="0">
                <a:pos x="69" y="1217"/>
              </a:cxn>
              <a:cxn ang="0">
                <a:pos x="135" y="1232"/>
              </a:cxn>
              <a:cxn ang="0">
                <a:pos x="104" y="1229"/>
              </a:cxn>
              <a:cxn ang="0">
                <a:pos x="138" y="1195"/>
              </a:cxn>
              <a:cxn ang="0">
                <a:pos x="245" y="1227"/>
              </a:cxn>
              <a:cxn ang="0">
                <a:pos x="188" y="1161"/>
              </a:cxn>
              <a:cxn ang="0">
                <a:pos x="180" y="1150"/>
              </a:cxn>
              <a:cxn ang="0">
                <a:pos x="244" y="1204"/>
              </a:cxn>
              <a:cxn ang="0">
                <a:pos x="280" y="1081"/>
              </a:cxn>
              <a:cxn ang="0">
                <a:pos x="227" y="1109"/>
              </a:cxn>
              <a:cxn ang="0">
                <a:pos x="295" y="1068"/>
              </a:cxn>
              <a:cxn ang="0">
                <a:pos x="356" y="1089"/>
              </a:cxn>
              <a:cxn ang="0">
                <a:pos x="363" y="1049"/>
              </a:cxn>
              <a:cxn ang="0">
                <a:pos x="345" y="995"/>
              </a:cxn>
              <a:cxn ang="0">
                <a:pos x="327" y="1033"/>
              </a:cxn>
              <a:cxn ang="0">
                <a:pos x="520" y="950"/>
              </a:cxn>
              <a:cxn ang="0">
                <a:pos x="482" y="987"/>
              </a:cxn>
              <a:cxn ang="0">
                <a:pos x="440" y="1026"/>
              </a:cxn>
              <a:cxn ang="0">
                <a:pos x="369" y="963"/>
              </a:cxn>
              <a:cxn ang="0">
                <a:pos x="434" y="896"/>
              </a:cxn>
              <a:cxn ang="0">
                <a:pos x="541" y="925"/>
              </a:cxn>
              <a:cxn ang="0">
                <a:pos x="460" y="844"/>
              </a:cxn>
              <a:cxn ang="0">
                <a:pos x="569" y="892"/>
              </a:cxn>
              <a:cxn ang="0">
                <a:pos x="587" y="845"/>
              </a:cxn>
              <a:cxn ang="0">
                <a:pos x="538" y="795"/>
              </a:cxn>
              <a:cxn ang="0">
                <a:pos x="536" y="812"/>
              </a:cxn>
              <a:cxn ang="0">
                <a:pos x="662" y="787"/>
              </a:cxn>
              <a:cxn ang="0">
                <a:pos x="619" y="823"/>
              </a:cxn>
              <a:cxn ang="0">
                <a:pos x="588" y="795"/>
              </a:cxn>
              <a:cxn ang="0">
                <a:pos x="612" y="741"/>
              </a:cxn>
              <a:cxn ang="0">
                <a:pos x="611" y="777"/>
              </a:cxn>
              <a:cxn ang="0">
                <a:pos x="688" y="778"/>
              </a:cxn>
              <a:cxn ang="0">
                <a:pos x="607" y="697"/>
              </a:cxn>
              <a:cxn ang="0">
                <a:pos x="686" y="716"/>
              </a:cxn>
              <a:cxn ang="0">
                <a:pos x="685" y="669"/>
              </a:cxn>
              <a:cxn ang="0">
                <a:pos x="857" y="612"/>
              </a:cxn>
              <a:cxn ang="0">
                <a:pos x="813" y="653"/>
              </a:cxn>
              <a:cxn ang="0">
                <a:pos x="742" y="590"/>
              </a:cxn>
              <a:cxn ang="0">
                <a:pos x="964" y="494"/>
              </a:cxn>
              <a:cxn ang="0">
                <a:pos x="918" y="525"/>
              </a:cxn>
              <a:cxn ang="0">
                <a:pos x="854" y="475"/>
              </a:cxn>
              <a:cxn ang="0">
                <a:pos x="894" y="417"/>
              </a:cxn>
              <a:cxn ang="0">
                <a:pos x="906" y="460"/>
              </a:cxn>
              <a:cxn ang="0">
                <a:pos x="1030" y="419"/>
              </a:cxn>
              <a:cxn ang="0">
                <a:pos x="939" y="395"/>
              </a:cxn>
              <a:cxn ang="0">
                <a:pos x="979" y="353"/>
              </a:cxn>
              <a:cxn ang="0">
                <a:pos x="1110" y="407"/>
              </a:cxn>
              <a:cxn ang="0">
                <a:pos x="1014" y="319"/>
              </a:cxn>
              <a:cxn ang="0">
                <a:pos x="1078" y="305"/>
              </a:cxn>
              <a:cxn ang="0">
                <a:pos x="1088" y="314"/>
              </a:cxn>
              <a:cxn ang="0">
                <a:pos x="1186" y="336"/>
              </a:cxn>
              <a:cxn ang="0">
                <a:pos x="1106" y="247"/>
              </a:cxn>
              <a:cxn ang="0">
                <a:pos x="1122" y="230"/>
              </a:cxn>
              <a:cxn ang="0">
                <a:pos x="1273" y="194"/>
              </a:cxn>
              <a:cxn ang="0">
                <a:pos x="1247" y="154"/>
              </a:cxn>
              <a:cxn ang="0">
                <a:pos x="1260" y="178"/>
              </a:cxn>
              <a:cxn ang="0">
                <a:pos x="1278" y="90"/>
              </a:cxn>
              <a:cxn ang="0">
                <a:pos x="1246" y="86"/>
              </a:cxn>
              <a:cxn ang="0">
                <a:pos x="1281" y="53"/>
              </a:cxn>
              <a:cxn ang="0">
                <a:pos x="1362" y="86"/>
              </a:cxn>
              <a:cxn ang="0">
                <a:pos x="1289" y="9"/>
              </a:cxn>
              <a:cxn ang="0">
                <a:pos x="1325" y="27"/>
              </a:cxn>
            </a:cxnLst>
            <a:rect l="0" t="0" r="r" b="b"/>
            <a:pathLst>
              <a:path w="1400" h="1348">
                <a:moveTo>
                  <a:pt x="74" y="1220"/>
                </a:moveTo>
                <a:cubicBezTo>
                  <a:pt x="74" y="1221"/>
                  <a:pt x="75" y="1222"/>
                  <a:pt x="76" y="1223"/>
                </a:cubicBezTo>
                <a:cubicBezTo>
                  <a:pt x="76" y="1224"/>
                  <a:pt x="77" y="1224"/>
                  <a:pt x="77" y="1225"/>
                </a:cubicBezTo>
                <a:cubicBezTo>
                  <a:pt x="77" y="1226"/>
                  <a:pt x="77" y="1226"/>
                  <a:pt x="77" y="1227"/>
                </a:cubicBezTo>
                <a:cubicBezTo>
                  <a:pt x="77" y="1227"/>
                  <a:pt x="77" y="1228"/>
                  <a:pt x="76" y="1228"/>
                </a:cubicBezTo>
                <a:lnTo>
                  <a:pt x="50" y="1254"/>
                </a:lnTo>
                <a:lnTo>
                  <a:pt x="131" y="1335"/>
                </a:lnTo>
                <a:cubicBezTo>
                  <a:pt x="131" y="1335"/>
                  <a:pt x="131" y="1336"/>
                  <a:pt x="131" y="1336"/>
                </a:cubicBezTo>
                <a:cubicBezTo>
                  <a:pt x="132" y="1337"/>
                  <a:pt x="131" y="1337"/>
                  <a:pt x="131" y="1338"/>
                </a:cubicBezTo>
                <a:cubicBezTo>
                  <a:pt x="131" y="1338"/>
                  <a:pt x="130" y="1339"/>
                  <a:pt x="130" y="1340"/>
                </a:cubicBezTo>
                <a:cubicBezTo>
                  <a:pt x="129" y="1341"/>
                  <a:pt x="128" y="1342"/>
                  <a:pt x="127" y="1343"/>
                </a:cubicBezTo>
                <a:cubicBezTo>
                  <a:pt x="126" y="1344"/>
                  <a:pt x="125" y="1345"/>
                  <a:pt x="124" y="1346"/>
                </a:cubicBezTo>
                <a:cubicBezTo>
                  <a:pt x="123" y="1347"/>
                  <a:pt x="122" y="1347"/>
                  <a:pt x="121" y="1348"/>
                </a:cubicBezTo>
                <a:cubicBezTo>
                  <a:pt x="121" y="1348"/>
                  <a:pt x="120" y="1348"/>
                  <a:pt x="120" y="1348"/>
                </a:cubicBezTo>
                <a:cubicBezTo>
                  <a:pt x="119" y="1348"/>
                  <a:pt x="119" y="1348"/>
                  <a:pt x="118" y="1347"/>
                </a:cubicBezTo>
                <a:lnTo>
                  <a:pt x="38" y="1267"/>
                </a:lnTo>
                <a:lnTo>
                  <a:pt x="12" y="1293"/>
                </a:lnTo>
                <a:cubicBezTo>
                  <a:pt x="11" y="1293"/>
                  <a:pt x="11" y="1293"/>
                  <a:pt x="10" y="1293"/>
                </a:cubicBezTo>
                <a:cubicBezTo>
                  <a:pt x="10" y="1294"/>
                  <a:pt x="9" y="1294"/>
                  <a:pt x="9" y="1293"/>
                </a:cubicBezTo>
                <a:cubicBezTo>
                  <a:pt x="8" y="1293"/>
                  <a:pt x="7" y="1293"/>
                  <a:pt x="7" y="1292"/>
                </a:cubicBezTo>
                <a:cubicBezTo>
                  <a:pt x="6" y="1292"/>
                  <a:pt x="5" y="1291"/>
                  <a:pt x="4" y="1290"/>
                </a:cubicBezTo>
                <a:cubicBezTo>
                  <a:pt x="3" y="1289"/>
                  <a:pt x="2" y="1288"/>
                  <a:pt x="2" y="1287"/>
                </a:cubicBezTo>
                <a:cubicBezTo>
                  <a:pt x="1" y="1287"/>
                  <a:pt x="1" y="1286"/>
                  <a:pt x="1" y="1285"/>
                </a:cubicBezTo>
                <a:cubicBezTo>
                  <a:pt x="0" y="1285"/>
                  <a:pt x="0" y="1284"/>
                  <a:pt x="0" y="1284"/>
                </a:cubicBezTo>
                <a:cubicBezTo>
                  <a:pt x="1" y="1283"/>
                  <a:pt x="1" y="1283"/>
                  <a:pt x="1" y="1282"/>
                </a:cubicBezTo>
                <a:lnTo>
                  <a:pt x="66" y="1218"/>
                </a:lnTo>
                <a:cubicBezTo>
                  <a:pt x="66" y="1217"/>
                  <a:pt x="67" y="1217"/>
                  <a:pt x="67" y="1217"/>
                </a:cubicBezTo>
                <a:cubicBezTo>
                  <a:pt x="68" y="1217"/>
                  <a:pt x="68" y="1217"/>
                  <a:pt x="69" y="1217"/>
                </a:cubicBezTo>
                <a:cubicBezTo>
                  <a:pt x="70" y="1217"/>
                  <a:pt x="70" y="1218"/>
                  <a:pt x="71" y="1218"/>
                </a:cubicBezTo>
                <a:cubicBezTo>
                  <a:pt x="72" y="1219"/>
                  <a:pt x="73" y="1220"/>
                  <a:pt x="74" y="1220"/>
                </a:cubicBezTo>
                <a:close/>
                <a:moveTo>
                  <a:pt x="145" y="1200"/>
                </a:moveTo>
                <a:cubicBezTo>
                  <a:pt x="146" y="1201"/>
                  <a:pt x="147" y="1202"/>
                  <a:pt x="148" y="1203"/>
                </a:cubicBezTo>
                <a:cubicBezTo>
                  <a:pt x="148" y="1203"/>
                  <a:pt x="149" y="1204"/>
                  <a:pt x="149" y="1205"/>
                </a:cubicBezTo>
                <a:cubicBezTo>
                  <a:pt x="149" y="1205"/>
                  <a:pt x="149" y="1206"/>
                  <a:pt x="149" y="1206"/>
                </a:cubicBezTo>
                <a:cubicBezTo>
                  <a:pt x="149" y="1206"/>
                  <a:pt x="149" y="1207"/>
                  <a:pt x="149" y="1207"/>
                </a:cubicBezTo>
                <a:cubicBezTo>
                  <a:pt x="148" y="1208"/>
                  <a:pt x="148" y="1208"/>
                  <a:pt x="147" y="1208"/>
                </a:cubicBezTo>
                <a:cubicBezTo>
                  <a:pt x="146" y="1209"/>
                  <a:pt x="146" y="1209"/>
                  <a:pt x="145" y="1210"/>
                </a:cubicBezTo>
                <a:cubicBezTo>
                  <a:pt x="144" y="1210"/>
                  <a:pt x="143" y="1211"/>
                  <a:pt x="142" y="1211"/>
                </a:cubicBezTo>
                <a:cubicBezTo>
                  <a:pt x="141" y="1212"/>
                  <a:pt x="140" y="1213"/>
                  <a:pt x="139" y="1214"/>
                </a:cubicBezTo>
                <a:cubicBezTo>
                  <a:pt x="137" y="1215"/>
                  <a:pt x="136" y="1216"/>
                  <a:pt x="136" y="1218"/>
                </a:cubicBezTo>
                <a:cubicBezTo>
                  <a:pt x="135" y="1220"/>
                  <a:pt x="135" y="1222"/>
                  <a:pt x="135" y="1224"/>
                </a:cubicBezTo>
                <a:cubicBezTo>
                  <a:pt x="134" y="1226"/>
                  <a:pt x="134" y="1229"/>
                  <a:pt x="135" y="1232"/>
                </a:cubicBezTo>
                <a:cubicBezTo>
                  <a:pt x="135" y="1236"/>
                  <a:pt x="136" y="1239"/>
                  <a:pt x="137" y="1244"/>
                </a:cubicBezTo>
                <a:lnTo>
                  <a:pt x="180" y="1286"/>
                </a:lnTo>
                <a:cubicBezTo>
                  <a:pt x="180" y="1287"/>
                  <a:pt x="180" y="1287"/>
                  <a:pt x="180" y="1287"/>
                </a:cubicBezTo>
                <a:cubicBezTo>
                  <a:pt x="180" y="1288"/>
                  <a:pt x="180" y="1288"/>
                  <a:pt x="180" y="1289"/>
                </a:cubicBezTo>
                <a:cubicBezTo>
                  <a:pt x="180" y="1290"/>
                  <a:pt x="179" y="1290"/>
                  <a:pt x="179" y="1291"/>
                </a:cubicBezTo>
                <a:cubicBezTo>
                  <a:pt x="178" y="1292"/>
                  <a:pt x="177" y="1293"/>
                  <a:pt x="176" y="1294"/>
                </a:cubicBezTo>
                <a:cubicBezTo>
                  <a:pt x="175" y="1295"/>
                  <a:pt x="174" y="1296"/>
                  <a:pt x="173" y="1297"/>
                </a:cubicBezTo>
                <a:cubicBezTo>
                  <a:pt x="172" y="1298"/>
                  <a:pt x="171" y="1298"/>
                  <a:pt x="170" y="1298"/>
                </a:cubicBezTo>
                <a:cubicBezTo>
                  <a:pt x="170" y="1299"/>
                  <a:pt x="169" y="1299"/>
                  <a:pt x="169" y="1299"/>
                </a:cubicBezTo>
                <a:cubicBezTo>
                  <a:pt x="168" y="1299"/>
                  <a:pt x="168" y="1298"/>
                  <a:pt x="168" y="1298"/>
                </a:cubicBezTo>
                <a:lnTo>
                  <a:pt x="103" y="1233"/>
                </a:lnTo>
                <a:cubicBezTo>
                  <a:pt x="103" y="1233"/>
                  <a:pt x="102" y="1233"/>
                  <a:pt x="102" y="1232"/>
                </a:cubicBezTo>
                <a:cubicBezTo>
                  <a:pt x="102" y="1232"/>
                  <a:pt x="102" y="1231"/>
                  <a:pt x="102" y="1231"/>
                </a:cubicBezTo>
                <a:cubicBezTo>
                  <a:pt x="103" y="1230"/>
                  <a:pt x="103" y="1229"/>
                  <a:pt x="104" y="1229"/>
                </a:cubicBezTo>
                <a:cubicBezTo>
                  <a:pt x="104" y="1228"/>
                  <a:pt x="105" y="1227"/>
                  <a:pt x="106" y="1226"/>
                </a:cubicBezTo>
                <a:cubicBezTo>
                  <a:pt x="107" y="1225"/>
                  <a:pt x="108" y="1224"/>
                  <a:pt x="109" y="1223"/>
                </a:cubicBezTo>
                <a:cubicBezTo>
                  <a:pt x="110" y="1223"/>
                  <a:pt x="110" y="1222"/>
                  <a:pt x="111" y="1222"/>
                </a:cubicBezTo>
                <a:cubicBezTo>
                  <a:pt x="112" y="1222"/>
                  <a:pt x="112" y="1222"/>
                  <a:pt x="113" y="1222"/>
                </a:cubicBezTo>
                <a:cubicBezTo>
                  <a:pt x="113" y="1222"/>
                  <a:pt x="113" y="1222"/>
                  <a:pt x="114" y="1223"/>
                </a:cubicBezTo>
                <a:lnTo>
                  <a:pt x="123" y="1232"/>
                </a:lnTo>
                <a:cubicBezTo>
                  <a:pt x="122" y="1228"/>
                  <a:pt x="122" y="1224"/>
                  <a:pt x="122" y="1221"/>
                </a:cubicBezTo>
                <a:cubicBezTo>
                  <a:pt x="122" y="1218"/>
                  <a:pt x="122" y="1215"/>
                  <a:pt x="122" y="1213"/>
                </a:cubicBezTo>
                <a:cubicBezTo>
                  <a:pt x="123" y="1210"/>
                  <a:pt x="124" y="1208"/>
                  <a:pt x="125" y="1206"/>
                </a:cubicBezTo>
                <a:cubicBezTo>
                  <a:pt x="126" y="1205"/>
                  <a:pt x="127" y="1203"/>
                  <a:pt x="128" y="1202"/>
                </a:cubicBezTo>
                <a:cubicBezTo>
                  <a:pt x="129" y="1201"/>
                  <a:pt x="130" y="1200"/>
                  <a:pt x="130" y="1200"/>
                </a:cubicBezTo>
                <a:cubicBezTo>
                  <a:pt x="131" y="1199"/>
                  <a:pt x="132" y="1198"/>
                  <a:pt x="133" y="1198"/>
                </a:cubicBezTo>
                <a:cubicBezTo>
                  <a:pt x="134" y="1197"/>
                  <a:pt x="135" y="1196"/>
                  <a:pt x="136" y="1196"/>
                </a:cubicBezTo>
                <a:cubicBezTo>
                  <a:pt x="137" y="1196"/>
                  <a:pt x="138" y="1195"/>
                  <a:pt x="138" y="1195"/>
                </a:cubicBezTo>
                <a:cubicBezTo>
                  <a:pt x="139" y="1195"/>
                  <a:pt x="139" y="1195"/>
                  <a:pt x="140" y="1195"/>
                </a:cubicBezTo>
                <a:cubicBezTo>
                  <a:pt x="140" y="1195"/>
                  <a:pt x="140" y="1196"/>
                  <a:pt x="141" y="1196"/>
                </a:cubicBezTo>
                <a:cubicBezTo>
                  <a:pt x="141" y="1196"/>
                  <a:pt x="142" y="1197"/>
                  <a:pt x="142" y="1197"/>
                </a:cubicBezTo>
                <a:cubicBezTo>
                  <a:pt x="143" y="1198"/>
                  <a:pt x="144" y="1199"/>
                  <a:pt x="145" y="1200"/>
                </a:cubicBezTo>
                <a:close/>
                <a:moveTo>
                  <a:pt x="273" y="1193"/>
                </a:moveTo>
                <a:cubicBezTo>
                  <a:pt x="274" y="1193"/>
                  <a:pt x="274" y="1194"/>
                  <a:pt x="274" y="1195"/>
                </a:cubicBezTo>
                <a:cubicBezTo>
                  <a:pt x="274" y="1195"/>
                  <a:pt x="273" y="1196"/>
                  <a:pt x="273" y="1197"/>
                </a:cubicBezTo>
                <a:cubicBezTo>
                  <a:pt x="272" y="1198"/>
                  <a:pt x="271" y="1199"/>
                  <a:pt x="270" y="1200"/>
                </a:cubicBezTo>
                <a:cubicBezTo>
                  <a:pt x="269" y="1201"/>
                  <a:pt x="268" y="1202"/>
                  <a:pt x="267" y="1203"/>
                </a:cubicBezTo>
                <a:cubicBezTo>
                  <a:pt x="266" y="1203"/>
                  <a:pt x="265" y="1204"/>
                  <a:pt x="265" y="1204"/>
                </a:cubicBezTo>
                <a:cubicBezTo>
                  <a:pt x="264" y="1204"/>
                  <a:pt x="263" y="1204"/>
                  <a:pt x="263" y="1203"/>
                </a:cubicBezTo>
                <a:lnTo>
                  <a:pt x="256" y="1197"/>
                </a:lnTo>
                <a:cubicBezTo>
                  <a:pt x="257" y="1202"/>
                  <a:pt x="256" y="1208"/>
                  <a:pt x="254" y="1213"/>
                </a:cubicBezTo>
                <a:cubicBezTo>
                  <a:pt x="252" y="1218"/>
                  <a:pt x="249" y="1223"/>
                  <a:pt x="245" y="1227"/>
                </a:cubicBezTo>
                <a:cubicBezTo>
                  <a:pt x="242" y="1230"/>
                  <a:pt x="238" y="1233"/>
                  <a:pt x="235" y="1234"/>
                </a:cubicBezTo>
                <a:cubicBezTo>
                  <a:pt x="231" y="1236"/>
                  <a:pt x="228" y="1237"/>
                  <a:pt x="224" y="1238"/>
                </a:cubicBezTo>
                <a:cubicBezTo>
                  <a:pt x="220" y="1238"/>
                  <a:pt x="217" y="1237"/>
                  <a:pt x="213" y="1236"/>
                </a:cubicBezTo>
                <a:cubicBezTo>
                  <a:pt x="210" y="1235"/>
                  <a:pt x="206" y="1232"/>
                  <a:pt x="203" y="1229"/>
                </a:cubicBezTo>
                <a:cubicBezTo>
                  <a:pt x="200" y="1226"/>
                  <a:pt x="197" y="1222"/>
                  <a:pt x="196" y="1218"/>
                </a:cubicBezTo>
                <a:cubicBezTo>
                  <a:pt x="195" y="1213"/>
                  <a:pt x="195" y="1209"/>
                  <a:pt x="196" y="1205"/>
                </a:cubicBezTo>
                <a:cubicBezTo>
                  <a:pt x="197" y="1200"/>
                  <a:pt x="199" y="1195"/>
                  <a:pt x="202" y="1190"/>
                </a:cubicBezTo>
                <a:cubicBezTo>
                  <a:pt x="205" y="1185"/>
                  <a:pt x="209" y="1180"/>
                  <a:pt x="214" y="1175"/>
                </a:cubicBezTo>
                <a:lnTo>
                  <a:pt x="223" y="1167"/>
                </a:lnTo>
                <a:lnTo>
                  <a:pt x="218" y="1162"/>
                </a:lnTo>
                <a:cubicBezTo>
                  <a:pt x="216" y="1159"/>
                  <a:pt x="213" y="1157"/>
                  <a:pt x="211" y="1156"/>
                </a:cubicBezTo>
                <a:cubicBezTo>
                  <a:pt x="208" y="1154"/>
                  <a:pt x="206" y="1154"/>
                  <a:pt x="203" y="1153"/>
                </a:cubicBezTo>
                <a:cubicBezTo>
                  <a:pt x="201" y="1153"/>
                  <a:pt x="198" y="1154"/>
                  <a:pt x="196" y="1155"/>
                </a:cubicBezTo>
                <a:cubicBezTo>
                  <a:pt x="193" y="1156"/>
                  <a:pt x="191" y="1158"/>
                  <a:pt x="188" y="1161"/>
                </a:cubicBezTo>
                <a:cubicBezTo>
                  <a:pt x="185" y="1164"/>
                  <a:pt x="183" y="1167"/>
                  <a:pt x="181" y="1170"/>
                </a:cubicBezTo>
                <a:cubicBezTo>
                  <a:pt x="180" y="1173"/>
                  <a:pt x="178" y="1176"/>
                  <a:pt x="177" y="1178"/>
                </a:cubicBezTo>
                <a:cubicBezTo>
                  <a:pt x="177" y="1181"/>
                  <a:pt x="176" y="1183"/>
                  <a:pt x="175" y="1185"/>
                </a:cubicBezTo>
                <a:cubicBezTo>
                  <a:pt x="175" y="1187"/>
                  <a:pt x="174" y="1188"/>
                  <a:pt x="174" y="1189"/>
                </a:cubicBezTo>
                <a:cubicBezTo>
                  <a:pt x="173" y="1189"/>
                  <a:pt x="173" y="1189"/>
                  <a:pt x="173" y="1189"/>
                </a:cubicBezTo>
                <a:cubicBezTo>
                  <a:pt x="172" y="1190"/>
                  <a:pt x="172" y="1190"/>
                  <a:pt x="171" y="1189"/>
                </a:cubicBezTo>
                <a:cubicBezTo>
                  <a:pt x="170" y="1189"/>
                  <a:pt x="170" y="1189"/>
                  <a:pt x="169" y="1188"/>
                </a:cubicBezTo>
                <a:cubicBezTo>
                  <a:pt x="168" y="1188"/>
                  <a:pt x="168" y="1187"/>
                  <a:pt x="167" y="1186"/>
                </a:cubicBezTo>
                <a:cubicBezTo>
                  <a:pt x="166" y="1185"/>
                  <a:pt x="165" y="1184"/>
                  <a:pt x="164" y="1183"/>
                </a:cubicBezTo>
                <a:cubicBezTo>
                  <a:pt x="164" y="1183"/>
                  <a:pt x="163" y="1181"/>
                  <a:pt x="164" y="1180"/>
                </a:cubicBezTo>
                <a:cubicBezTo>
                  <a:pt x="164" y="1179"/>
                  <a:pt x="164" y="1177"/>
                  <a:pt x="165" y="1175"/>
                </a:cubicBezTo>
                <a:cubicBezTo>
                  <a:pt x="165" y="1172"/>
                  <a:pt x="166" y="1170"/>
                  <a:pt x="168" y="1167"/>
                </a:cubicBezTo>
                <a:cubicBezTo>
                  <a:pt x="169" y="1164"/>
                  <a:pt x="171" y="1161"/>
                  <a:pt x="173" y="1158"/>
                </a:cubicBezTo>
                <a:cubicBezTo>
                  <a:pt x="175" y="1156"/>
                  <a:pt x="177" y="1153"/>
                  <a:pt x="180" y="1150"/>
                </a:cubicBezTo>
                <a:cubicBezTo>
                  <a:pt x="184" y="1146"/>
                  <a:pt x="189" y="1142"/>
                  <a:pt x="193" y="1140"/>
                </a:cubicBezTo>
                <a:cubicBezTo>
                  <a:pt x="197" y="1138"/>
                  <a:pt x="201" y="1137"/>
                  <a:pt x="206" y="1137"/>
                </a:cubicBezTo>
                <a:cubicBezTo>
                  <a:pt x="210" y="1137"/>
                  <a:pt x="214" y="1138"/>
                  <a:pt x="217" y="1140"/>
                </a:cubicBezTo>
                <a:cubicBezTo>
                  <a:pt x="221" y="1142"/>
                  <a:pt x="225" y="1145"/>
                  <a:pt x="229" y="1149"/>
                </a:cubicBezTo>
                <a:lnTo>
                  <a:pt x="273" y="1193"/>
                </a:lnTo>
                <a:close/>
                <a:moveTo>
                  <a:pt x="232" y="1175"/>
                </a:moveTo>
                <a:lnTo>
                  <a:pt x="222" y="1185"/>
                </a:lnTo>
                <a:cubicBezTo>
                  <a:pt x="218" y="1188"/>
                  <a:pt x="216" y="1192"/>
                  <a:pt x="214" y="1195"/>
                </a:cubicBezTo>
                <a:cubicBezTo>
                  <a:pt x="212" y="1197"/>
                  <a:pt x="211" y="1200"/>
                  <a:pt x="210" y="1203"/>
                </a:cubicBezTo>
                <a:cubicBezTo>
                  <a:pt x="210" y="1206"/>
                  <a:pt x="210" y="1208"/>
                  <a:pt x="211" y="1210"/>
                </a:cubicBezTo>
                <a:cubicBezTo>
                  <a:pt x="212" y="1213"/>
                  <a:pt x="213" y="1215"/>
                  <a:pt x="215" y="1217"/>
                </a:cubicBezTo>
                <a:cubicBezTo>
                  <a:pt x="218" y="1220"/>
                  <a:pt x="222" y="1222"/>
                  <a:pt x="226" y="1221"/>
                </a:cubicBezTo>
                <a:cubicBezTo>
                  <a:pt x="230" y="1221"/>
                  <a:pt x="234" y="1219"/>
                  <a:pt x="238" y="1215"/>
                </a:cubicBezTo>
                <a:cubicBezTo>
                  <a:pt x="241" y="1212"/>
                  <a:pt x="243" y="1209"/>
                  <a:pt x="244" y="1204"/>
                </a:cubicBezTo>
                <a:cubicBezTo>
                  <a:pt x="245" y="1200"/>
                  <a:pt x="246" y="1195"/>
                  <a:pt x="245" y="1189"/>
                </a:cubicBezTo>
                <a:lnTo>
                  <a:pt x="232" y="1175"/>
                </a:lnTo>
                <a:close/>
                <a:moveTo>
                  <a:pt x="348" y="1118"/>
                </a:moveTo>
                <a:cubicBezTo>
                  <a:pt x="348" y="1118"/>
                  <a:pt x="348" y="1119"/>
                  <a:pt x="348" y="1119"/>
                </a:cubicBezTo>
                <a:cubicBezTo>
                  <a:pt x="349" y="1120"/>
                  <a:pt x="348" y="1120"/>
                  <a:pt x="348" y="1121"/>
                </a:cubicBezTo>
                <a:cubicBezTo>
                  <a:pt x="348" y="1121"/>
                  <a:pt x="348" y="1122"/>
                  <a:pt x="347" y="1123"/>
                </a:cubicBezTo>
                <a:cubicBezTo>
                  <a:pt x="346" y="1124"/>
                  <a:pt x="345" y="1125"/>
                  <a:pt x="344" y="1126"/>
                </a:cubicBezTo>
                <a:cubicBezTo>
                  <a:pt x="343" y="1127"/>
                  <a:pt x="342" y="1128"/>
                  <a:pt x="341" y="1129"/>
                </a:cubicBezTo>
                <a:cubicBezTo>
                  <a:pt x="340" y="1129"/>
                  <a:pt x="339" y="1130"/>
                  <a:pt x="339" y="1130"/>
                </a:cubicBezTo>
                <a:cubicBezTo>
                  <a:pt x="338" y="1130"/>
                  <a:pt x="338" y="1131"/>
                  <a:pt x="337" y="1130"/>
                </a:cubicBezTo>
                <a:cubicBezTo>
                  <a:pt x="337" y="1130"/>
                  <a:pt x="336" y="1130"/>
                  <a:pt x="336" y="1130"/>
                </a:cubicBezTo>
                <a:lnTo>
                  <a:pt x="298" y="1092"/>
                </a:lnTo>
                <a:cubicBezTo>
                  <a:pt x="294" y="1088"/>
                  <a:pt x="291" y="1086"/>
                  <a:pt x="288" y="1084"/>
                </a:cubicBezTo>
                <a:cubicBezTo>
                  <a:pt x="285" y="1082"/>
                  <a:pt x="283" y="1081"/>
                  <a:pt x="280" y="1081"/>
                </a:cubicBezTo>
                <a:cubicBezTo>
                  <a:pt x="277" y="1080"/>
                  <a:pt x="275" y="1080"/>
                  <a:pt x="272" y="1081"/>
                </a:cubicBezTo>
                <a:cubicBezTo>
                  <a:pt x="269" y="1082"/>
                  <a:pt x="267" y="1084"/>
                  <a:pt x="265" y="1086"/>
                </a:cubicBezTo>
                <a:cubicBezTo>
                  <a:pt x="262" y="1089"/>
                  <a:pt x="260" y="1093"/>
                  <a:pt x="259" y="1098"/>
                </a:cubicBezTo>
                <a:cubicBezTo>
                  <a:pt x="258" y="1103"/>
                  <a:pt x="258" y="1109"/>
                  <a:pt x="259" y="1117"/>
                </a:cubicBezTo>
                <a:lnTo>
                  <a:pt x="304" y="1162"/>
                </a:lnTo>
                <a:cubicBezTo>
                  <a:pt x="304" y="1162"/>
                  <a:pt x="305" y="1163"/>
                  <a:pt x="305" y="1163"/>
                </a:cubicBezTo>
                <a:cubicBezTo>
                  <a:pt x="305" y="1163"/>
                  <a:pt x="305" y="1164"/>
                  <a:pt x="304" y="1165"/>
                </a:cubicBezTo>
                <a:cubicBezTo>
                  <a:pt x="304" y="1165"/>
                  <a:pt x="304" y="1166"/>
                  <a:pt x="303" y="1167"/>
                </a:cubicBezTo>
                <a:cubicBezTo>
                  <a:pt x="302" y="1168"/>
                  <a:pt x="301" y="1169"/>
                  <a:pt x="300" y="1170"/>
                </a:cubicBezTo>
                <a:cubicBezTo>
                  <a:pt x="299" y="1171"/>
                  <a:pt x="298" y="1172"/>
                  <a:pt x="297" y="1173"/>
                </a:cubicBezTo>
                <a:cubicBezTo>
                  <a:pt x="296" y="1173"/>
                  <a:pt x="296" y="1174"/>
                  <a:pt x="295" y="1174"/>
                </a:cubicBezTo>
                <a:cubicBezTo>
                  <a:pt x="294" y="1174"/>
                  <a:pt x="294" y="1174"/>
                  <a:pt x="293" y="1174"/>
                </a:cubicBezTo>
                <a:cubicBezTo>
                  <a:pt x="293" y="1174"/>
                  <a:pt x="292" y="1174"/>
                  <a:pt x="292" y="1174"/>
                </a:cubicBezTo>
                <a:lnTo>
                  <a:pt x="227" y="1109"/>
                </a:lnTo>
                <a:cubicBezTo>
                  <a:pt x="227" y="1109"/>
                  <a:pt x="227" y="1108"/>
                  <a:pt x="227" y="1108"/>
                </a:cubicBezTo>
                <a:cubicBezTo>
                  <a:pt x="227" y="1107"/>
                  <a:pt x="227" y="1107"/>
                  <a:pt x="227" y="1106"/>
                </a:cubicBezTo>
                <a:cubicBezTo>
                  <a:pt x="227" y="1106"/>
                  <a:pt x="227" y="1105"/>
                  <a:pt x="228" y="1104"/>
                </a:cubicBezTo>
                <a:cubicBezTo>
                  <a:pt x="229" y="1103"/>
                  <a:pt x="230" y="1102"/>
                  <a:pt x="231" y="1101"/>
                </a:cubicBezTo>
                <a:cubicBezTo>
                  <a:pt x="232" y="1100"/>
                  <a:pt x="233" y="1099"/>
                  <a:pt x="233" y="1099"/>
                </a:cubicBezTo>
                <a:cubicBezTo>
                  <a:pt x="234" y="1098"/>
                  <a:pt x="235" y="1098"/>
                  <a:pt x="235" y="1098"/>
                </a:cubicBezTo>
                <a:cubicBezTo>
                  <a:pt x="236" y="1097"/>
                  <a:pt x="237" y="1097"/>
                  <a:pt x="237" y="1098"/>
                </a:cubicBezTo>
                <a:cubicBezTo>
                  <a:pt x="237" y="1098"/>
                  <a:pt x="238" y="1098"/>
                  <a:pt x="238" y="1098"/>
                </a:cubicBezTo>
                <a:lnTo>
                  <a:pt x="247" y="1107"/>
                </a:lnTo>
                <a:cubicBezTo>
                  <a:pt x="246" y="1099"/>
                  <a:pt x="247" y="1092"/>
                  <a:pt x="249" y="1087"/>
                </a:cubicBezTo>
                <a:cubicBezTo>
                  <a:pt x="250" y="1081"/>
                  <a:pt x="253" y="1077"/>
                  <a:pt x="257" y="1073"/>
                </a:cubicBezTo>
                <a:cubicBezTo>
                  <a:pt x="261" y="1069"/>
                  <a:pt x="265" y="1066"/>
                  <a:pt x="270" y="1064"/>
                </a:cubicBezTo>
                <a:cubicBezTo>
                  <a:pt x="274" y="1063"/>
                  <a:pt x="279" y="1063"/>
                  <a:pt x="283" y="1063"/>
                </a:cubicBezTo>
                <a:cubicBezTo>
                  <a:pt x="287" y="1064"/>
                  <a:pt x="291" y="1065"/>
                  <a:pt x="295" y="1068"/>
                </a:cubicBezTo>
                <a:cubicBezTo>
                  <a:pt x="299" y="1070"/>
                  <a:pt x="304" y="1074"/>
                  <a:pt x="308" y="1078"/>
                </a:cubicBezTo>
                <a:lnTo>
                  <a:pt x="348" y="1118"/>
                </a:lnTo>
                <a:close/>
                <a:moveTo>
                  <a:pt x="394" y="1036"/>
                </a:moveTo>
                <a:cubicBezTo>
                  <a:pt x="398" y="1039"/>
                  <a:pt x="400" y="1043"/>
                  <a:pt x="401" y="1047"/>
                </a:cubicBezTo>
                <a:cubicBezTo>
                  <a:pt x="403" y="1051"/>
                  <a:pt x="403" y="1055"/>
                  <a:pt x="403" y="1059"/>
                </a:cubicBezTo>
                <a:cubicBezTo>
                  <a:pt x="402" y="1063"/>
                  <a:pt x="401" y="1067"/>
                  <a:pt x="399" y="1071"/>
                </a:cubicBezTo>
                <a:cubicBezTo>
                  <a:pt x="396" y="1075"/>
                  <a:pt x="393" y="1079"/>
                  <a:pt x="390" y="1082"/>
                </a:cubicBezTo>
                <a:cubicBezTo>
                  <a:pt x="387" y="1085"/>
                  <a:pt x="385" y="1087"/>
                  <a:pt x="383" y="1088"/>
                </a:cubicBezTo>
                <a:cubicBezTo>
                  <a:pt x="380" y="1090"/>
                  <a:pt x="378" y="1091"/>
                  <a:pt x="376" y="1093"/>
                </a:cubicBezTo>
                <a:cubicBezTo>
                  <a:pt x="373" y="1094"/>
                  <a:pt x="371" y="1094"/>
                  <a:pt x="370" y="1095"/>
                </a:cubicBezTo>
                <a:cubicBezTo>
                  <a:pt x="368" y="1096"/>
                  <a:pt x="367" y="1096"/>
                  <a:pt x="366" y="1096"/>
                </a:cubicBezTo>
                <a:cubicBezTo>
                  <a:pt x="365" y="1096"/>
                  <a:pt x="364" y="1096"/>
                  <a:pt x="362" y="1095"/>
                </a:cubicBezTo>
                <a:cubicBezTo>
                  <a:pt x="361" y="1094"/>
                  <a:pt x="360" y="1093"/>
                  <a:pt x="359" y="1092"/>
                </a:cubicBezTo>
                <a:cubicBezTo>
                  <a:pt x="358" y="1091"/>
                  <a:pt x="357" y="1090"/>
                  <a:pt x="356" y="1089"/>
                </a:cubicBezTo>
                <a:cubicBezTo>
                  <a:pt x="356" y="1089"/>
                  <a:pt x="355" y="1088"/>
                  <a:pt x="355" y="1088"/>
                </a:cubicBezTo>
                <a:cubicBezTo>
                  <a:pt x="355" y="1087"/>
                  <a:pt x="355" y="1087"/>
                  <a:pt x="355" y="1086"/>
                </a:cubicBezTo>
                <a:cubicBezTo>
                  <a:pt x="355" y="1086"/>
                  <a:pt x="355" y="1085"/>
                  <a:pt x="356" y="1085"/>
                </a:cubicBezTo>
                <a:cubicBezTo>
                  <a:pt x="356" y="1084"/>
                  <a:pt x="357" y="1084"/>
                  <a:pt x="359" y="1084"/>
                </a:cubicBezTo>
                <a:cubicBezTo>
                  <a:pt x="361" y="1083"/>
                  <a:pt x="363" y="1083"/>
                  <a:pt x="365" y="1082"/>
                </a:cubicBezTo>
                <a:cubicBezTo>
                  <a:pt x="367" y="1081"/>
                  <a:pt x="370" y="1080"/>
                  <a:pt x="372" y="1079"/>
                </a:cubicBezTo>
                <a:cubicBezTo>
                  <a:pt x="375" y="1077"/>
                  <a:pt x="378" y="1075"/>
                  <a:pt x="380" y="1073"/>
                </a:cubicBezTo>
                <a:cubicBezTo>
                  <a:pt x="382" y="1071"/>
                  <a:pt x="384" y="1069"/>
                  <a:pt x="385" y="1066"/>
                </a:cubicBezTo>
                <a:cubicBezTo>
                  <a:pt x="386" y="1064"/>
                  <a:pt x="387" y="1062"/>
                  <a:pt x="388" y="1060"/>
                </a:cubicBezTo>
                <a:cubicBezTo>
                  <a:pt x="388" y="1058"/>
                  <a:pt x="388" y="1056"/>
                  <a:pt x="387" y="1054"/>
                </a:cubicBezTo>
                <a:cubicBezTo>
                  <a:pt x="386" y="1052"/>
                  <a:pt x="385" y="1051"/>
                  <a:pt x="384" y="1049"/>
                </a:cubicBezTo>
                <a:cubicBezTo>
                  <a:pt x="382" y="1047"/>
                  <a:pt x="380" y="1046"/>
                  <a:pt x="378" y="1046"/>
                </a:cubicBezTo>
                <a:cubicBezTo>
                  <a:pt x="375" y="1045"/>
                  <a:pt x="373" y="1045"/>
                  <a:pt x="371" y="1046"/>
                </a:cubicBezTo>
                <a:cubicBezTo>
                  <a:pt x="368" y="1047"/>
                  <a:pt x="365" y="1047"/>
                  <a:pt x="363" y="1049"/>
                </a:cubicBezTo>
                <a:cubicBezTo>
                  <a:pt x="360" y="1050"/>
                  <a:pt x="357" y="1051"/>
                  <a:pt x="355" y="1052"/>
                </a:cubicBezTo>
                <a:cubicBezTo>
                  <a:pt x="352" y="1053"/>
                  <a:pt x="349" y="1055"/>
                  <a:pt x="346" y="1055"/>
                </a:cubicBezTo>
                <a:cubicBezTo>
                  <a:pt x="343" y="1056"/>
                  <a:pt x="340" y="1057"/>
                  <a:pt x="337" y="1057"/>
                </a:cubicBezTo>
                <a:cubicBezTo>
                  <a:pt x="334" y="1057"/>
                  <a:pt x="331" y="1056"/>
                  <a:pt x="328" y="1055"/>
                </a:cubicBezTo>
                <a:cubicBezTo>
                  <a:pt x="325" y="1054"/>
                  <a:pt x="322" y="1052"/>
                  <a:pt x="319" y="1049"/>
                </a:cubicBezTo>
                <a:cubicBezTo>
                  <a:pt x="316" y="1047"/>
                  <a:pt x="315" y="1044"/>
                  <a:pt x="313" y="1040"/>
                </a:cubicBezTo>
                <a:cubicBezTo>
                  <a:pt x="312" y="1037"/>
                  <a:pt x="311" y="1034"/>
                  <a:pt x="312" y="1030"/>
                </a:cubicBezTo>
                <a:cubicBezTo>
                  <a:pt x="312" y="1026"/>
                  <a:pt x="313" y="1022"/>
                  <a:pt x="315" y="1018"/>
                </a:cubicBezTo>
                <a:cubicBezTo>
                  <a:pt x="317" y="1014"/>
                  <a:pt x="319" y="1010"/>
                  <a:pt x="323" y="1007"/>
                </a:cubicBezTo>
                <a:cubicBezTo>
                  <a:pt x="325" y="1005"/>
                  <a:pt x="327" y="1003"/>
                  <a:pt x="329" y="1002"/>
                </a:cubicBezTo>
                <a:cubicBezTo>
                  <a:pt x="331" y="1000"/>
                  <a:pt x="333" y="999"/>
                  <a:pt x="335" y="998"/>
                </a:cubicBezTo>
                <a:cubicBezTo>
                  <a:pt x="337" y="997"/>
                  <a:pt x="338" y="997"/>
                  <a:pt x="340" y="996"/>
                </a:cubicBezTo>
                <a:cubicBezTo>
                  <a:pt x="341" y="996"/>
                  <a:pt x="342" y="995"/>
                  <a:pt x="343" y="995"/>
                </a:cubicBezTo>
                <a:cubicBezTo>
                  <a:pt x="344" y="995"/>
                  <a:pt x="345" y="995"/>
                  <a:pt x="345" y="995"/>
                </a:cubicBezTo>
                <a:cubicBezTo>
                  <a:pt x="346" y="995"/>
                  <a:pt x="346" y="995"/>
                  <a:pt x="347" y="996"/>
                </a:cubicBezTo>
                <a:cubicBezTo>
                  <a:pt x="347" y="996"/>
                  <a:pt x="348" y="996"/>
                  <a:pt x="348" y="997"/>
                </a:cubicBezTo>
                <a:cubicBezTo>
                  <a:pt x="349" y="997"/>
                  <a:pt x="349" y="998"/>
                  <a:pt x="350" y="999"/>
                </a:cubicBezTo>
                <a:cubicBezTo>
                  <a:pt x="351" y="1000"/>
                  <a:pt x="352" y="1000"/>
                  <a:pt x="352" y="1001"/>
                </a:cubicBezTo>
                <a:cubicBezTo>
                  <a:pt x="353" y="1002"/>
                  <a:pt x="353" y="1002"/>
                  <a:pt x="353" y="1003"/>
                </a:cubicBezTo>
                <a:cubicBezTo>
                  <a:pt x="354" y="1003"/>
                  <a:pt x="354" y="1004"/>
                  <a:pt x="354" y="1004"/>
                </a:cubicBezTo>
                <a:cubicBezTo>
                  <a:pt x="353" y="1005"/>
                  <a:pt x="353" y="1005"/>
                  <a:pt x="353" y="1005"/>
                </a:cubicBezTo>
                <a:cubicBezTo>
                  <a:pt x="353" y="1006"/>
                  <a:pt x="352" y="1006"/>
                  <a:pt x="350" y="1006"/>
                </a:cubicBezTo>
                <a:cubicBezTo>
                  <a:pt x="349" y="1007"/>
                  <a:pt x="347" y="1007"/>
                  <a:pt x="345" y="1008"/>
                </a:cubicBezTo>
                <a:cubicBezTo>
                  <a:pt x="344" y="1008"/>
                  <a:pt x="342" y="1009"/>
                  <a:pt x="339" y="1011"/>
                </a:cubicBezTo>
                <a:cubicBezTo>
                  <a:pt x="337" y="1012"/>
                  <a:pt x="335" y="1014"/>
                  <a:pt x="332" y="1016"/>
                </a:cubicBezTo>
                <a:cubicBezTo>
                  <a:pt x="330" y="1018"/>
                  <a:pt x="329" y="1020"/>
                  <a:pt x="328" y="1022"/>
                </a:cubicBezTo>
                <a:cubicBezTo>
                  <a:pt x="327" y="1024"/>
                  <a:pt x="326" y="1026"/>
                  <a:pt x="326" y="1028"/>
                </a:cubicBezTo>
                <a:cubicBezTo>
                  <a:pt x="326" y="1029"/>
                  <a:pt x="326" y="1031"/>
                  <a:pt x="327" y="1033"/>
                </a:cubicBezTo>
                <a:cubicBezTo>
                  <a:pt x="327" y="1034"/>
                  <a:pt x="328" y="1036"/>
                  <a:pt x="330" y="1037"/>
                </a:cubicBezTo>
                <a:cubicBezTo>
                  <a:pt x="332" y="1039"/>
                  <a:pt x="334" y="1040"/>
                  <a:pt x="336" y="1041"/>
                </a:cubicBezTo>
                <a:cubicBezTo>
                  <a:pt x="338" y="1041"/>
                  <a:pt x="340" y="1041"/>
                  <a:pt x="343" y="1040"/>
                </a:cubicBezTo>
                <a:cubicBezTo>
                  <a:pt x="345" y="1040"/>
                  <a:pt x="348" y="1039"/>
                  <a:pt x="351" y="1037"/>
                </a:cubicBezTo>
                <a:cubicBezTo>
                  <a:pt x="353" y="1036"/>
                  <a:pt x="356" y="1035"/>
                  <a:pt x="359" y="1034"/>
                </a:cubicBezTo>
                <a:cubicBezTo>
                  <a:pt x="362" y="1033"/>
                  <a:pt x="365" y="1032"/>
                  <a:pt x="368" y="1031"/>
                </a:cubicBezTo>
                <a:cubicBezTo>
                  <a:pt x="371" y="1030"/>
                  <a:pt x="374" y="1029"/>
                  <a:pt x="377" y="1029"/>
                </a:cubicBezTo>
                <a:cubicBezTo>
                  <a:pt x="380" y="1029"/>
                  <a:pt x="383" y="1029"/>
                  <a:pt x="386" y="1030"/>
                </a:cubicBezTo>
                <a:cubicBezTo>
                  <a:pt x="389" y="1031"/>
                  <a:pt x="392" y="1033"/>
                  <a:pt x="394" y="1036"/>
                </a:cubicBezTo>
                <a:close/>
                <a:moveTo>
                  <a:pt x="524" y="942"/>
                </a:moveTo>
                <a:cubicBezTo>
                  <a:pt x="524" y="942"/>
                  <a:pt x="524" y="943"/>
                  <a:pt x="524" y="943"/>
                </a:cubicBezTo>
                <a:cubicBezTo>
                  <a:pt x="525" y="944"/>
                  <a:pt x="524" y="944"/>
                  <a:pt x="524" y="945"/>
                </a:cubicBezTo>
                <a:cubicBezTo>
                  <a:pt x="524" y="945"/>
                  <a:pt x="523" y="946"/>
                  <a:pt x="523" y="947"/>
                </a:cubicBezTo>
                <a:cubicBezTo>
                  <a:pt x="522" y="948"/>
                  <a:pt x="521" y="949"/>
                  <a:pt x="520" y="950"/>
                </a:cubicBezTo>
                <a:cubicBezTo>
                  <a:pt x="519" y="951"/>
                  <a:pt x="518" y="952"/>
                  <a:pt x="517" y="953"/>
                </a:cubicBezTo>
                <a:cubicBezTo>
                  <a:pt x="516" y="954"/>
                  <a:pt x="515" y="954"/>
                  <a:pt x="515" y="954"/>
                </a:cubicBezTo>
                <a:cubicBezTo>
                  <a:pt x="514" y="954"/>
                  <a:pt x="514" y="955"/>
                  <a:pt x="513" y="955"/>
                </a:cubicBezTo>
                <a:cubicBezTo>
                  <a:pt x="513" y="954"/>
                  <a:pt x="512" y="954"/>
                  <a:pt x="512" y="954"/>
                </a:cubicBezTo>
                <a:lnTo>
                  <a:pt x="473" y="915"/>
                </a:lnTo>
                <a:cubicBezTo>
                  <a:pt x="470" y="912"/>
                  <a:pt x="467" y="910"/>
                  <a:pt x="464" y="908"/>
                </a:cubicBezTo>
                <a:cubicBezTo>
                  <a:pt x="462" y="906"/>
                  <a:pt x="459" y="905"/>
                  <a:pt x="456" y="904"/>
                </a:cubicBezTo>
                <a:cubicBezTo>
                  <a:pt x="454" y="904"/>
                  <a:pt x="451" y="904"/>
                  <a:pt x="448" y="905"/>
                </a:cubicBezTo>
                <a:cubicBezTo>
                  <a:pt x="446" y="905"/>
                  <a:pt x="444" y="907"/>
                  <a:pt x="441" y="909"/>
                </a:cubicBezTo>
                <a:cubicBezTo>
                  <a:pt x="439" y="912"/>
                  <a:pt x="437" y="916"/>
                  <a:pt x="436" y="920"/>
                </a:cubicBezTo>
                <a:cubicBezTo>
                  <a:pt x="436" y="925"/>
                  <a:pt x="436" y="931"/>
                  <a:pt x="437" y="939"/>
                </a:cubicBezTo>
                <a:lnTo>
                  <a:pt x="482" y="984"/>
                </a:lnTo>
                <a:cubicBezTo>
                  <a:pt x="482" y="984"/>
                  <a:pt x="482" y="985"/>
                  <a:pt x="482" y="985"/>
                </a:cubicBezTo>
                <a:cubicBezTo>
                  <a:pt x="482" y="986"/>
                  <a:pt x="482" y="986"/>
                  <a:pt x="482" y="987"/>
                </a:cubicBezTo>
                <a:cubicBezTo>
                  <a:pt x="482" y="987"/>
                  <a:pt x="481" y="988"/>
                  <a:pt x="481" y="989"/>
                </a:cubicBezTo>
                <a:cubicBezTo>
                  <a:pt x="480" y="990"/>
                  <a:pt x="479" y="991"/>
                  <a:pt x="478" y="992"/>
                </a:cubicBezTo>
                <a:cubicBezTo>
                  <a:pt x="477" y="993"/>
                  <a:pt x="476" y="994"/>
                  <a:pt x="475" y="995"/>
                </a:cubicBezTo>
                <a:cubicBezTo>
                  <a:pt x="474" y="996"/>
                  <a:pt x="473" y="996"/>
                  <a:pt x="473" y="996"/>
                </a:cubicBezTo>
                <a:cubicBezTo>
                  <a:pt x="472" y="997"/>
                  <a:pt x="472" y="997"/>
                  <a:pt x="471" y="996"/>
                </a:cubicBezTo>
                <a:cubicBezTo>
                  <a:pt x="471" y="996"/>
                  <a:pt x="470" y="996"/>
                  <a:pt x="470" y="996"/>
                </a:cubicBezTo>
                <a:lnTo>
                  <a:pt x="431" y="956"/>
                </a:lnTo>
                <a:cubicBezTo>
                  <a:pt x="428" y="954"/>
                  <a:pt x="425" y="952"/>
                  <a:pt x="422" y="950"/>
                </a:cubicBezTo>
                <a:cubicBezTo>
                  <a:pt x="420" y="948"/>
                  <a:pt x="417" y="947"/>
                  <a:pt x="414" y="946"/>
                </a:cubicBezTo>
                <a:cubicBezTo>
                  <a:pt x="411" y="946"/>
                  <a:pt x="409" y="946"/>
                  <a:pt x="406" y="947"/>
                </a:cubicBezTo>
                <a:cubicBezTo>
                  <a:pt x="404" y="947"/>
                  <a:pt x="402" y="949"/>
                  <a:pt x="399" y="951"/>
                </a:cubicBezTo>
                <a:cubicBezTo>
                  <a:pt x="397" y="954"/>
                  <a:pt x="395" y="958"/>
                  <a:pt x="394" y="962"/>
                </a:cubicBezTo>
                <a:cubicBezTo>
                  <a:pt x="394" y="967"/>
                  <a:pt x="394" y="973"/>
                  <a:pt x="395" y="981"/>
                </a:cubicBezTo>
                <a:lnTo>
                  <a:pt x="440" y="1026"/>
                </a:lnTo>
                <a:cubicBezTo>
                  <a:pt x="440" y="1026"/>
                  <a:pt x="440" y="1027"/>
                  <a:pt x="440" y="1027"/>
                </a:cubicBezTo>
                <a:cubicBezTo>
                  <a:pt x="440" y="1028"/>
                  <a:pt x="440" y="1028"/>
                  <a:pt x="440" y="1029"/>
                </a:cubicBezTo>
                <a:cubicBezTo>
                  <a:pt x="440" y="1029"/>
                  <a:pt x="439" y="1030"/>
                  <a:pt x="439" y="1031"/>
                </a:cubicBezTo>
                <a:cubicBezTo>
                  <a:pt x="438" y="1032"/>
                  <a:pt x="437" y="1033"/>
                  <a:pt x="436" y="1034"/>
                </a:cubicBezTo>
                <a:cubicBezTo>
                  <a:pt x="435" y="1035"/>
                  <a:pt x="434" y="1036"/>
                  <a:pt x="433" y="1037"/>
                </a:cubicBezTo>
                <a:cubicBezTo>
                  <a:pt x="432" y="1038"/>
                  <a:pt x="431" y="1038"/>
                  <a:pt x="431" y="1038"/>
                </a:cubicBezTo>
                <a:cubicBezTo>
                  <a:pt x="430" y="1039"/>
                  <a:pt x="430" y="1039"/>
                  <a:pt x="429" y="1039"/>
                </a:cubicBezTo>
                <a:cubicBezTo>
                  <a:pt x="429" y="1038"/>
                  <a:pt x="428" y="1038"/>
                  <a:pt x="428" y="1038"/>
                </a:cubicBezTo>
                <a:lnTo>
                  <a:pt x="363" y="973"/>
                </a:lnTo>
                <a:cubicBezTo>
                  <a:pt x="363" y="973"/>
                  <a:pt x="363" y="972"/>
                  <a:pt x="362" y="972"/>
                </a:cubicBezTo>
                <a:cubicBezTo>
                  <a:pt x="362" y="972"/>
                  <a:pt x="362" y="971"/>
                  <a:pt x="363" y="970"/>
                </a:cubicBezTo>
                <a:cubicBezTo>
                  <a:pt x="363" y="970"/>
                  <a:pt x="363" y="969"/>
                  <a:pt x="364" y="968"/>
                </a:cubicBezTo>
                <a:cubicBezTo>
                  <a:pt x="364" y="968"/>
                  <a:pt x="365" y="967"/>
                  <a:pt x="366" y="966"/>
                </a:cubicBezTo>
                <a:cubicBezTo>
                  <a:pt x="367" y="964"/>
                  <a:pt x="368" y="964"/>
                  <a:pt x="369" y="963"/>
                </a:cubicBezTo>
                <a:cubicBezTo>
                  <a:pt x="370" y="962"/>
                  <a:pt x="371" y="962"/>
                  <a:pt x="371" y="962"/>
                </a:cubicBezTo>
                <a:cubicBezTo>
                  <a:pt x="372" y="962"/>
                  <a:pt x="372" y="962"/>
                  <a:pt x="373" y="962"/>
                </a:cubicBezTo>
                <a:cubicBezTo>
                  <a:pt x="373" y="962"/>
                  <a:pt x="374" y="962"/>
                  <a:pt x="374" y="962"/>
                </a:cubicBezTo>
                <a:lnTo>
                  <a:pt x="382" y="971"/>
                </a:lnTo>
                <a:cubicBezTo>
                  <a:pt x="382" y="963"/>
                  <a:pt x="383" y="957"/>
                  <a:pt x="384" y="951"/>
                </a:cubicBezTo>
                <a:cubicBezTo>
                  <a:pt x="386" y="946"/>
                  <a:pt x="388" y="942"/>
                  <a:pt x="392" y="938"/>
                </a:cubicBezTo>
                <a:cubicBezTo>
                  <a:pt x="394" y="936"/>
                  <a:pt x="397" y="933"/>
                  <a:pt x="400" y="932"/>
                </a:cubicBezTo>
                <a:cubicBezTo>
                  <a:pt x="403" y="930"/>
                  <a:pt x="405" y="929"/>
                  <a:pt x="408" y="929"/>
                </a:cubicBezTo>
                <a:cubicBezTo>
                  <a:pt x="411" y="928"/>
                  <a:pt x="414" y="928"/>
                  <a:pt x="416" y="929"/>
                </a:cubicBezTo>
                <a:cubicBezTo>
                  <a:pt x="419" y="929"/>
                  <a:pt x="422" y="930"/>
                  <a:pt x="424" y="931"/>
                </a:cubicBezTo>
                <a:cubicBezTo>
                  <a:pt x="424" y="927"/>
                  <a:pt x="424" y="923"/>
                  <a:pt x="425" y="919"/>
                </a:cubicBezTo>
                <a:cubicBezTo>
                  <a:pt x="425" y="915"/>
                  <a:pt x="425" y="912"/>
                  <a:pt x="426" y="909"/>
                </a:cubicBezTo>
                <a:cubicBezTo>
                  <a:pt x="427" y="907"/>
                  <a:pt x="428" y="904"/>
                  <a:pt x="429" y="902"/>
                </a:cubicBezTo>
                <a:cubicBezTo>
                  <a:pt x="430" y="900"/>
                  <a:pt x="432" y="898"/>
                  <a:pt x="434" y="896"/>
                </a:cubicBezTo>
                <a:cubicBezTo>
                  <a:pt x="438" y="892"/>
                  <a:pt x="442" y="889"/>
                  <a:pt x="446" y="888"/>
                </a:cubicBezTo>
                <a:cubicBezTo>
                  <a:pt x="451" y="887"/>
                  <a:pt x="455" y="886"/>
                  <a:pt x="459" y="887"/>
                </a:cubicBezTo>
                <a:cubicBezTo>
                  <a:pt x="463" y="888"/>
                  <a:pt x="467" y="889"/>
                  <a:pt x="471" y="892"/>
                </a:cubicBezTo>
                <a:cubicBezTo>
                  <a:pt x="475" y="894"/>
                  <a:pt x="479" y="897"/>
                  <a:pt x="483" y="901"/>
                </a:cubicBezTo>
                <a:lnTo>
                  <a:pt x="524" y="942"/>
                </a:lnTo>
                <a:close/>
                <a:moveTo>
                  <a:pt x="553" y="913"/>
                </a:moveTo>
                <a:cubicBezTo>
                  <a:pt x="553" y="913"/>
                  <a:pt x="553" y="914"/>
                  <a:pt x="554" y="914"/>
                </a:cubicBezTo>
                <a:cubicBezTo>
                  <a:pt x="554" y="915"/>
                  <a:pt x="554" y="915"/>
                  <a:pt x="553" y="916"/>
                </a:cubicBezTo>
                <a:cubicBezTo>
                  <a:pt x="553" y="916"/>
                  <a:pt x="553" y="917"/>
                  <a:pt x="552" y="918"/>
                </a:cubicBezTo>
                <a:cubicBezTo>
                  <a:pt x="551" y="919"/>
                  <a:pt x="550" y="920"/>
                  <a:pt x="549" y="921"/>
                </a:cubicBezTo>
                <a:cubicBezTo>
                  <a:pt x="548" y="922"/>
                  <a:pt x="547" y="923"/>
                  <a:pt x="546" y="924"/>
                </a:cubicBezTo>
                <a:cubicBezTo>
                  <a:pt x="545" y="924"/>
                  <a:pt x="544" y="925"/>
                  <a:pt x="544" y="925"/>
                </a:cubicBezTo>
                <a:cubicBezTo>
                  <a:pt x="543" y="925"/>
                  <a:pt x="543" y="925"/>
                  <a:pt x="542" y="925"/>
                </a:cubicBezTo>
                <a:cubicBezTo>
                  <a:pt x="542" y="925"/>
                  <a:pt x="541" y="925"/>
                  <a:pt x="541" y="925"/>
                </a:cubicBezTo>
                <a:lnTo>
                  <a:pt x="476" y="860"/>
                </a:lnTo>
                <a:cubicBezTo>
                  <a:pt x="476" y="860"/>
                  <a:pt x="476" y="859"/>
                  <a:pt x="476" y="859"/>
                </a:cubicBezTo>
                <a:cubicBezTo>
                  <a:pt x="476" y="858"/>
                  <a:pt x="476" y="858"/>
                  <a:pt x="476" y="857"/>
                </a:cubicBezTo>
                <a:cubicBezTo>
                  <a:pt x="476" y="857"/>
                  <a:pt x="477" y="856"/>
                  <a:pt x="477" y="855"/>
                </a:cubicBezTo>
                <a:cubicBezTo>
                  <a:pt x="478" y="854"/>
                  <a:pt x="479" y="853"/>
                  <a:pt x="480" y="852"/>
                </a:cubicBezTo>
                <a:cubicBezTo>
                  <a:pt x="481" y="851"/>
                  <a:pt x="482" y="850"/>
                  <a:pt x="483" y="849"/>
                </a:cubicBezTo>
                <a:cubicBezTo>
                  <a:pt x="484" y="848"/>
                  <a:pt x="485" y="848"/>
                  <a:pt x="485" y="848"/>
                </a:cubicBezTo>
                <a:cubicBezTo>
                  <a:pt x="486" y="848"/>
                  <a:pt x="487" y="847"/>
                  <a:pt x="487" y="848"/>
                </a:cubicBezTo>
                <a:cubicBezTo>
                  <a:pt x="487" y="848"/>
                  <a:pt x="488" y="848"/>
                  <a:pt x="488" y="848"/>
                </a:cubicBezTo>
                <a:lnTo>
                  <a:pt x="553" y="913"/>
                </a:lnTo>
                <a:close/>
                <a:moveTo>
                  <a:pt x="468" y="825"/>
                </a:moveTo>
                <a:cubicBezTo>
                  <a:pt x="471" y="828"/>
                  <a:pt x="472" y="830"/>
                  <a:pt x="472" y="832"/>
                </a:cubicBezTo>
                <a:cubicBezTo>
                  <a:pt x="472" y="834"/>
                  <a:pt x="470" y="837"/>
                  <a:pt x="468" y="840"/>
                </a:cubicBezTo>
                <a:cubicBezTo>
                  <a:pt x="465" y="842"/>
                  <a:pt x="462" y="844"/>
                  <a:pt x="460" y="844"/>
                </a:cubicBezTo>
                <a:cubicBezTo>
                  <a:pt x="458" y="844"/>
                  <a:pt x="456" y="842"/>
                  <a:pt x="453" y="840"/>
                </a:cubicBezTo>
                <a:cubicBezTo>
                  <a:pt x="450" y="837"/>
                  <a:pt x="449" y="835"/>
                  <a:pt x="449" y="833"/>
                </a:cubicBezTo>
                <a:cubicBezTo>
                  <a:pt x="449" y="830"/>
                  <a:pt x="451" y="828"/>
                  <a:pt x="453" y="825"/>
                </a:cubicBezTo>
                <a:cubicBezTo>
                  <a:pt x="456" y="822"/>
                  <a:pt x="459" y="821"/>
                  <a:pt x="461" y="821"/>
                </a:cubicBezTo>
                <a:cubicBezTo>
                  <a:pt x="463" y="821"/>
                  <a:pt x="465" y="822"/>
                  <a:pt x="468" y="825"/>
                </a:cubicBezTo>
                <a:close/>
                <a:moveTo>
                  <a:pt x="598" y="833"/>
                </a:moveTo>
                <a:cubicBezTo>
                  <a:pt x="601" y="836"/>
                  <a:pt x="604" y="839"/>
                  <a:pt x="605" y="843"/>
                </a:cubicBezTo>
                <a:cubicBezTo>
                  <a:pt x="606" y="847"/>
                  <a:pt x="607" y="851"/>
                  <a:pt x="606" y="855"/>
                </a:cubicBezTo>
                <a:cubicBezTo>
                  <a:pt x="606" y="859"/>
                  <a:pt x="604" y="863"/>
                  <a:pt x="602" y="867"/>
                </a:cubicBezTo>
                <a:cubicBezTo>
                  <a:pt x="600" y="871"/>
                  <a:pt x="597" y="875"/>
                  <a:pt x="593" y="879"/>
                </a:cubicBezTo>
                <a:cubicBezTo>
                  <a:pt x="591" y="881"/>
                  <a:pt x="589" y="883"/>
                  <a:pt x="586" y="885"/>
                </a:cubicBezTo>
                <a:cubicBezTo>
                  <a:pt x="584" y="886"/>
                  <a:pt x="581" y="888"/>
                  <a:pt x="579" y="889"/>
                </a:cubicBezTo>
                <a:cubicBezTo>
                  <a:pt x="577" y="890"/>
                  <a:pt x="575" y="891"/>
                  <a:pt x="573" y="891"/>
                </a:cubicBezTo>
                <a:cubicBezTo>
                  <a:pt x="572" y="892"/>
                  <a:pt x="570" y="892"/>
                  <a:pt x="569" y="892"/>
                </a:cubicBezTo>
                <a:cubicBezTo>
                  <a:pt x="568" y="892"/>
                  <a:pt x="567" y="892"/>
                  <a:pt x="566" y="891"/>
                </a:cubicBezTo>
                <a:cubicBezTo>
                  <a:pt x="565" y="891"/>
                  <a:pt x="564" y="890"/>
                  <a:pt x="562" y="888"/>
                </a:cubicBezTo>
                <a:cubicBezTo>
                  <a:pt x="561" y="887"/>
                  <a:pt x="561" y="887"/>
                  <a:pt x="560" y="886"/>
                </a:cubicBezTo>
                <a:cubicBezTo>
                  <a:pt x="559" y="885"/>
                  <a:pt x="559" y="884"/>
                  <a:pt x="559" y="884"/>
                </a:cubicBezTo>
                <a:cubicBezTo>
                  <a:pt x="559" y="883"/>
                  <a:pt x="559" y="883"/>
                  <a:pt x="559" y="883"/>
                </a:cubicBezTo>
                <a:cubicBezTo>
                  <a:pt x="559" y="882"/>
                  <a:pt x="559" y="882"/>
                  <a:pt x="559" y="881"/>
                </a:cubicBezTo>
                <a:cubicBezTo>
                  <a:pt x="560" y="881"/>
                  <a:pt x="561" y="880"/>
                  <a:pt x="563" y="880"/>
                </a:cubicBezTo>
                <a:cubicBezTo>
                  <a:pt x="564" y="880"/>
                  <a:pt x="566" y="879"/>
                  <a:pt x="569" y="878"/>
                </a:cubicBezTo>
                <a:cubicBezTo>
                  <a:pt x="571" y="878"/>
                  <a:pt x="573" y="877"/>
                  <a:pt x="576" y="875"/>
                </a:cubicBezTo>
                <a:cubicBezTo>
                  <a:pt x="579" y="874"/>
                  <a:pt x="581" y="872"/>
                  <a:pt x="584" y="869"/>
                </a:cubicBezTo>
                <a:cubicBezTo>
                  <a:pt x="586" y="867"/>
                  <a:pt x="588" y="865"/>
                  <a:pt x="589" y="863"/>
                </a:cubicBezTo>
                <a:cubicBezTo>
                  <a:pt x="590" y="861"/>
                  <a:pt x="591" y="859"/>
                  <a:pt x="591" y="857"/>
                </a:cubicBezTo>
                <a:cubicBezTo>
                  <a:pt x="592" y="855"/>
                  <a:pt x="591" y="853"/>
                  <a:pt x="591" y="851"/>
                </a:cubicBezTo>
                <a:cubicBezTo>
                  <a:pt x="590" y="849"/>
                  <a:pt x="589" y="847"/>
                  <a:pt x="587" y="845"/>
                </a:cubicBezTo>
                <a:cubicBezTo>
                  <a:pt x="585" y="843"/>
                  <a:pt x="583" y="842"/>
                  <a:pt x="581" y="842"/>
                </a:cubicBezTo>
                <a:cubicBezTo>
                  <a:pt x="579" y="842"/>
                  <a:pt x="577" y="842"/>
                  <a:pt x="574" y="842"/>
                </a:cubicBezTo>
                <a:cubicBezTo>
                  <a:pt x="572" y="843"/>
                  <a:pt x="569" y="844"/>
                  <a:pt x="566" y="845"/>
                </a:cubicBezTo>
                <a:cubicBezTo>
                  <a:pt x="564" y="846"/>
                  <a:pt x="561" y="847"/>
                  <a:pt x="558" y="849"/>
                </a:cubicBezTo>
                <a:cubicBezTo>
                  <a:pt x="555" y="850"/>
                  <a:pt x="552" y="851"/>
                  <a:pt x="549" y="852"/>
                </a:cubicBezTo>
                <a:cubicBezTo>
                  <a:pt x="546" y="853"/>
                  <a:pt x="543" y="853"/>
                  <a:pt x="540" y="853"/>
                </a:cubicBezTo>
                <a:cubicBezTo>
                  <a:pt x="537" y="853"/>
                  <a:pt x="534" y="853"/>
                  <a:pt x="531" y="852"/>
                </a:cubicBezTo>
                <a:cubicBezTo>
                  <a:pt x="528" y="850"/>
                  <a:pt x="526" y="848"/>
                  <a:pt x="523" y="846"/>
                </a:cubicBezTo>
                <a:cubicBezTo>
                  <a:pt x="520" y="843"/>
                  <a:pt x="518" y="840"/>
                  <a:pt x="517" y="837"/>
                </a:cubicBezTo>
                <a:cubicBezTo>
                  <a:pt x="516" y="834"/>
                  <a:pt x="515" y="830"/>
                  <a:pt x="515" y="826"/>
                </a:cubicBezTo>
                <a:cubicBezTo>
                  <a:pt x="515" y="823"/>
                  <a:pt x="516" y="819"/>
                  <a:pt x="518" y="815"/>
                </a:cubicBezTo>
                <a:cubicBezTo>
                  <a:pt x="520" y="811"/>
                  <a:pt x="523" y="807"/>
                  <a:pt x="527" y="803"/>
                </a:cubicBezTo>
                <a:cubicBezTo>
                  <a:pt x="529" y="801"/>
                  <a:pt x="531" y="800"/>
                  <a:pt x="533" y="798"/>
                </a:cubicBezTo>
                <a:cubicBezTo>
                  <a:pt x="535" y="797"/>
                  <a:pt x="537" y="796"/>
                  <a:pt x="538" y="795"/>
                </a:cubicBezTo>
                <a:cubicBezTo>
                  <a:pt x="540" y="794"/>
                  <a:pt x="542" y="793"/>
                  <a:pt x="543" y="792"/>
                </a:cubicBezTo>
                <a:cubicBezTo>
                  <a:pt x="545" y="792"/>
                  <a:pt x="546" y="792"/>
                  <a:pt x="547" y="792"/>
                </a:cubicBezTo>
                <a:cubicBezTo>
                  <a:pt x="548" y="791"/>
                  <a:pt x="548" y="791"/>
                  <a:pt x="549" y="792"/>
                </a:cubicBezTo>
                <a:cubicBezTo>
                  <a:pt x="549" y="792"/>
                  <a:pt x="550" y="792"/>
                  <a:pt x="550" y="792"/>
                </a:cubicBezTo>
                <a:cubicBezTo>
                  <a:pt x="551" y="792"/>
                  <a:pt x="551" y="793"/>
                  <a:pt x="552" y="793"/>
                </a:cubicBezTo>
                <a:cubicBezTo>
                  <a:pt x="552" y="794"/>
                  <a:pt x="553" y="794"/>
                  <a:pt x="554" y="795"/>
                </a:cubicBezTo>
                <a:cubicBezTo>
                  <a:pt x="555" y="796"/>
                  <a:pt x="555" y="797"/>
                  <a:pt x="556" y="797"/>
                </a:cubicBezTo>
                <a:cubicBezTo>
                  <a:pt x="556" y="798"/>
                  <a:pt x="557" y="799"/>
                  <a:pt x="557" y="799"/>
                </a:cubicBezTo>
                <a:cubicBezTo>
                  <a:pt x="557" y="800"/>
                  <a:pt x="557" y="800"/>
                  <a:pt x="557" y="801"/>
                </a:cubicBezTo>
                <a:cubicBezTo>
                  <a:pt x="557" y="801"/>
                  <a:pt x="557" y="801"/>
                  <a:pt x="557" y="802"/>
                </a:cubicBezTo>
                <a:cubicBezTo>
                  <a:pt x="556" y="802"/>
                  <a:pt x="555" y="802"/>
                  <a:pt x="554" y="803"/>
                </a:cubicBezTo>
                <a:cubicBezTo>
                  <a:pt x="553" y="803"/>
                  <a:pt x="551" y="803"/>
                  <a:pt x="549" y="804"/>
                </a:cubicBezTo>
                <a:cubicBezTo>
                  <a:pt x="547" y="805"/>
                  <a:pt x="545" y="806"/>
                  <a:pt x="543" y="807"/>
                </a:cubicBezTo>
                <a:cubicBezTo>
                  <a:pt x="541" y="808"/>
                  <a:pt x="538" y="810"/>
                  <a:pt x="536" y="812"/>
                </a:cubicBezTo>
                <a:cubicBezTo>
                  <a:pt x="534" y="814"/>
                  <a:pt x="533" y="816"/>
                  <a:pt x="531" y="818"/>
                </a:cubicBezTo>
                <a:cubicBezTo>
                  <a:pt x="530" y="820"/>
                  <a:pt x="530" y="822"/>
                  <a:pt x="530" y="824"/>
                </a:cubicBezTo>
                <a:cubicBezTo>
                  <a:pt x="529" y="826"/>
                  <a:pt x="530" y="827"/>
                  <a:pt x="530" y="829"/>
                </a:cubicBezTo>
                <a:cubicBezTo>
                  <a:pt x="531" y="831"/>
                  <a:pt x="532" y="832"/>
                  <a:pt x="533" y="834"/>
                </a:cubicBezTo>
                <a:cubicBezTo>
                  <a:pt x="535" y="835"/>
                  <a:pt x="537" y="837"/>
                  <a:pt x="540" y="837"/>
                </a:cubicBezTo>
                <a:cubicBezTo>
                  <a:pt x="542" y="837"/>
                  <a:pt x="544" y="837"/>
                  <a:pt x="547" y="836"/>
                </a:cubicBezTo>
                <a:cubicBezTo>
                  <a:pt x="549" y="836"/>
                  <a:pt x="552" y="835"/>
                  <a:pt x="554" y="834"/>
                </a:cubicBezTo>
                <a:cubicBezTo>
                  <a:pt x="557" y="833"/>
                  <a:pt x="560" y="831"/>
                  <a:pt x="563" y="830"/>
                </a:cubicBezTo>
                <a:cubicBezTo>
                  <a:pt x="566" y="829"/>
                  <a:pt x="569" y="828"/>
                  <a:pt x="572" y="827"/>
                </a:cubicBezTo>
                <a:cubicBezTo>
                  <a:pt x="575" y="826"/>
                  <a:pt x="578" y="825"/>
                  <a:pt x="580" y="825"/>
                </a:cubicBezTo>
                <a:cubicBezTo>
                  <a:pt x="583" y="825"/>
                  <a:pt x="586" y="826"/>
                  <a:pt x="589" y="827"/>
                </a:cubicBezTo>
                <a:cubicBezTo>
                  <a:pt x="592" y="828"/>
                  <a:pt x="595" y="830"/>
                  <a:pt x="598" y="833"/>
                </a:cubicBezTo>
                <a:close/>
                <a:moveTo>
                  <a:pt x="655" y="776"/>
                </a:moveTo>
                <a:cubicBezTo>
                  <a:pt x="658" y="779"/>
                  <a:pt x="660" y="783"/>
                  <a:pt x="662" y="787"/>
                </a:cubicBezTo>
                <a:cubicBezTo>
                  <a:pt x="663" y="790"/>
                  <a:pt x="663" y="794"/>
                  <a:pt x="663" y="798"/>
                </a:cubicBezTo>
                <a:cubicBezTo>
                  <a:pt x="662" y="802"/>
                  <a:pt x="661" y="806"/>
                  <a:pt x="659" y="810"/>
                </a:cubicBezTo>
                <a:cubicBezTo>
                  <a:pt x="657" y="814"/>
                  <a:pt x="654" y="818"/>
                  <a:pt x="650" y="822"/>
                </a:cubicBezTo>
                <a:cubicBezTo>
                  <a:pt x="648" y="824"/>
                  <a:pt x="645" y="826"/>
                  <a:pt x="643" y="828"/>
                </a:cubicBezTo>
                <a:cubicBezTo>
                  <a:pt x="640" y="830"/>
                  <a:pt x="638" y="831"/>
                  <a:pt x="636" y="832"/>
                </a:cubicBezTo>
                <a:cubicBezTo>
                  <a:pt x="634" y="833"/>
                  <a:pt x="632" y="834"/>
                  <a:pt x="630" y="835"/>
                </a:cubicBezTo>
                <a:cubicBezTo>
                  <a:pt x="628" y="835"/>
                  <a:pt x="627" y="836"/>
                  <a:pt x="626" y="836"/>
                </a:cubicBezTo>
                <a:cubicBezTo>
                  <a:pt x="625" y="836"/>
                  <a:pt x="624" y="835"/>
                  <a:pt x="623" y="835"/>
                </a:cubicBezTo>
                <a:cubicBezTo>
                  <a:pt x="622" y="834"/>
                  <a:pt x="620" y="833"/>
                  <a:pt x="619" y="832"/>
                </a:cubicBezTo>
                <a:cubicBezTo>
                  <a:pt x="618" y="831"/>
                  <a:pt x="617" y="830"/>
                  <a:pt x="617" y="829"/>
                </a:cubicBezTo>
                <a:cubicBezTo>
                  <a:pt x="616" y="829"/>
                  <a:pt x="616" y="828"/>
                  <a:pt x="615" y="827"/>
                </a:cubicBezTo>
                <a:cubicBezTo>
                  <a:pt x="615" y="827"/>
                  <a:pt x="615" y="826"/>
                  <a:pt x="615" y="826"/>
                </a:cubicBezTo>
                <a:cubicBezTo>
                  <a:pt x="615" y="826"/>
                  <a:pt x="616" y="825"/>
                  <a:pt x="616" y="825"/>
                </a:cubicBezTo>
                <a:cubicBezTo>
                  <a:pt x="616" y="824"/>
                  <a:pt x="617" y="824"/>
                  <a:pt x="619" y="823"/>
                </a:cubicBezTo>
                <a:cubicBezTo>
                  <a:pt x="621" y="823"/>
                  <a:pt x="623" y="822"/>
                  <a:pt x="625" y="822"/>
                </a:cubicBezTo>
                <a:cubicBezTo>
                  <a:pt x="627" y="821"/>
                  <a:pt x="630" y="820"/>
                  <a:pt x="633" y="819"/>
                </a:cubicBezTo>
                <a:cubicBezTo>
                  <a:pt x="635" y="817"/>
                  <a:pt x="638" y="815"/>
                  <a:pt x="641" y="812"/>
                </a:cubicBezTo>
                <a:cubicBezTo>
                  <a:pt x="643" y="810"/>
                  <a:pt x="644" y="808"/>
                  <a:pt x="645" y="806"/>
                </a:cubicBezTo>
                <a:cubicBezTo>
                  <a:pt x="647" y="804"/>
                  <a:pt x="647" y="802"/>
                  <a:pt x="648" y="800"/>
                </a:cubicBezTo>
                <a:cubicBezTo>
                  <a:pt x="648" y="798"/>
                  <a:pt x="648" y="796"/>
                  <a:pt x="647" y="794"/>
                </a:cubicBezTo>
                <a:cubicBezTo>
                  <a:pt x="647" y="792"/>
                  <a:pt x="646" y="790"/>
                  <a:pt x="644" y="789"/>
                </a:cubicBezTo>
                <a:cubicBezTo>
                  <a:pt x="642" y="787"/>
                  <a:pt x="640" y="786"/>
                  <a:pt x="638" y="785"/>
                </a:cubicBezTo>
                <a:cubicBezTo>
                  <a:pt x="636" y="785"/>
                  <a:pt x="633" y="785"/>
                  <a:pt x="631" y="786"/>
                </a:cubicBezTo>
                <a:cubicBezTo>
                  <a:pt x="628" y="786"/>
                  <a:pt x="626" y="787"/>
                  <a:pt x="623" y="788"/>
                </a:cubicBezTo>
                <a:cubicBezTo>
                  <a:pt x="620" y="790"/>
                  <a:pt x="618" y="791"/>
                  <a:pt x="615" y="792"/>
                </a:cubicBezTo>
                <a:cubicBezTo>
                  <a:pt x="612" y="793"/>
                  <a:pt x="609" y="794"/>
                  <a:pt x="606" y="795"/>
                </a:cubicBezTo>
                <a:cubicBezTo>
                  <a:pt x="603" y="796"/>
                  <a:pt x="600" y="797"/>
                  <a:pt x="597" y="797"/>
                </a:cubicBezTo>
                <a:cubicBezTo>
                  <a:pt x="594" y="797"/>
                  <a:pt x="591" y="796"/>
                  <a:pt x="588" y="795"/>
                </a:cubicBezTo>
                <a:cubicBezTo>
                  <a:pt x="585" y="794"/>
                  <a:pt x="582" y="792"/>
                  <a:pt x="579" y="789"/>
                </a:cubicBezTo>
                <a:cubicBezTo>
                  <a:pt x="577" y="787"/>
                  <a:pt x="575" y="784"/>
                  <a:pt x="573" y="780"/>
                </a:cubicBezTo>
                <a:cubicBezTo>
                  <a:pt x="572" y="777"/>
                  <a:pt x="572" y="773"/>
                  <a:pt x="572" y="770"/>
                </a:cubicBezTo>
                <a:cubicBezTo>
                  <a:pt x="572" y="766"/>
                  <a:pt x="573" y="762"/>
                  <a:pt x="575" y="758"/>
                </a:cubicBezTo>
                <a:cubicBezTo>
                  <a:pt x="577" y="754"/>
                  <a:pt x="580" y="750"/>
                  <a:pt x="584" y="746"/>
                </a:cubicBezTo>
                <a:cubicBezTo>
                  <a:pt x="585" y="745"/>
                  <a:pt x="587" y="743"/>
                  <a:pt x="589" y="742"/>
                </a:cubicBezTo>
                <a:cubicBezTo>
                  <a:pt x="591" y="740"/>
                  <a:pt x="593" y="739"/>
                  <a:pt x="595" y="738"/>
                </a:cubicBezTo>
                <a:cubicBezTo>
                  <a:pt x="597" y="737"/>
                  <a:pt x="598" y="736"/>
                  <a:pt x="600" y="736"/>
                </a:cubicBezTo>
                <a:cubicBezTo>
                  <a:pt x="601" y="735"/>
                  <a:pt x="603" y="735"/>
                  <a:pt x="603" y="735"/>
                </a:cubicBezTo>
                <a:cubicBezTo>
                  <a:pt x="604" y="735"/>
                  <a:pt x="605" y="735"/>
                  <a:pt x="605" y="735"/>
                </a:cubicBezTo>
                <a:cubicBezTo>
                  <a:pt x="606" y="735"/>
                  <a:pt x="606" y="735"/>
                  <a:pt x="607" y="736"/>
                </a:cubicBezTo>
                <a:cubicBezTo>
                  <a:pt x="607" y="736"/>
                  <a:pt x="608" y="736"/>
                  <a:pt x="608" y="737"/>
                </a:cubicBezTo>
                <a:cubicBezTo>
                  <a:pt x="609" y="737"/>
                  <a:pt x="610" y="738"/>
                  <a:pt x="610" y="738"/>
                </a:cubicBezTo>
                <a:cubicBezTo>
                  <a:pt x="611" y="739"/>
                  <a:pt x="612" y="740"/>
                  <a:pt x="612" y="741"/>
                </a:cubicBezTo>
                <a:cubicBezTo>
                  <a:pt x="613" y="741"/>
                  <a:pt x="613" y="742"/>
                  <a:pt x="614" y="743"/>
                </a:cubicBezTo>
                <a:cubicBezTo>
                  <a:pt x="614" y="743"/>
                  <a:pt x="614" y="744"/>
                  <a:pt x="614" y="744"/>
                </a:cubicBezTo>
                <a:cubicBezTo>
                  <a:pt x="614" y="744"/>
                  <a:pt x="613" y="745"/>
                  <a:pt x="613" y="745"/>
                </a:cubicBezTo>
                <a:cubicBezTo>
                  <a:pt x="613" y="745"/>
                  <a:pt x="612" y="746"/>
                  <a:pt x="611" y="746"/>
                </a:cubicBezTo>
                <a:cubicBezTo>
                  <a:pt x="609" y="746"/>
                  <a:pt x="608" y="747"/>
                  <a:pt x="606" y="748"/>
                </a:cubicBezTo>
                <a:cubicBezTo>
                  <a:pt x="604" y="748"/>
                  <a:pt x="602" y="749"/>
                  <a:pt x="599" y="750"/>
                </a:cubicBezTo>
                <a:cubicBezTo>
                  <a:pt x="597" y="752"/>
                  <a:pt x="595" y="753"/>
                  <a:pt x="593" y="756"/>
                </a:cubicBezTo>
                <a:cubicBezTo>
                  <a:pt x="591" y="758"/>
                  <a:pt x="589" y="760"/>
                  <a:pt x="588" y="762"/>
                </a:cubicBezTo>
                <a:cubicBezTo>
                  <a:pt x="587" y="764"/>
                  <a:pt x="586" y="766"/>
                  <a:pt x="586" y="767"/>
                </a:cubicBezTo>
                <a:cubicBezTo>
                  <a:pt x="586" y="769"/>
                  <a:pt x="586" y="771"/>
                  <a:pt x="587" y="773"/>
                </a:cubicBezTo>
                <a:cubicBezTo>
                  <a:pt x="588" y="774"/>
                  <a:pt x="589" y="776"/>
                  <a:pt x="590" y="777"/>
                </a:cubicBezTo>
                <a:cubicBezTo>
                  <a:pt x="592" y="779"/>
                  <a:pt x="594" y="780"/>
                  <a:pt x="596" y="780"/>
                </a:cubicBezTo>
                <a:cubicBezTo>
                  <a:pt x="598" y="781"/>
                  <a:pt x="601" y="780"/>
                  <a:pt x="603" y="780"/>
                </a:cubicBezTo>
                <a:cubicBezTo>
                  <a:pt x="606" y="779"/>
                  <a:pt x="608" y="778"/>
                  <a:pt x="611" y="777"/>
                </a:cubicBezTo>
                <a:cubicBezTo>
                  <a:pt x="614" y="776"/>
                  <a:pt x="617" y="775"/>
                  <a:pt x="619" y="774"/>
                </a:cubicBezTo>
                <a:cubicBezTo>
                  <a:pt x="622" y="772"/>
                  <a:pt x="625" y="771"/>
                  <a:pt x="628" y="770"/>
                </a:cubicBezTo>
                <a:cubicBezTo>
                  <a:pt x="631" y="769"/>
                  <a:pt x="634" y="769"/>
                  <a:pt x="637" y="769"/>
                </a:cubicBezTo>
                <a:cubicBezTo>
                  <a:pt x="640" y="769"/>
                  <a:pt x="643" y="769"/>
                  <a:pt x="646" y="770"/>
                </a:cubicBezTo>
                <a:cubicBezTo>
                  <a:pt x="649" y="771"/>
                  <a:pt x="652" y="773"/>
                  <a:pt x="655" y="776"/>
                </a:cubicBezTo>
                <a:close/>
                <a:moveTo>
                  <a:pt x="700" y="766"/>
                </a:moveTo>
                <a:cubicBezTo>
                  <a:pt x="700" y="766"/>
                  <a:pt x="701" y="767"/>
                  <a:pt x="701" y="767"/>
                </a:cubicBezTo>
                <a:cubicBezTo>
                  <a:pt x="701" y="767"/>
                  <a:pt x="701" y="768"/>
                  <a:pt x="700" y="769"/>
                </a:cubicBezTo>
                <a:cubicBezTo>
                  <a:pt x="700" y="769"/>
                  <a:pt x="700" y="770"/>
                  <a:pt x="699" y="771"/>
                </a:cubicBezTo>
                <a:cubicBezTo>
                  <a:pt x="698" y="772"/>
                  <a:pt x="697" y="773"/>
                  <a:pt x="696" y="774"/>
                </a:cubicBezTo>
                <a:cubicBezTo>
                  <a:pt x="695" y="775"/>
                  <a:pt x="694" y="776"/>
                  <a:pt x="693" y="777"/>
                </a:cubicBezTo>
                <a:cubicBezTo>
                  <a:pt x="692" y="777"/>
                  <a:pt x="692" y="778"/>
                  <a:pt x="691" y="778"/>
                </a:cubicBezTo>
                <a:cubicBezTo>
                  <a:pt x="690" y="778"/>
                  <a:pt x="690" y="778"/>
                  <a:pt x="689" y="778"/>
                </a:cubicBezTo>
                <a:cubicBezTo>
                  <a:pt x="689" y="778"/>
                  <a:pt x="688" y="778"/>
                  <a:pt x="688" y="778"/>
                </a:cubicBezTo>
                <a:lnTo>
                  <a:pt x="623" y="713"/>
                </a:lnTo>
                <a:cubicBezTo>
                  <a:pt x="623" y="713"/>
                  <a:pt x="623" y="712"/>
                  <a:pt x="623" y="712"/>
                </a:cubicBezTo>
                <a:cubicBezTo>
                  <a:pt x="623" y="711"/>
                  <a:pt x="623" y="711"/>
                  <a:pt x="623" y="710"/>
                </a:cubicBezTo>
                <a:cubicBezTo>
                  <a:pt x="623" y="709"/>
                  <a:pt x="624" y="709"/>
                  <a:pt x="624" y="708"/>
                </a:cubicBezTo>
                <a:cubicBezTo>
                  <a:pt x="625" y="707"/>
                  <a:pt x="626" y="706"/>
                  <a:pt x="627" y="705"/>
                </a:cubicBezTo>
                <a:cubicBezTo>
                  <a:pt x="628" y="704"/>
                  <a:pt x="629" y="703"/>
                  <a:pt x="630" y="702"/>
                </a:cubicBezTo>
                <a:cubicBezTo>
                  <a:pt x="631" y="701"/>
                  <a:pt x="632" y="701"/>
                  <a:pt x="632" y="701"/>
                </a:cubicBezTo>
                <a:cubicBezTo>
                  <a:pt x="633" y="700"/>
                  <a:pt x="634" y="700"/>
                  <a:pt x="634" y="700"/>
                </a:cubicBezTo>
                <a:cubicBezTo>
                  <a:pt x="635" y="701"/>
                  <a:pt x="635" y="701"/>
                  <a:pt x="635" y="701"/>
                </a:cubicBezTo>
                <a:lnTo>
                  <a:pt x="700" y="766"/>
                </a:lnTo>
                <a:close/>
                <a:moveTo>
                  <a:pt x="615" y="678"/>
                </a:moveTo>
                <a:cubicBezTo>
                  <a:pt x="618" y="681"/>
                  <a:pt x="619" y="683"/>
                  <a:pt x="619" y="685"/>
                </a:cubicBezTo>
                <a:cubicBezTo>
                  <a:pt x="619" y="687"/>
                  <a:pt x="617" y="690"/>
                  <a:pt x="615" y="692"/>
                </a:cubicBezTo>
                <a:cubicBezTo>
                  <a:pt x="612" y="695"/>
                  <a:pt x="609" y="697"/>
                  <a:pt x="607" y="697"/>
                </a:cubicBezTo>
                <a:cubicBezTo>
                  <a:pt x="605" y="697"/>
                  <a:pt x="603" y="695"/>
                  <a:pt x="600" y="693"/>
                </a:cubicBezTo>
                <a:cubicBezTo>
                  <a:pt x="598" y="690"/>
                  <a:pt x="596" y="687"/>
                  <a:pt x="596" y="685"/>
                </a:cubicBezTo>
                <a:cubicBezTo>
                  <a:pt x="596" y="683"/>
                  <a:pt x="598" y="681"/>
                  <a:pt x="601" y="678"/>
                </a:cubicBezTo>
                <a:cubicBezTo>
                  <a:pt x="603" y="675"/>
                  <a:pt x="606" y="674"/>
                  <a:pt x="608" y="674"/>
                </a:cubicBezTo>
                <a:cubicBezTo>
                  <a:pt x="610" y="674"/>
                  <a:pt x="612" y="675"/>
                  <a:pt x="615" y="678"/>
                </a:cubicBezTo>
                <a:close/>
                <a:moveTo>
                  <a:pt x="749" y="650"/>
                </a:moveTo>
                <a:cubicBezTo>
                  <a:pt x="754" y="656"/>
                  <a:pt x="759" y="661"/>
                  <a:pt x="762" y="667"/>
                </a:cubicBezTo>
                <a:cubicBezTo>
                  <a:pt x="765" y="673"/>
                  <a:pt x="766" y="679"/>
                  <a:pt x="767" y="685"/>
                </a:cubicBezTo>
                <a:cubicBezTo>
                  <a:pt x="767" y="691"/>
                  <a:pt x="766" y="697"/>
                  <a:pt x="764" y="703"/>
                </a:cubicBezTo>
                <a:cubicBezTo>
                  <a:pt x="762" y="709"/>
                  <a:pt x="758" y="714"/>
                  <a:pt x="752" y="720"/>
                </a:cubicBezTo>
                <a:cubicBezTo>
                  <a:pt x="747" y="725"/>
                  <a:pt x="742" y="729"/>
                  <a:pt x="736" y="731"/>
                </a:cubicBezTo>
                <a:cubicBezTo>
                  <a:pt x="730" y="734"/>
                  <a:pt x="725" y="735"/>
                  <a:pt x="719" y="734"/>
                </a:cubicBezTo>
                <a:cubicBezTo>
                  <a:pt x="714" y="734"/>
                  <a:pt x="708" y="732"/>
                  <a:pt x="702" y="729"/>
                </a:cubicBezTo>
                <a:cubicBezTo>
                  <a:pt x="697" y="726"/>
                  <a:pt x="691" y="722"/>
                  <a:pt x="686" y="716"/>
                </a:cubicBezTo>
                <a:cubicBezTo>
                  <a:pt x="680" y="711"/>
                  <a:pt x="676" y="706"/>
                  <a:pt x="673" y="700"/>
                </a:cubicBezTo>
                <a:cubicBezTo>
                  <a:pt x="670" y="694"/>
                  <a:pt x="668" y="688"/>
                  <a:pt x="668" y="682"/>
                </a:cubicBezTo>
                <a:cubicBezTo>
                  <a:pt x="668" y="676"/>
                  <a:pt x="668" y="670"/>
                  <a:pt x="671" y="664"/>
                </a:cubicBezTo>
                <a:cubicBezTo>
                  <a:pt x="673" y="659"/>
                  <a:pt x="677" y="653"/>
                  <a:pt x="683" y="647"/>
                </a:cubicBezTo>
                <a:cubicBezTo>
                  <a:pt x="688" y="642"/>
                  <a:pt x="693" y="638"/>
                  <a:pt x="699" y="636"/>
                </a:cubicBezTo>
                <a:cubicBezTo>
                  <a:pt x="704" y="633"/>
                  <a:pt x="710" y="632"/>
                  <a:pt x="716" y="633"/>
                </a:cubicBezTo>
                <a:cubicBezTo>
                  <a:pt x="721" y="633"/>
                  <a:pt x="727" y="635"/>
                  <a:pt x="733" y="638"/>
                </a:cubicBezTo>
                <a:cubicBezTo>
                  <a:pt x="738" y="641"/>
                  <a:pt x="744" y="645"/>
                  <a:pt x="749" y="650"/>
                </a:cubicBezTo>
                <a:close/>
                <a:moveTo>
                  <a:pt x="738" y="664"/>
                </a:moveTo>
                <a:cubicBezTo>
                  <a:pt x="734" y="660"/>
                  <a:pt x="730" y="657"/>
                  <a:pt x="727" y="655"/>
                </a:cubicBezTo>
                <a:cubicBezTo>
                  <a:pt x="723" y="652"/>
                  <a:pt x="719" y="651"/>
                  <a:pt x="715" y="650"/>
                </a:cubicBezTo>
                <a:cubicBezTo>
                  <a:pt x="711" y="649"/>
                  <a:pt x="708" y="649"/>
                  <a:pt x="704" y="650"/>
                </a:cubicBezTo>
                <a:cubicBezTo>
                  <a:pt x="700" y="651"/>
                  <a:pt x="696" y="654"/>
                  <a:pt x="692" y="658"/>
                </a:cubicBezTo>
                <a:cubicBezTo>
                  <a:pt x="689" y="661"/>
                  <a:pt x="686" y="665"/>
                  <a:pt x="685" y="669"/>
                </a:cubicBezTo>
                <a:cubicBezTo>
                  <a:pt x="684" y="672"/>
                  <a:pt x="683" y="676"/>
                  <a:pt x="684" y="680"/>
                </a:cubicBezTo>
                <a:cubicBezTo>
                  <a:pt x="684" y="684"/>
                  <a:pt x="686" y="688"/>
                  <a:pt x="688" y="692"/>
                </a:cubicBezTo>
                <a:cubicBezTo>
                  <a:pt x="691" y="696"/>
                  <a:pt x="694" y="700"/>
                  <a:pt x="697" y="703"/>
                </a:cubicBezTo>
                <a:cubicBezTo>
                  <a:pt x="701" y="707"/>
                  <a:pt x="704" y="710"/>
                  <a:pt x="708" y="712"/>
                </a:cubicBezTo>
                <a:cubicBezTo>
                  <a:pt x="712" y="715"/>
                  <a:pt x="716" y="716"/>
                  <a:pt x="720" y="717"/>
                </a:cubicBezTo>
                <a:cubicBezTo>
                  <a:pt x="723" y="718"/>
                  <a:pt x="727" y="718"/>
                  <a:pt x="731" y="717"/>
                </a:cubicBezTo>
                <a:cubicBezTo>
                  <a:pt x="735" y="715"/>
                  <a:pt x="739" y="713"/>
                  <a:pt x="743" y="709"/>
                </a:cubicBezTo>
                <a:cubicBezTo>
                  <a:pt x="746" y="706"/>
                  <a:pt x="749" y="702"/>
                  <a:pt x="750" y="698"/>
                </a:cubicBezTo>
                <a:cubicBezTo>
                  <a:pt x="751" y="694"/>
                  <a:pt x="752" y="691"/>
                  <a:pt x="751" y="687"/>
                </a:cubicBezTo>
                <a:cubicBezTo>
                  <a:pt x="751" y="683"/>
                  <a:pt x="749" y="679"/>
                  <a:pt x="747" y="675"/>
                </a:cubicBezTo>
                <a:cubicBezTo>
                  <a:pt x="744" y="671"/>
                  <a:pt x="741" y="667"/>
                  <a:pt x="738" y="664"/>
                </a:cubicBezTo>
                <a:close/>
                <a:moveTo>
                  <a:pt x="857" y="609"/>
                </a:moveTo>
                <a:cubicBezTo>
                  <a:pt x="857" y="609"/>
                  <a:pt x="857" y="610"/>
                  <a:pt x="858" y="610"/>
                </a:cubicBezTo>
                <a:cubicBezTo>
                  <a:pt x="858" y="610"/>
                  <a:pt x="858" y="611"/>
                  <a:pt x="857" y="612"/>
                </a:cubicBezTo>
                <a:cubicBezTo>
                  <a:pt x="857" y="612"/>
                  <a:pt x="857" y="613"/>
                  <a:pt x="856" y="614"/>
                </a:cubicBezTo>
                <a:cubicBezTo>
                  <a:pt x="855" y="615"/>
                  <a:pt x="854" y="616"/>
                  <a:pt x="853" y="617"/>
                </a:cubicBezTo>
                <a:cubicBezTo>
                  <a:pt x="852" y="618"/>
                  <a:pt x="851" y="619"/>
                  <a:pt x="850" y="620"/>
                </a:cubicBezTo>
                <a:cubicBezTo>
                  <a:pt x="849" y="620"/>
                  <a:pt x="849" y="621"/>
                  <a:pt x="848" y="621"/>
                </a:cubicBezTo>
                <a:cubicBezTo>
                  <a:pt x="847" y="621"/>
                  <a:pt x="847" y="621"/>
                  <a:pt x="846" y="621"/>
                </a:cubicBezTo>
                <a:cubicBezTo>
                  <a:pt x="846" y="621"/>
                  <a:pt x="845" y="621"/>
                  <a:pt x="845" y="621"/>
                </a:cubicBezTo>
                <a:lnTo>
                  <a:pt x="807" y="583"/>
                </a:lnTo>
                <a:cubicBezTo>
                  <a:pt x="804" y="579"/>
                  <a:pt x="800" y="576"/>
                  <a:pt x="797" y="575"/>
                </a:cubicBezTo>
                <a:cubicBezTo>
                  <a:pt x="795" y="573"/>
                  <a:pt x="792" y="572"/>
                  <a:pt x="789" y="571"/>
                </a:cubicBezTo>
                <a:cubicBezTo>
                  <a:pt x="786" y="571"/>
                  <a:pt x="784" y="571"/>
                  <a:pt x="781" y="572"/>
                </a:cubicBezTo>
                <a:cubicBezTo>
                  <a:pt x="778" y="573"/>
                  <a:pt x="776" y="574"/>
                  <a:pt x="774" y="577"/>
                </a:cubicBezTo>
                <a:cubicBezTo>
                  <a:pt x="771" y="580"/>
                  <a:pt x="769" y="584"/>
                  <a:pt x="768" y="589"/>
                </a:cubicBezTo>
                <a:cubicBezTo>
                  <a:pt x="767" y="594"/>
                  <a:pt x="767" y="600"/>
                  <a:pt x="768" y="607"/>
                </a:cubicBezTo>
                <a:lnTo>
                  <a:pt x="813" y="653"/>
                </a:lnTo>
                <a:cubicBezTo>
                  <a:pt x="813" y="653"/>
                  <a:pt x="814" y="653"/>
                  <a:pt x="814" y="654"/>
                </a:cubicBezTo>
                <a:cubicBezTo>
                  <a:pt x="814" y="654"/>
                  <a:pt x="814" y="655"/>
                  <a:pt x="814" y="655"/>
                </a:cubicBezTo>
                <a:cubicBezTo>
                  <a:pt x="813" y="656"/>
                  <a:pt x="813" y="657"/>
                  <a:pt x="812" y="658"/>
                </a:cubicBezTo>
                <a:cubicBezTo>
                  <a:pt x="811" y="659"/>
                  <a:pt x="811" y="660"/>
                  <a:pt x="809" y="661"/>
                </a:cubicBezTo>
                <a:cubicBezTo>
                  <a:pt x="808" y="662"/>
                  <a:pt x="807" y="663"/>
                  <a:pt x="806" y="664"/>
                </a:cubicBezTo>
                <a:cubicBezTo>
                  <a:pt x="805" y="664"/>
                  <a:pt x="805" y="665"/>
                  <a:pt x="804" y="665"/>
                </a:cubicBezTo>
                <a:cubicBezTo>
                  <a:pt x="803" y="665"/>
                  <a:pt x="803" y="665"/>
                  <a:pt x="802" y="665"/>
                </a:cubicBezTo>
                <a:cubicBezTo>
                  <a:pt x="802" y="665"/>
                  <a:pt x="802" y="665"/>
                  <a:pt x="801" y="664"/>
                </a:cubicBezTo>
                <a:lnTo>
                  <a:pt x="737" y="600"/>
                </a:lnTo>
                <a:cubicBezTo>
                  <a:pt x="736" y="599"/>
                  <a:pt x="736" y="599"/>
                  <a:pt x="736" y="599"/>
                </a:cubicBezTo>
                <a:cubicBezTo>
                  <a:pt x="736" y="598"/>
                  <a:pt x="736" y="598"/>
                  <a:pt x="736" y="597"/>
                </a:cubicBezTo>
                <a:cubicBezTo>
                  <a:pt x="736" y="596"/>
                  <a:pt x="737" y="596"/>
                  <a:pt x="737" y="595"/>
                </a:cubicBezTo>
                <a:cubicBezTo>
                  <a:pt x="738" y="594"/>
                  <a:pt x="739" y="593"/>
                  <a:pt x="740" y="592"/>
                </a:cubicBezTo>
                <a:cubicBezTo>
                  <a:pt x="741" y="591"/>
                  <a:pt x="742" y="590"/>
                  <a:pt x="742" y="590"/>
                </a:cubicBezTo>
                <a:cubicBezTo>
                  <a:pt x="743" y="589"/>
                  <a:pt x="744" y="589"/>
                  <a:pt x="745" y="588"/>
                </a:cubicBezTo>
                <a:cubicBezTo>
                  <a:pt x="745" y="588"/>
                  <a:pt x="746" y="588"/>
                  <a:pt x="746" y="588"/>
                </a:cubicBezTo>
                <a:cubicBezTo>
                  <a:pt x="747" y="588"/>
                  <a:pt x="747" y="589"/>
                  <a:pt x="747" y="589"/>
                </a:cubicBezTo>
                <a:lnTo>
                  <a:pt x="756" y="598"/>
                </a:lnTo>
                <a:cubicBezTo>
                  <a:pt x="755" y="590"/>
                  <a:pt x="756" y="583"/>
                  <a:pt x="758" y="578"/>
                </a:cubicBezTo>
                <a:cubicBezTo>
                  <a:pt x="760" y="572"/>
                  <a:pt x="762" y="568"/>
                  <a:pt x="766" y="564"/>
                </a:cubicBezTo>
                <a:cubicBezTo>
                  <a:pt x="770" y="560"/>
                  <a:pt x="775" y="557"/>
                  <a:pt x="779" y="555"/>
                </a:cubicBezTo>
                <a:cubicBezTo>
                  <a:pt x="783" y="554"/>
                  <a:pt x="788" y="553"/>
                  <a:pt x="792" y="554"/>
                </a:cubicBezTo>
                <a:cubicBezTo>
                  <a:pt x="796" y="555"/>
                  <a:pt x="800" y="556"/>
                  <a:pt x="804" y="559"/>
                </a:cubicBezTo>
                <a:cubicBezTo>
                  <a:pt x="809" y="561"/>
                  <a:pt x="813" y="565"/>
                  <a:pt x="817" y="569"/>
                </a:cubicBezTo>
                <a:lnTo>
                  <a:pt x="857" y="609"/>
                </a:lnTo>
                <a:close/>
                <a:moveTo>
                  <a:pt x="953" y="464"/>
                </a:moveTo>
                <a:cubicBezTo>
                  <a:pt x="957" y="469"/>
                  <a:pt x="960" y="473"/>
                  <a:pt x="962" y="478"/>
                </a:cubicBezTo>
                <a:cubicBezTo>
                  <a:pt x="964" y="483"/>
                  <a:pt x="964" y="489"/>
                  <a:pt x="964" y="494"/>
                </a:cubicBezTo>
                <a:cubicBezTo>
                  <a:pt x="963" y="499"/>
                  <a:pt x="962" y="504"/>
                  <a:pt x="959" y="509"/>
                </a:cubicBezTo>
                <a:cubicBezTo>
                  <a:pt x="957" y="514"/>
                  <a:pt x="953" y="519"/>
                  <a:pt x="949" y="523"/>
                </a:cubicBezTo>
                <a:cubicBezTo>
                  <a:pt x="945" y="527"/>
                  <a:pt x="942" y="529"/>
                  <a:pt x="939" y="531"/>
                </a:cubicBezTo>
                <a:cubicBezTo>
                  <a:pt x="936" y="533"/>
                  <a:pt x="933" y="535"/>
                  <a:pt x="930" y="537"/>
                </a:cubicBezTo>
                <a:cubicBezTo>
                  <a:pt x="927" y="538"/>
                  <a:pt x="925" y="539"/>
                  <a:pt x="922" y="539"/>
                </a:cubicBezTo>
                <a:cubicBezTo>
                  <a:pt x="920" y="540"/>
                  <a:pt x="919" y="540"/>
                  <a:pt x="917" y="540"/>
                </a:cubicBezTo>
                <a:cubicBezTo>
                  <a:pt x="916" y="540"/>
                  <a:pt x="915" y="540"/>
                  <a:pt x="914" y="539"/>
                </a:cubicBezTo>
                <a:cubicBezTo>
                  <a:pt x="913" y="539"/>
                  <a:pt x="912" y="538"/>
                  <a:pt x="910" y="536"/>
                </a:cubicBezTo>
                <a:cubicBezTo>
                  <a:pt x="909" y="535"/>
                  <a:pt x="908" y="534"/>
                  <a:pt x="908" y="533"/>
                </a:cubicBezTo>
                <a:cubicBezTo>
                  <a:pt x="907" y="533"/>
                  <a:pt x="907" y="532"/>
                  <a:pt x="906" y="531"/>
                </a:cubicBezTo>
                <a:cubicBezTo>
                  <a:pt x="906" y="531"/>
                  <a:pt x="906" y="530"/>
                  <a:pt x="906" y="530"/>
                </a:cubicBezTo>
                <a:cubicBezTo>
                  <a:pt x="906" y="529"/>
                  <a:pt x="906" y="529"/>
                  <a:pt x="907" y="528"/>
                </a:cubicBezTo>
                <a:cubicBezTo>
                  <a:pt x="908" y="528"/>
                  <a:pt x="909" y="527"/>
                  <a:pt x="911" y="527"/>
                </a:cubicBezTo>
                <a:cubicBezTo>
                  <a:pt x="913" y="526"/>
                  <a:pt x="915" y="526"/>
                  <a:pt x="918" y="525"/>
                </a:cubicBezTo>
                <a:cubicBezTo>
                  <a:pt x="921" y="524"/>
                  <a:pt x="924" y="522"/>
                  <a:pt x="928" y="520"/>
                </a:cubicBezTo>
                <a:cubicBezTo>
                  <a:pt x="931" y="519"/>
                  <a:pt x="935" y="516"/>
                  <a:pt x="939" y="512"/>
                </a:cubicBezTo>
                <a:cubicBezTo>
                  <a:pt x="941" y="510"/>
                  <a:pt x="943" y="507"/>
                  <a:pt x="945" y="504"/>
                </a:cubicBezTo>
                <a:cubicBezTo>
                  <a:pt x="946" y="501"/>
                  <a:pt x="947" y="498"/>
                  <a:pt x="948" y="495"/>
                </a:cubicBezTo>
                <a:cubicBezTo>
                  <a:pt x="948" y="492"/>
                  <a:pt x="947" y="489"/>
                  <a:pt x="946" y="487"/>
                </a:cubicBezTo>
                <a:cubicBezTo>
                  <a:pt x="945" y="484"/>
                  <a:pt x="944" y="481"/>
                  <a:pt x="941" y="479"/>
                </a:cubicBezTo>
                <a:cubicBezTo>
                  <a:pt x="938" y="476"/>
                  <a:pt x="936" y="474"/>
                  <a:pt x="933" y="474"/>
                </a:cubicBezTo>
                <a:cubicBezTo>
                  <a:pt x="930" y="473"/>
                  <a:pt x="926" y="473"/>
                  <a:pt x="923" y="474"/>
                </a:cubicBezTo>
                <a:cubicBezTo>
                  <a:pt x="920" y="474"/>
                  <a:pt x="916" y="475"/>
                  <a:pt x="912" y="476"/>
                </a:cubicBezTo>
                <a:cubicBezTo>
                  <a:pt x="909" y="478"/>
                  <a:pt x="905" y="479"/>
                  <a:pt x="901" y="481"/>
                </a:cubicBezTo>
                <a:cubicBezTo>
                  <a:pt x="897" y="482"/>
                  <a:pt x="893" y="483"/>
                  <a:pt x="889" y="484"/>
                </a:cubicBezTo>
                <a:cubicBezTo>
                  <a:pt x="885" y="485"/>
                  <a:pt x="881" y="486"/>
                  <a:pt x="877" y="486"/>
                </a:cubicBezTo>
                <a:cubicBezTo>
                  <a:pt x="873" y="486"/>
                  <a:pt x="869" y="485"/>
                  <a:pt x="865" y="483"/>
                </a:cubicBezTo>
                <a:cubicBezTo>
                  <a:pt x="862" y="482"/>
                  <a:pt x="858" y="479"/>
                  <a:pt x="854" y="475"/>
                </a:cubicBezTo>
                <a:cubicBezTo>
                  <a:pt x="850" y="472"/>
                  <a:pt x="847" y="467"/>
                  <a:pt x="846" y="463"/>
                </a:cubicBezTo>
                <a:cubicBezTo>
                  <a:pt x="844" y="458"/>
                  <a:pt x="843" y="454"/>
                  <a:pt x="844" y="449"/>
                </a:cubicBezTo>
                <a:cubicBezTo>
                  <a:pt x="844" y="445"/>
                  <a:pt x="846" y="440"/>
                  <a:pt x="848" y="436"/>
                </a:cubicBezTo>
                <a:cubicBezTo>
                  <a:pt x="851" y="431"/>
                  <a:pt x="854" y="427"/>
                  <a:pt x="858" y="423"/>
                </a:cubicBezTo>
                <a:cubicBezTo>
                  <a:pt x="860" y="421"/>
                  <a:pt x="862" y="419"/>
                  <a:pt x="865" y="417"/>
                </a:cubicBezTo>
                <a:cubicBezTo>
                  <a:pt x="867" y="415"/>
                  <a:pt x="869" y="414"/>
                  <a:pt x="872" y="413"/>
                </a:cubicBezTo>
                <a:cubicBezTo>
                  <a:pt x="874" y="411"/>
                  <a:pt x="877" y="411"/>
                  <a:pt x="879" y="410"/>
                </a:cubicBezTo>
                <a:cubicBezTo>
                  <a:pt x="881" y="409"/>
                  <a:pt x="883" y="409"/>
                  <a:pt x="883" y="409"/>
                </a:cubicBezTo>
                <a:cubicBezTo>
                  <a:pt x="884" y="409"/>
                  <a:pt x="885" y="409"/>
                  <a:pt x="885" y="409"/>
                </a:cubicBezTo>
                <a:cubicBezTo>
                  <a:pt x="886" y="409"/>
                  <a:pt x="886" y="409"/>
                  <a:pt x="887" y="410"/>
                </a:cubicBezTo>
                <a:cubicBezTo>
                  <a:pt x="887" y="410"/>
                  <a:pt x="888" y="410"/>
                  <a:pt x="888" y="411"/>
                </a:cubicBezTo>
                <a:cubicBezTo>
                  <a:pt x="889" y="411"/>
                  <a:pt x="890" y="412"/>
                  <a:pt x="891" y="413"/>
                </a:cubicBezTo>
                <a:cubicBezTo>
                  <a:pt x="892" y="414"/>
                  <a:pt x="892" y="415"/>
                  <a:pt x="893" y="415"/>
                </a:cubicBezTo>
                <a:cubicBezTo>
                  <a:pt x="894" y="416"/>
                  <a:pt x="894" y="417"/>
                  <a:pt x="894" y="417"/>
                </a:cubicBezTo>
                <a:cubicBezTo>
                  <a:pt x="895" y="418"/>
                  <a:pt x="895" y="419"/>
                  <a:pt x="895" y="419"/>
                </a:cubicBezTo>
                <a:cubicBezTo>
                  <a:pt x="895" y="420"/>
                  <a:pt x="894" y="420"/>
                  <a:pt x="894" y="420"/>
                </a:cubicBezTo>
                <a:cubicBezTo>
                  <a:pt x="894" y="421"/>
                  <a:pt x="892" y="421"/>
                  <a:pt x="891" y="422"/>
                </a:cubicBezTo>
                <a:cubicBezTo>
                  <a:pt x="889" y="422"/>
                  <a:pt x="887" y="423"/>
                  <a:pt x="884" y="424"/>
                </a:cubicBezTo>
                <a:cubicBezTo>
                  <a:pt x="882" y="424"/>
                  <a:pt x="879" y="426"/>
                  <a:pt x="876" y="427"/>
                </a:cubicBezTo>
                <a:cubicBezTo>
                  <a:pt x="873" y="429"/>
                  <a:pt x="870" y="431"/>
                  <a:pt x="868" y="434"/>
                </a:cubicBezTo>
                <a:cubicBezTo>
                  <a:pt x="865" y="436"/>
                  <a:pt x="863" y="439"/>
                  <a:pt x="862" y="441"/>
                </a:cubicBezTo>
                <a:cubicBezTo>
                  <a:pt x="861" y="444"/>
                  <a:pt x="860" y="446"/>
                  <a:pt x="860" y="449"/>
                </a:cubicBezTo>
                <a:cubicBezTo>
                  <a:pt x="860" y="451"/>
                  <a:pt x="860" y="454"/>
                  <a:pt x="861" y="456"/>
                </a:cubicBezTo>
                <a:cubicBezTo>
                  <a:pt x="862" y="458"/>
                  <a:pt x="864" y="460"/>
                  <a:pt x="865" y="462"/>
                </a:cubicBezTo>
                <a:cubicBezTo>
                  <a:pt x="868" y="464"/>
                  <a:pt x="871" y="466"/>
                  <a:pt x="874" y="467"/>
                </a:cubicBezTo>
                <a:cubicBezTo>
                  <a:pt x="877" y="467"/>
                  <a:pt x="880" y="467"/>
                  <a:pt x="884" y="467"/>
                </a:cubicBezTo>
                <a:cubicBezTo>
                  <a:pt x="887" y="466"/>
                  <a:pt x="891" y="465"/>
                  <a:pt x="894" y="464"/>
                </a:cubicBezTo>
                <a:cubicBezTo>
                  <a:pt x="898" y="463"/>
                  <a:pt x="902" y="461"/>
                  <a:pt x="906" y="460"/>
                </a:cubicBezTo>
                <a:cubicBezTo>
                  <a:pt x="910" y="458"/>
                  <a:pt x="913" y="457"/>
                  <a:pt x="917" y="456"/>
                </a:cubicBezTo>
                <a:cubicBezTo>
                  <a:pt x="921" y="455"/>
                  <a:pt x="925" y="454"/>
                  <a:pt x="929" y="454"/>
                </a:cubicBezTo>
                <a:cubicBezTo>
                  <a:pt x="933" y="454"/>
                  <a:pt x="937" y="455"/>
                  <a:pt x="941" y="457"/>
                </a:cubicBezTo>
                <a:cubicBezTo>
                  <a:pt x="945" y="458"/>
                  <a:pt x="949" y="461"/>
                  <a:pt x="953" y="464"/>
                </a:cubicBezTo>
                <a:close/>
                <a:moveTo>
                  <a:pt x="1049" y="417"/>
                </a:moveTo>
                <a:cubicBezTo>
                  <a:pt x="1049" y="417"/>
                  <a:pt x="1050" y="418"/>
                  <a:pt x="1050" y="418"/>
                </a:cubicBezTo>
                <a:cubicBezTo>
                  <a:pt x="1050" y="418"/>
                  <a:pt x="1050" y="419"/>
                  <a:pt x="1049" y="420"/>
                </a:cubicBezTo>
                <a:cubicBezTo>
                  <a:pt x="1049" y="420"/>
                  <a:pt x="1049" y="421"/>
                  <a:pt x="1048" y="422"/>
                </a:cubicBezTo>
                <a:cubicBezTo>
                  <a:pt x="1048" y="422"/>
                  <a:pt x="1047" y="423"/>
                  <a:pt x="1046" y="424"/>
                </a:cubicBezTo>
                <a:cubicBezTo>
                  <a:pt x="1045" y="425"/>
                  <a:pt x="1044" y="426"/>
                  <a:pt x="1043" y="427"/>
                </a:cubicBezTo>
                <a:cubicBezTo>
                  <a:pt x="1042" y="427"/>
                  <a:pt x="1041" y="428"/>
                  <a:pt x="1041" y="428"/>
                </a:cubicBezTo>
                <a:cubicBezTo>
                  <a:pt x="1040" y="428"/>
                  <a:pt x="1040" y="428"/>
                  <a:pt x="1039" y="428"/>
                </a:cubicBezTo>
                <a:cubicBezTo>
                  <a:pt x="1039" y="428"/>
                  <a:pt x="1039" y="428"/>
                  <a:pt x="1038" y="428"/>
                </a:cubicBezTo>
                <a:lnTo>
                  <a:pt x="1030" y="419"/>
                </a:lnTo>
                <a:cubicBezTo>
                  <a:pt x="1030" y="427"/>
                  <a:pt x="1029" y="433"/>
                  <a:pt x="1028" y="439"/>
                </a:cubicBezTo>
                <a:cubicBezTo>
                  <a:pt x="1026" y="444"/>
                  <a:pt x="1023" y="449"/>
                  <a:pt x="1019" y="453"/>
                </a:cubicBezTo>
                <a:cubicBezTo>
                  <a:pt x="1015" y="457"/>
                  <a:pt x="1011" y="460"/>
                  <a:pt x="1006" y="461"/>
                </a:cubicBezTo>
                <a:cubicBezTo>
                  <a:pt x="1002" y="463"/>
                  <a:pt x="998" y="463"/>
                  <a:pt x="993" y="463"/>
                </a:cubicBezTo>
                <a:cubicBezTo>
                  <a:pt x="989" y="462"/>
                  <a:pt x="985" y="460"/>
                  <a:pt x="981" y="458"/>
                </a:cubicBezTo>
                <a:cubicBezTo>
                  <a:pt x="977" y="455"/>
                  <a:pt x="972" y="452"/>
                  <a:pt x="968" y="447"/>
                </a:cubicBezTo>
                <a:lnTo>
                  <a:pt x="929" y="408"/>
                </a:lnTo>
                <a:cubicBezTo>
                  <a:pt x="928" y="407"/>
                  <a:pt x="928" y="407"/>
                  <a:pt x="928" y="407"/>
                </a:cubicBezTo>
                <a:cubicBezTo>
                  <a:pt x="928" y="406"/>
                  <a:pt x="928" y="406"/>
                  <a:pt x="928" y="405"/>
                </a:cubicBezTo>
                <a:cubicBezTo>
                  <a:pt x="928" y="404"/>
                  <a:pt x="929" y="403"/>
                  <a:pt x="930" y="403"/>
                </a:cubicBezTo>
                <a:cubicBezTo>
                  <a:pt x="930" y="402"/>
                  <a:pt x="931" y="401"/>
                  <a:pt x="932" y="400"/>
                </a:cubicBezTo>
                <a:cubicBezTo>
                  <a:pt x="933" y="398"/>
                  <a:pt x="934" y="398"/>
                  <a:pt x="935" y="397"/>
                </a:cubicBezTo>
                <a:cubicBezTo>
                  <a:pt x="936" y="396"/>
                  <a:pt x="937" y="396"/>
                  <a:pt x="938" y="395"/>
                </a:cubicBezTo>
                <a:cubicBezTo>
                  <a:pt x="938" y="395"/>
                  <a:pt x="939" y="395"/>
                  <a:pt x="939" y="395"/>
                </a:cubicBezTo>
                <a:cubicBezTo>
                  <a:pt x="940" y="395"/>
                  <a:pt x="940" y="396"/>
                  <a:pt x="940" y="396"/>
                </a:cubicBezTo>
                <a:lnTo>
                  <a:pt x="978" y="434"/>
                </a:lnTo>
                <a:cubicBezTo>
                  <a:pt x="982" y="437"/>
                  <a:pt x="985" y="440"/>
                  <a:pt x="988" y="442"/>
                </a:cubicBezTo>
                <a:cubicBezTo>
                  <a:pt x="991" y="444"/>
                  <a:pt x="994" y="445"/>
                  <a:pt x="996" y="445"/>
                </a:cubicBezTo>
                <a:cubicBezTo>
                  <a:pt x="999" y="446"/>
                  <a:pt x="1002" y="445"/>
                  <a:pt x="1004" y="445"/>
                </a:cubicBezTo>
                <a:cubicBezTo>
                  <a:pt x="1007" y="444"/>
                  <a:pt x="1009" y="442"/>
                  <a:pt x="1012" y="440"/>
                </a:cubicBezTo>
                <a:cubicBezTo>
                  <a:pt x="1015" y="437"/>
                  <a:pt x="1017" y="433"/>
                  <a:pt x="1017" y="428"/>
                </a:cubicBezTo>
                <a:cubicBezTo>
                  <a:pt x="1018" y="423"/>
                  <a:pt x="1018" y="417"/>
                  <a:pt x="1018" y="409"/>
                </a:cubicBezTo>
                <a:lnTo>
                  <a:pt x="972" y="364"/>
                </a:lnTo>
                <a:cubicBezTo>
                  <a:pt x="972" y="364"/>
                  <a:pt x="972" y="363"/>
                  <a:pt x="972" y="363"/>
                </a:cubicBezTo>
                <a:cubicBezTo>
                  <a:pt x="972" y="362"/>
                  <a:pt x="972" y="362"/>
                  <a:pt x="972" y="361"/>
                </a:cubicBezTo>
                <a:cubicBezTo>
                  <a:pt x="972" y="360"/>
                  <a:pt x="973" y="360"/>
                  <a:pt x="973" y="359"/>
                </a:cubicBezTo>
                <a:cubicBezTo>
                  <a:pt x="974" y="358"/>
                  <a:pt x="975" y="357"/>
                  <a:pt x="976" y="356"/>
                </a:cubicBezTo>
                <a:cubicBezTo>
                  <a:pt x="977" y="355"/>
                  <a:pt x="978" y="354"/>
                  <a:pt x="979" y="353"/>
                </a:cubicBezTo>
                <a:cubicBezTo>
                  <a:pt x="980" y="352"/>
                  <a:pt x="981" y="352"/>
                  <a:pt x="981" y="352"/>
                </a:cubicBezTo>
                <a:cubicBezTo>
                  <a:pt x="982" y="351"/>
                  <a:pt x="983" y="351"/>
                  <a:pt x="983" y="351"/>
                </a:cubicBezTo>
                <a:cubicBezTo>
                  <a:pt x="983" y="352"/>
                  <a:pt x="984" y="352"/>
                  <a:pt x="984" y="352"/>
                </a:cubicBezTo>
                <a:lnTo>
                  <a:pt x="1049" y="417"/>
                </a:lnTo>
                <a:close/>
                <a:moveTo>
                  <a:pt x="1099" y="300"/>
                </a:moveTo>
                <a:cubicBezTo>
                  <a:pt x="1105" y="306"/>
                  <a:pt x="1109" y="311"/>
                  <a:pt x="1112" y="317"/>
                </a:cubicBezTo>
                <a:cubicBezTo>
                  <a:pt x="1116" y="323"/>
                  <a:pt x="1118" y="329"/>
                  <a:pt x="1118" y="334"/>
                </a:cubicBezTo>
                <a:cubicBezTo>
                  <a:pt x="1119" y="340"/>
                  <a:pt x="1119" y="345"/>
                  <a:pt x="1117" y="350"/>
                </a:cubicBezTo>
                <a:cubicBezTo>
                  <a:pt x="1115" y="355"/>
                  <a:pt x="1112" y="360"/>
                  <a:pt x="1107" y="365"/>
                </a:cubicBezTo>
                <a:cubicBezTo>
                  <a:pt x="1105" y="367"/>
                  <a:pt x="1103" y="368"/>
                  <a:pt x="1101" y="369"/>
                </a:cubicBezTo>
                <a:cubicBezTo>
                  <a:pt x="1099" y="371"/>
                  <a:pt x="1097" y="372"/>
                  <a:pt x="1095" y="372"/>
                </a:cubicBezTo>
                <a:cubicBezTo>
                  <a:pt x="1093" y="373"/>
                  <a:pt x="1090" y="374"/>
                  <a:pt x="1087" y="374"/>
                </a:cubicBezTo>
                <a:cubicBezTo>
                  <a:pt x="1084" y="374"/>
                  <a:pt x="1081" y="374"/>
                  <a:pt x="1078" y="374"/>
                </a:cubicBezTo>
                <a:lnTo>
                  <a:pt x="1110" y="407"/>
                </a:lnTo>
                <a:cubicBezTo>
                  <a:pt x="1111" y="407"/>
                  <a:pt x="1111" y="408"/>
                  <a:pt x="1111" y="408"/>
                </a:cubicBezTo>
                <a:cubicBezTo>
                  <a:pt x="1111" y="408"/>
                  <a:pt x="1111" y="409"/>
                  <a:pt x="1111" y="410"/>
                </a:cubicBezTo>
                <a:cubicBezTo>
                  <a:pt x="1111" y="410"/>
                  <a:pt x="1110" y="411"/>
                  <a:pt x="1109" y="412"/>
                </a:cubicBezTo>
                <a:cubicBezTo>
                  <a:pt x="1109" y="413"/>
                  <a:pt x="1108" y="414"/>
                  <a:pt x="1107" y="415"/>
                </a:cubicBezTo>
                <a:cubicBezTo>
                  <a:pt x="1105" y="416"/>
                  <a:pt x="1104" y="417"/>
                  <a:pt x="1104" y="418"/>
                </a:cubicBezTo>
                <a:cubicBezTo>
                  <a:pt x="1103" y="418"/>
                  <a:pt x="1102" y="419"/>
                  <a:pt x="1101" y="419"/>
                </a:cubicBezTo>
                <a:cubicBezTo>
                  <a:pt x="1101" y="419"/>
                  <a:pt x="1100" y="419"/>
                  <a:pt x="1100" y="419"/>
                </a:cubicBezTo>
                <a:cubicBezTo>
                  <a:pt x="1099" y="419"/>
                  <a:pt x="1099" y="419"/>
                  <a:pt x="1098" y="419"/>
                </a:cubicBezTo>
                <a:lnTo>
                  <a:pt x="1008" y="328"/>
                </a:lnTo>
                <a:cubicBezTo>
                  <a:pt x="1008" y="328"/>
                  <a:pt x="1007" y="327"/>
                  <a:pt x="1007" y="327"/>
                </a:cubicBezTo>
                <a:cubicBezTo>
                  <a:pt x="1007" y="327"/>
                  <a:pt x="1007" y="326"/>
                  <a:pt x="1007" y="325"/>
                </a:cubicBezTo>
                <a:cubicBezTo>
                  <a:pt x="1008" y="325"/>
                  <a:pt x="1008" y="324"/>
                  <a:pt x="1009" y="323"/>
                </a:cubicBezTo>
                <a:cubicBezTo>
                  <a:pt x="1009" y="323"/>
                  <a:pt x="1010" y="322"/>
                  <a:pt x="1011" y="321"/>
                </a:cubicBezTo>
                <a:cubicBezTo>
                  <a:pt x="1012" y="320"/>
                  <a:pt x="1013" y="319"/>
                  <a:pt x="1014" y="319"/>
                </a:cubicBezTo>
                <a:cubicBezTo>
                  <a:pt x="1014" y="318"/>
                  <a:pt x="1015" y="318"/>
                  <a:pt x="1016" y="317"/>
                </a:cubicBezTo>
                <a:cubicBezTo>
                  <a:pt x="1016" y="317"/>
                  <a:pt x="1017" y="317"/>
                  <a:pt x="1017" y="317"/>
                </a:cubicBezTo>
                <a:cubicBezTo>
                  <a:pt x="1018" y="317"/>
                  <a:pt x="1018" y="317"/>
                  <a:pt x="1019" y="318"/>
                </a:cubicBezTo>
                <a:lnTo>
                  <a:pt x="1027" y="327"/>
                </a:lnTo>
                <a:cubicBezTo>
                  <a:pt x="1027" y="323"/>
                  <a:pt x="1027" y="319"/>
                  <a:pt x="1028" y="316"/>
                </a:cubicBezTo>
                <a:cubicBezTo>
                  <a:pt x="1028" y="312"/>
                  <a:pt x="1029" y="309"/>
                  <a:pt x="1029" y="306"/>
                </a:cubicBezTo>
                <a:cubicBezTo>
                  <a:pt x="1030" y="304"/>
                  <a:pt x="1031" y="301"/>
                  <a:pt x="1033" y="299"/>
                </a:cubicBezTo>
                <a:cubicBezTo>
                  <a:pt x="1034" y="296"/>
                  <a:pt x="1036" y="294"/>
                  <a:pt x="1038" y="292"/>
                </a:cubicBezTo>
                <a:cubicBezTo>
                  <a:pt x="1043" y="287"/>
                  <a:pt x="1048" y="284"/>
                  <a:pt x="1053" y="282"/>
                </a:cubicBezTo>
                <a:cubicBezTo>
                  <a:pt x="1058" y="281"/>
                  <a:pt x="1063" y="281"/>
                  <a:pt x="1069" y="282"/>
                </a:cubicBezTo>
                <a:cubicBezTo>
                  <a:pt x="1074" y="283"/>
                  <a:pt x="1079" y="285"/>
                  <a:pt x="1084" y="288"/>
                </a:cubicBezTo>
                <a:cubicBezTo>
                  <a:pt x="1089" y="291"/>
                  <a:pt x="1094" y="295"/>
                  <a:pt x="1099" y="300"/>
                </a:cubicBezTo>
                <a:close/>
                <a:moveTo>
                  <a:pt x="1088" y="314"/>
                </a:moveTo>
                <a:cubicBezTo>
                  <a:pt x="1085" y="310"/>
                  <a:pt x="1081" y="308"/>
                  <a:pt x="1078" y="305"/>
                </a:cubicBezTo>
                <a:cubicBezTo>
                  <a:pt x="1074" y="302"/>
                  <a:pt x="1070" y="300"/>
                  <a:pt x="1067" y="299"/>
                </a:cubicBezTo>
                <a:cubicBezTo>
                  <a:pt x="1063" y="298"/>
                  <a:pt x="1060" y="298"/>
                  <a:pt x="1056" y="299"/>
                </a:cubicBezTo>
                <a:cubicBezTo>
                  <a:pt x="1053" y="299"/>
                  <a:pt x="1049" y="301"/>
                  <a:pt x="1046" y="304"/>
                </a:cubicBezTo>
                <a:cubicBezTo>
                  <a:pt x="1045" y="306"/>
                  <a:pt x="1043" y="307"/>
                  <a:pt x="1042" y="309"/>
                </a:cubicBezTo>
                <a:cubicBezTo>
                  <a:pt x="1041" y="311"/>
                  <a:pt x="1041" y="314"/>
                  <a:pt x="1040" y="316"/>
                </a:cubicBezTo>
                <a:cubicBezTo>
                  <a:pt x="1039" y="319"/>
                  <a:pt x="1039" y="321"/>
                  <a:pt x="1039" y="325"/>
                </a:cubicBezTo>
                <a:cubicBezTo>
                  <a:pt x="1039" y="328"/>
                  <a:pt x="1039" y="332"/>
                  <a:pt x="1040" y="336"/>
                </a:cubicBezTo>
                <a:lnTo>
                  <a:pt x="1065" y="362"/>
                </a:lnTo>
                <a:cubicBezTo>
                  <a:pt x="1073" y="362"/>
                  <a:pt x="1079" y="362"/>
                  <a:pt x="1084" y="362"/>
                </a:cubicBezTo>
                <a:cubicBezTo>
                  <a:pt x="1089" y="361"/>
                  <a:pt x="1093" y="359"/>
                  <a:pt x="1096" y="355"/>
                </a:cubicBezTo>
                <a:cubicBezTo>
                  <a:pt x="1099" y="352"/>
                  <a:pt x="1101" y="349"/>
                  <a:pt x="1102" y="346"/>
                </a:cubicBezTo>
                <a:cubicBezTo>
                  <a:pt x="1102" y="342"/>
                  <a:pt x="1102" y="338"/>
                  <a:pt x="1101" y="335"/>
                </a:cubicBezTo>
                <a:cubicBezTo>
                  <a:pt x="1100" y="331"/>
                  <a:pt x="1098" y="327"/>
                  <a:pt x="1096" y="324"/>
                </a:cubicBezTo>
                <a:cubicBezTo>
                  <a:pt x="1094" y="320"/>
                  <a:pt x="1091" y="317"/>
                  <a:pt x="1088" y="314"/>
                </a:cubicBezTo>
                <a:close/>
                <a:moveTo>
                  <a:pt x="1178" y="221"/>
                </a:moveTo>
                <a:cubicBezTo>
                  <a:pt x="1184" y="227"/>
                  <a:pt x="1188" y="232"/>
                  <a:pt x="1191" y="238"/>
                </a:cubicBezTo>
                <a:cubicBezTo>
                  <a:pt x="1195" y="244"/>
                  <a:pt x="1197" y="249"/>
                  <a:pt x="1198" y="255"/>
                </a:cubicBezTo>
                <a:cubicBezTo>
                  <a:pt x="1198" y="260"/>
                  <a:pt x="1198" y="266"/>
                  <a:pt x="1196" y="271"/>
                </a:cubicBezTo>
                <a:cubicBezTo>
                  <a:pt x="1194" y="276"/>
                  <a:pt x="1191" y="281"/>
                  <a:pt x="1187" y="285"/>
                </a:cubicBezTo>
                <a:cubicBezTo>
                  <a:pt x="1185" y="287"/>
                  <a:pt x="1183" y="289"/>
                  <a:pt x="1181" y="290"/>
                </a:cubicBezTo>
                <a:cubicBezTo>
                  <a:pt x="1179" y="291"/>
                  <a:pt x="1176" y="292"/>
                  <a:pt x="1174" y="293"/>
                </a:cubicBezTo>
                <a:cubicBezTo>
                  <a:pt x="1172" y="294"/>
                  <a:pt x="1169" y="294"/>
                  <a:pt x="1166" y="295"/>
                </a:cubicBezTo>
                <a:cubicBezTo>
                  <a:pt x="1164" y="295"/>
                  <a:pt x="1161" y="295"/>
                  <a:pt x="1157" y="295"/>
                </a:cubicBezTo>
                <a:lnTo>
                  <a:pt x="1189" y="328"/>
                </a:lnTo>
                <a:cubicBezTo>
                  <a:pt x="1190" y="328"/>
                  <a:pt x="1190" y="328"/>
                  <a:pt x="1190" y="329"/>
                </a:cubicBezTo>
                <a:cubicBezTo>
                  <a:pt x="1190" y="329"/>
                  <a:pt x="1190" y="330"/>
                  <a:pt x="1190" y="330"/>
                </a:cubicBezTo>
                <a:cubicBezTo>
                  <a:pt x="1190" y="331"/>
                  <a:pt x="1189" y="332"/>
                  <a:pt x="1189" y="333"/>
                </a:cubicBezTo>
                <a:cubicBezTo>
                  <a:pt x="1188" y="334"/>
                  <a:pt x="1187" y="335"/>
                  <a:pt x="1186" y="336"/>
                </a:cubicBezTo>
                <a:cubicBezTo>
                  <a:pt x="1185" y="337"/>
                  <a:pt x="1184" y="338"/>
                  <a:pt x="1183" y="338"/>
                </a:cubicBezTo>
                <a:cubicBezTo>
                  <a:pt x="1182" y="339"/>
                  <a:pt x="1181" y="340"/>
                  <a:pt x="1181" y="340"/>
                </a:cubicBezTo>
                <a:cubicBezTo>
                  <a:pt x="1180" y="340"/>
                  <a:pt x="1179" y="340"/>
                  <a:pt x="1179" y="340"/>
                </a:cubicBezTo>
                <a:cubicBezTo>
                  <a:pt x="1178" y="340"/>
                  <a:pt x="1178" y="340"/>
                  <a:pt x="1178" y="339"/>
                </a:cubicBezTo>
                <a:lnTo>
                  <a:pt x="1087" y="249"/>
                </a:lnTo>
                <a:cubicBezTo>
                  <a:pt x="1087" y="249"/>
                  <a:pt x="1087" y="248"/>
                  <a:pt x="1086" y="248"/>
                </a:cubicBezTo>
                <a:cubicBezTo>
                  <a:pt x="1086" y="247"/>
                  <a:pt x="1086" y="247"/>
                  <a:pt x="1087" y="246"/>
                </a:cubicBezTo>
                <a:cubicBezTo>
                  <a:pt x="1087" y="246"/>
                  <a:pt x="1087" y="245"/>
                  <a:pt x="1088" y="244"/>
                </a:cubicBezTo>
                <a:cubicBezTo>
                  <a:pt x="1089" y="243"/>
                  <a:pt x="1089" y="243"/>
                  <a:pt x="1090" y="242"/>
                </a:cubicBezTo>
                <a:cubicBezTo>
                  <a:pt x="1091" y="241"/>
                  <a:pt x="1092" y="240"/>
                  <a:pt x="1093" y="239"/>
                </a:cubicBezTo>
                <a:cubicBezTo>
                  <a:pt x="1094" y="239"/>
                  <a:pt x="1094" y="238"/>
                  <a:pt x="1095" y="238"/>
                </a:cubicBezTo>
                <a:cubicBezTo>
                  <a:pt x="1095" y="238"/>
                  <a:pt x="1096" y="238"/>
                  <a:pt x="1096" y="238"/>
                </a:cubicBezTo>
                <a:cubicBezTo>
                  <a:pt x="1097" y="238"/>
                  <a:pt x="1097" y="238"/>
                  <a:pt x="1098" y="239"/>
                </a:cubicBezTo>
                <a:lnTo>
                  <a:pt x="1106" y="247"/>
                </a:lnTo>
                <a:cubicBezTo>
                  <a:pt x="1106" y="243"/>
                  <a:pt x="1107" y="240"/>
                  <a:pt x="1107" y="236"/>
                </a:cubicBezTo>
                <a:cubicBezTo>
                  <a:pt x="1107" y="233"/>
                  <a:pt x="1108" y="230"/>
                  <a:pt x="1109" y="227"/>
                </a:cubicBezTo>
                <a:cubicBezTo>
                  <a:pt x="1110" y="224"/>
                  <a:pt x="1111" y="222"/>
                  <a:pt x="1112" y="219"/>
                </a:cubicBezTo>
                <a:cubicBezTo>
                  <a:pt x="1114" y="217"/>
                  <a:pt x="1115" y="215"/>
                  <a:pt x="1117" y="212"/>
                </a:cubicBezTo>
                <a:cubicBezTo>
                  <a:pt x="1122" y="208"/>
                  <a:pt x="1127" y="205"/>
                  <a:pt x="1132" y="203"/>
                </a:cubicBezTo>
                <a:cubicBezTo>
                  <a:pt x="1137" y="202"/>
                  <a:pt x="1143" y="202"/>
                  <a:pt x="1148" y="203"/>
                </a:cubicBezTo>
                <a:cubicBezTo>
                  <a:pt x="1153" y="204"/>
                  <a:pt x="1158" y="206"/>
                  <a:pt x="1163" y="209"/>
                </a:cubicBezTo>
                <a:cubicBezTo>
                  <a:pt x="1168" y="212"/>
                  <a:pt x="1173" y="216"/>
                  <a:pt x="1178" y="221"/>
                </a:cubicBezTo>
                <a:close/>
                <a:moveTo>
                  <a:pt x="1167" y="235"/>
                </a:moveTo>
                <a:cubicBezTo>
                  <a:pt x="1164" y="231"/>
                  <a:pt x="1160" y="228"/>
                  <a:pt x="1157" y="226"/>
                </a:cubicBezTo>
                <a:cubicBezTo>
                  <a:pt x="1153" y="223"/>
                  <a:pt x="1150" y="221"/>
                  <a:pt x="1146" y="220"/>
                </a:cubicBezTo>
                <a:cubicBezTo>
                  <a:pt x="1142" y="219"/>
                  <a:pt x="1139" y="219"/>
                  <a:pt x="1135" y="219"/>
                </a:cubicBezTo>
                <a:cubicBezTo>
                  <a:pt x="1132" y="220"/>
                  <a:pt x="1129" y="222"/>
                  <a:pt x="1125" y="225"/>
                </a:cubicBezTo>
                <a:cubicBezTo>
                  <a:pt x="1124" y="226"/>
                  <a:pt x="1123" y="228"/>
                  <a:pt x="1122" y="230"/>
                </a:cubicBezTo>
                <a:cubicBezTo>
                  <a:pt x="1121" y="232"/>
                  <a:pt x="1120" y="234"/>
                  <a:pt x="1119" y="237"/>
                </a:cubicBezTo>
                <a:cubicBezTo>
                  <a:pt x="1119" y="239"/>
                  <a:pt x="1118" y="242"/>
                  <a:pt x="1118" y="246"/>
                </a:cubicBezTo>
                <a:cubicBezTo>
                  <a:pt x="1118" y="249"/>
                  <a:pt x="1118" y="253"/>
                  <a:pt x="1119" y="257"/>
                </a:cubicBezTo>
                <a:lnTo>
                  <a:pt x="1144" y="283"/>
                </a:lnTo>
                <a:cubicBezTo>
                  <a:pt x="1152" y="283"/>
                  <a:pt x="1158" y="283"/>
                  <a:pt x="1163" y="282"/>
                </a:cubicBezTo>
                <a:cubicBezTo>
                  <a:pt x="1168" y="282"/>
                  <a:pt x="1172" y="279"/>
                  <a:pt x="1175" y="276"/>
                </a:cubicBezTo>
                <a:cubicBezTo>
                  <a:pt x="1178" y="273"/>
                  <a:pt x="1180" y="270"/>
                  <a:pt x="1181" y="266"/>
                </a:cubicBezTo>
                <a:cubicBezTo>
                  <a:pt x="1182" y="263"/>
                  <a:pt x="1181" y="259"/>
                  <a:pt x="1180" y="255"/>
                </a:cubicBezTo>
                <a:cubicBezTo>
                  <a:pt x="1179" y="252"/>
                  <a:pt x="1178" y="248"/>
                  <a:pt x="1175" y="244"/>
                </a:cubicBezTo>
                <a:cubicBezTo>
                  <a:pt x="1173" y="241"/>
                  <a:pt x="1170" y="238"/>
                  <a:pt x="1167" y="235"/>
                </a:cubicBezTo>
                <a:close/>
                <a:moveTo>
                  <a:pt x="1258" y="141"/>
                </a:moveTo>
                <a:cubicBezTo>
                  <a:pt x="1263" y="147"/>
                  <a:pt x="1268" y="152"/>
                  <a:pt x="1271" y="158"/>
                </a:cubicBezTo>
                <a:cubicBezTo>
                  <a:pt x="1274" y="164"/>
                  <a:pt x="1275" y="170"/>
                  <a:pt x="1276" y="176"/>
                </a:cubicBezTo>
                <a:cubicBezTo>
                  <a:pt x="1276" y="182"/>
                  <a:pt x="1275" y="188"/>
                  <a:pt x="1273" y="194"/>
                </a:cubicBezTo>
                <a:cubicBezTo>
                  <a:pt x="1271" y="199"/>
                  <a:pt x="1267" y="205"/>
                  <a:pt x="1261" y="211"/>
                </a:cubicBezTo>
                <a:cubicBezTo>
                  <a:pt x="1256" y="216"/>
                  <a:pt x="1251" y="220"/>
                  <a:pt x="1245" y="222"/>
                </a:cubicBezTo>
                <a:cubicBezTo>
                  <a:pt x="1240" y="225"/>
                  <a:pt x="1234" y="225"/>
                  <a:pt x="1228" y="225"/>
                </a:cubicBezTo>
                <a:cubicBezTo>
                  <a:pt x="1223" y="225"/>
                  <a:pt x="1217" y="223"/>
                  <a:pt x="1211" y="220"/>
                </a:cubicBezTo>
                <a:cubicBezTo>
                  <a:pt x="1206" y="217"/>
                  <a:pt x="1200" y="213"/>
                  <a:pt x="1195" y="207"/>
                </a:cubicBezTo>
                <a:cubicBezTo>
                  <a:pt x="1190" y="202"/>
                  <a:pt x="1185" y="197"/>
                  <a:pt x="1182" y="191"/>
                </a:cubicBezTo>
                <a:cubicBezTo>
                  <a:pt x="1179" y="185"/>
                  <a:pt x="1178" y="179"/>
                  <a:pt x="1177" y="173"/>
                </a:cubicBezTo>
                <a:cubicBezTo>
                  <a:pt x="1177" y="167"/>
                  <a:pt x="1178" y="161"/>
                  <a:pt x="1180" y="155"/>
                </a:cubicBezTo>
                <a:cubicBezTo>
                  <a:pt x="1182" y="149"/>
                  <a:pt x="1186" y="144"/>
                  <a:pt x="1192" y="138"/>
                </a:cubicBezTo>
                <a:cubicBezTo>
                  <a:pt x="1197" y="133"/>
                  <a:pt x="1202" y="129"/>
                  <a:pt x="1208" y="127"/>
                </a:cubicBezTo>
                <a:cubicBezTo>
                  <a:pt x="1214" y="124"/>
                  <a:pt x="1219" y="123"/>
                  <a:pt x="1225" y="124"/>
                </a:cubicBezTo>
                <a:cubicBezTo>
                  <a:pt x="1230" y="124"/>
                  <a:pt x="1236" y="126"/>
                  <a:pt x="1242" y="129"/>
                </a:cubicBezTo>
                <a:cubicBezTo>
                  <a:pt x="1247" y="132"/>
                  <a:pt x="1253" y="136"/>
                  <a:pt x="1258" y="141"/>
                </a:cubicBezTo>
                <a:close/>
                <a:moveTo>
                  <a:pt x="1247" y="154"/>
                </a:moveTo>
                <a:cubicBezTo>
                  <a:pt x="1243" y="151"/>
                  <a:pt x="1240" y="148"/>
                  <a:pt x="1236" y="146"/>
                </a:cubicBezTo>
                <a:cubicBezTo>
                  <a:pt x="1232" y="143"/>
                  <a:pt x="1228" y="141"/>
                  <a:pt x="1224" y="141"/>
                </a:cubicBezTo>
                <a:cubicBezTo>
                  <a:pt x="1221" y="140"/>
                  <a:pt x="1217" y="140"/>
                  <a:pt x="1213" y="141"/>
                </a:cubicBezTo>
                <a:cubicBezTo>
                  <a:pt x="1209" y="142"/>
                  <a:pt x="1205" y="145"/>
                  <a:pt x="1201" y="149"/>
                </a:cubicBezTo>
                <a:cubicBezTo>
                  <a:pt x="1198" y="152"/>
                  <a:pt x="1195" y="156"/>
                  <a:pt x="1194" y="160"/>
                </a:cubicBezTo>
                <a:cubicBezTo>
                  <a:pt x="1193" y="163"/>
                  <a:pt x="1192" y="167"/>
                  <a:pt x="1193" y="171"/>
                </a:cubicBezTo>
                <a:cubicBezTo>
                  <a:pt x="1194" y="175"/>
                  <a:pt x="1195" y="179"/>
                  <a:pt x="1197" y="183"/>
                </a:cubicBezTo>
                <a:cubicBezTo>
                  <a:pt x="1200" y="187"/>
                  <a:pt x="1203" y="191"/>
                  <a:pt x="1206" y="194"/>
                </a:cubicBezTo>
                <a:cubicBezTo>
                  <a:pt x="1210" y="198"/>
                  <a:pt x="1214" y="201"/>
                  <a:pt x="1217" y="203"/>
                </a:cubicBezTo>
                <a:cubicBezTo>
                  <a:pt x="1221" y="206"/>
                  <a:pt x="1225" y="207"/>
                  <a:pt x="1229" y="208"/>
                </a:cubicBezTo>
                <a:cubicBezTo>
                  <a:pt x="1233" y="209"/>
                  <a:pt x="1236" y="209"/>
                  <a:pt x="1240" y="208"/>
                </a:cubicBezTo>
                <a:cubicBezTo>
                  <a:pt x="1244" y="206"/>
                  <a:pt x="1248" y="204"/>
                  <a:pt x="1252" y="200"/>
                </a:cubicBezTo>
                <a:cubicBezTo>
                  <a:pt x="1255" y="197"/>
                  <a:pt x="1258" y="193"/>
                  <a:pt x="1259" y="189"/>
                </a:cubicBezTo>
                <a:cubicBezTo>
                  <a:pt x="1261" y="185"/>
                  <a:pt x="1261" y="181"/>
                  <a:pt x="1260" y="178"/>
                </a:cubicBezTo>
                <a:cubicBezTo>
                  <a:pt x="1260" y="174"/>
                  <a:pt x="1258" y="170"/>
                  <a:pt x="1256" y="166"/>
                </a:cubicBezTo>
                <a:cubicBezTo>
                  <a:pt x="1254" y="162"/>
                  <a:pt x="1250" y="158"/>
                  <a:pt x="1247" y="154"/>
                </a:cubicBezTo>
                <a:close/>
                <a:moveTo>
                  <a:pt x="1288" y="57"/>
                </a:moveTo>
                <a:cubicBezTo>
                  <a:pt x="1289" y="58"/>
                  <a:pt x="1290" y="59"/>
                  <a:pt x="1290" y="60"/>
                </a:cubicBezTo>
                <a:cubicBezTo>
                  <a:pt x="1291" y="61"/>
                  <a:pt x="1291" y="61"/>
                  <a:pt x="1292" y="62"/>
                </a:cubicBezTo>
                <a:cubicBezTo>
                  <a:pt x="1292" y="62"/>
                  <a:pt x="1292" y="63"/>
                  <a:pt x="1292" y="63"/>
                </a:cubicBezTo>
                <a:cubicBezTo>
                  <a:pt x="1292" y="64"/>
                  <a:pt x="1292" y="64"/>
                  <a:pt x="1292" y="65"/>
                </a:cubicBezTo>
                <a:cubicBezTo>
                  <a:pt x="1291" y="65"/>
                  <a:pt x="1291" y="65"/>
                  <a:pt x="1290" y="66"/>
                </a:cubicBezTo>
                <a:cubicBezTo>
                  <a:pt x="1289" y="66"/>
                  <a:pt x="1288" y="66"/>
                  <a:pt x="1287" y="67"/>
                </a:cubicBezTo>
                <a:cubicBezTo>
                  <a:pt x="1286" y="67"/>
                  <a:pt x="1285" y="68"/>
                  <a:pt x="1284" y="69"/>
                </a:cubicBezTo>
                <a:cubicBezTo>
                  <a:pt x="1283" y="69"/>
                  <a:pt x="1282" y="70"/>
                  <a:pt x="1281" y="71"/>
                </a:cubicBezTo>
                <a:cubicBezTo>
                  <a:pt x="1280" y="72"/>
                  <a:pt x="1279" y="74"/>
                  <a:pt x="1278" y="75"/>
                </a:cubicBezTo>
                <a:cubicBezTo>
                  <a:pt x="1278" y="77"/>
                  <a:pt x="1277" y="79"/>
                  <a:pt x="1277" y="81"/>
                </a:cubicBezTo>
                <a:cubicBezTo>
                  <a:pt x="1277" y="84"/>
                  <a:pt x="1277" y="86"/>
                  <a:pt x="1278" y="90"/>
                </a:cubicBezTo>
                <a:cubicBezTo>
                  <a:pt x="1278" y="93"/>
                  <a:pt x="1279" y="97"/>
                  <a:pt x="1280" y="101"/>
                </a:cubicBezTo>
                <a:lnTo>
                  <a:pt x="1322" y="143"/>
                </a:lnTo>
                <a:cubicBezTo>
                  <a:pt x="1323" y="144"/>
                  <a:pt x="1323" y="144"/>
                  <a:pt x="1323" y="145"/>
                </a:cubicBezTo>
                <a:cubicBezTo>
                  <a:pt x="1323" y="145"/>
                  <a:pt x="1323" y="146"/>
                  <a:pt x="1323" y="146"/>
                </a:cubicBezTo>
                <a:cubicBezTo>
                  <a:pt x="1322" y="147"/>
                  <a:pt x="1322" y="148"/>
                  <a:pt x="1321" y="149"/>
                </a:cubicBezTo>
                <a:cubicBezTo>
                  <a:pt x="1321" y="149"/>
                  <a:pt x="1320" y="150"/>
                  <a:pt x="1318" y="152"/>
                </a:cubicBezTo>
                <a:cubicBezTo>
                  <a:pt x="1317" y="153"/>
                  <a:pt x="1316" y="154"/>
                  <a:pt x="1315" y="154"/>
                </a:cubicBezTo>
                <a:cubicBezTo>
                  <a:pt x="1315" y="155"/>
                  <a:pt x="1314" y="156"/>
                  <a:pt x="1313" y="156"/>
                </a:cubicBezTo>
                <a:cubicBezTo>
                  <a:pt x="1313" y="156"/>
                  <a:pt x="1312" y="156"/>
                  <a:pt x="1312" y="156"/>
                </a:cubicBezTo>
                <a:cubicBezTo>
                  <a:pt x="1311" y="156"/>
                  <a:pt x="1311" y="156"/>
                  <a:pt x="1310" y="155"/>
                </a:cubicBezTo>
                <a:lnTo>
                  <a:pt x="1246" y="91"/>
                </a:lnTo>
                <a:cubicBezTo>
                  <a:pt x="1245" y="90"/>
                  <a:pt x="1245" y="90"/>
                  <a:pt x="1245" y="90"/>
                </a:cubicBezTo>
                <a:cubicBezTo>
                  <a:pt x="1245" y="89"/>
                  <a:pt x="1245" y="89"/>
                  <a:pt x="1245" y="88"/>
                </a:cubicBezTo>
                <a:cubicBezTo>
                  <a:pt x="1245" y="87"/>
                  <a:pt x="1246" y="87"/>
                  <a:pt x="1246" y="86"/>
                </a:cubicBezTo>
                <a:cubicBezTo>
                  <a:pt x="1247" y="85"/>
                  <a:pt x="1248" y="84"/>
                  <a:pt x="1249" y="83"/>
                </a:cubicBezTo>
                <a:cubicBezTo>
                  <a:pt x="1250" y="82"/>
                  <a:pt x="1251" y="81"/>
                  <a:pt x="1252" y="81"/>
                </a:cubicBezTo>
                <a:cubicBezTo>
                  <a:pt x="1252" y="80"/>
                  <a:pt x="1253" y="80"/>
                  <a:pt x="1254" y="79"/>
                </a:cubicBezTo>
                <a:cubicBezTo>
                  <a:pt x="1254" y="79"/>
                  <a:pt x="1255" y="79"/>
                  <a:pt x="1255" y="79"/>
                </a:cubicBezTo>
                <a:cubicBezTo>
                  <a:pt x="1256" y="79"/>
                  <a:pt x="1256" y="80"/>
                  <a:pt x="1256" y="80"/>
                </a:cubicBezTo>
                <a:lnTo>
                  <a:pt x="1266" y="89"/>
                </a:lnTo>
                <a:cubicBezTo>
                  <a:pt x="1265" y="85"/>
                  <a:pt x="1265" y="81"/>
                  <a:pt x="1264" y="78"/>
                </a:cubicBezTo>
                <a:cubicBezTo>
                  <a:pt x="1264" y="75"/>
                  <a:pt x="1265" y="72"/>
                  <a:pt x="1265" y="70"/>
                </a:cubicBezTo>
                <a:cubicBezTo>
                  <a:pt x="1266" y="68"/>
                  <a:pt x="1266" y="65"/>
                  <a:pt x="1267" y="64"/>
                </a:cubicBezTo>
                <a:cubicBezTo>
                  <a:pt x="1268" y="62"/>
                  <a:pt x="1269" y="60"/>
                  <a:pt x="1271" y="59"/>
                </a:cubicBezTo>
                <a:cubicBezTo>
                  <a:pt x="1271" y="58"/>
                  <a:pt x="1272" y="58"/>
                  <a:pt x="1273" y="57"/>
                </a:cubicBezTo>
                <a:cubicBezTo>
                  <a:pt x="1274" y="56"/>
                  <a:pt x="1275" y="56"/>
                  <a:pt x="1276" y="55"/>
                </a:cubicBezTo>
                <a:cubicBezTo>
                  <a:pt x="1277" y="54"/>
                  <a:pt x="1278" y="54"/>
                  <a:pt x="1279" y="53"/>
                </a:cubicBezTo>
                <a:cubicBezTo>
                  <a:pt x="1280" y="53"/>
                  <a:pt x="1281" y="53"/>
                  <a:pt x="1281" y="53"/>
                </a:cubicBezTo>
                <a:cubicBezTo>
                  <a:pt x="1282" y="53"/>
                  <a:pt x="1282" y="53"/>
                  <a:pt x="1282" y="53"/>
                </a:cubicBezTo>
                <a:cubicBezTo>
                  <a:pt x="1283" y="53"/>
                  <a:pt x="1283" y="53"/>
                  <a:pt x="1283" y="53"/>
                </a:cubicBezTo>
                <a:cubicBezTo>
                  <a:pt x="1284" y="54"/>
                  <a:pt x="1284" y="54"/>
                  <a:pt x="1285" y="55"/>
                </a:cubicBezTo>
                <a:cubicBezTo>
                  <a:pt x="1286" y="55"/>
                  <a:pt x="1287" y="56"/>
                  <a:pt x="1288" y="57"/>
                </a:cubicBezTo>
                <a:close/>
                <a:moveTo>
                  <a:pt x="1396" y="60"/>
                </a:moveTo>
                <a:cubicBezTo>
                  <a:pt x="1397" y="62"/>
                  <a:pt x="1398" y="63"/>
                  <a:pt x="1399" y="64"/>
                </a:cubicBezTo>
                <a:cubicBezTo>
                  <a:pt x="1399" y="65"/>
                  <a:pt x="1400" y="66"/>
                  <a:pt x="1400" y="67"/>
                </a:cubicBezTo>
                <a:cubicBezTo>
                  <a:pt x="1400" y="67"/>
                  <a:pt x="1400" y="68"/>
                  <a:pt x="1399" y="69"/>
                </a:cubicBezTo>
                <a:cubicBezTo>
                  <a:pt x="1399" y="71"/>
                  <a:pt x="1398" y="72"/>
                  <a:pt x="1397" y="73"/>
                </a:cubicBezTo>
                <a:cubicBezTo>
                  <a:pt x="1397" y="74"/>
                  <a:pt x="1396" y="75"/>
                  <a:pt x="1395" y="77"/>
                </a:cubicBezTo>
                <a:cubicBezTo>
                  <a:pt x="1394" y="78"/>
                  <a:pt x="1393" y="79"/>
                  <a:pt x="1392" y="80"/>
                </a:cubicBezTo>
                <a:cubicBezTo>
                  <a:pt x="1388" y="83"/>
                  <a:pt x="1385" y="86"/>
                  <a:pt x="1382" y="87"/>
                </a:cubicBezTo>
                <a:cubicBezTo>
                  <a:pt x="1378" y="89"/>
                  <a:pt x="1375" y="90"/>
                  <a:pt x="1372" y="89"/>
                </a:cubicBezTo>
                <a:cubicBezTo>
                  <a:pt x="1368" y="89"/>
                  <a:pt x="1365" y="88"/>
                  <a:pt x="1362" y="86"/>
                </a:cubicBezTo>
                <a:cubicBezTo>
                  <a:pt x="1358" y="84"/>
                  <a:pt x="1355" y="81"/>
                  <a:pt x="1351" y="77"/>
                </a:cubicBezTo>
                <a:lnTo>
                  <a:pt x="1313" y="39"/>
                </a:lnTo>
                <a:lnTo>
                  <a:pt x="1304" y="48"/>
                </a:lnTo>
                <a:cubicBezTo>
                  <a:pt x="1303" y="49"/>
                  <a:pt x="1302" y="49"/>
                  <a:pt x="1301" y="49"/>
                </a:cubicBezTo>
                <a:cubicBezTo>
                  <a:pt x="1300" y="49"/>
                  <a:pt x="1298" y="48"/>
                  <a:pt x="1297" y="46"/>
                </a:cubicBezTo>
                <a:cubicBezTo>
                  <a:pt x="1296" y="45"/>
                  <a:pt x="1295" y="44"/>
                  <a:pt x="1295" y="43"/>
                </a:cubicBezTo>
                <a:cubicBezTo>
                  <a:pt x="1294" y="43"/>
                  <a:pt x="1294" y="42"/>
                  <a:pt x="1294" y="41"/>
                </a:cubicBezTo>
                <a:cubicBezTo>
                  <a:pt x="1293" y="41"/>
                  <a:pt x="1293" y="40"/>
                  <a:pt x="1293" y="40"/>
                </a:cubicBezTo>
                <a:cubicBezTo>
                  <a:pt x="1294" y="39"/>
                  <a:pt x="1294" y="39"/>
                  <a:pt x="1294" y="38"/>
                </a:cubicBezTo>
                <a:lnTo>
                  <a:pt x="1303" y="29"/>
                </a:lnTo>
                <a:lnTo>
                  <a:pt x="1288" y="14"/>
                </a:lnTo>
                <a:cubicBezTo>
                  <a:pt x="1288" y="14"/>
                  <a:pt x="1287" y="13"/>
                  <a:pt x="1287" y="13"/>
                </a:cubicBezTo>
                <a:cubicBezTo>
                  <a:pt x="1287" y="12"/>
                  <a:pt x="1287" y="12"/>
                  <a:pt x="1287" y="11"/>
                </a:cubicBezTo>
                <a:cubicBezTo>
                  <a:pt x="1288" y="11"/>
                  <a:pt x="1288" y="10"/>
                  <a:pt x="1289" y="9"/>
                </a:cubicBezTo>
                <a:cubicBezTo>
                  <a:pt x="1289" y="8"/>
                  <a:pt x="1290" y="7"/>
                  <a:pt x="1291" y="6"/>
                </a:cubicBezTo>
                <a:cubicBezTo>
                  <a:pt x="1293" y="5"/>
                  <a:pt x="1294" y="4"/>
                  <a:pt x="1295" y="3"/>
                </a:cubicBezTo>
                <a:cubicBezTo>
                  <a:pt x="1295" y="2"/>
                  <a:pt x="1296" y="2"/>
                  <a:pt x="1297" y="2"/>
                </a:cubicBezTo>
                <a:cubicBezTo>
                  <a:pt x="1297" y="2"/>
                  <a:pt x="1298" y="1"/>
                  <a:pt x="1298" y="2"/>
                </a:cubicBezTo>
                <a:cubicBezTo>
                  <a:pt x="1299" y="2"/>
                  <a:pt x="1299" y="2"/>
                  <a:pt x="1300" y="2"/>
                </a:cubicBezTo>
                <a:lnTo>
                  <a:pt x="1315" y="18"/>
                </a:lnTo>
                <a:lnTo>
                  <a:pt x="1332" y="1"/>
                </a:lnTo>
                <a:cubicBezTo>
                  <a:pt x="1332" y="1"/>
                  <a:pt x="1332" y="0"/>
                  <a:pt x="1333" y="0"/>
                </a:cubicBezTo>
                <a:cubicBezTo>
                  <a:pt x="1333" y="0"/>
                  <a:pt x="1334" y="0"/>
                  <a:pt x="1335" y="0"/>
                </a:cubicBezTo>
                <a:cubicBezTo>
                  <a:pt x="1335" y="1"/>
                  <a:pt x="1336" y="1"/>
                  <a:pt x="1337" y="1"/>
                </a:cubicBezTo>
                <a:cubicBezTo>
                  <a:pt x="1337" y="2"/>
                  <a:pt x="1338" y="3"/>
                  <a:pt x="1339" y="4"/>
                </a:cubicBezTo>
                <a:cubicBezTo>
                  <a:pt x="1341" y="5"/>
                  <a:pt x="1342" y="7"/>
                  <a:pt x="1342" y="8"/>
                </a:cubicBezTo>
                <a:cubicBezTo>
                  <a:pt x="1342" y="9"/>
                  <a:pt x="1342" y="10"/>
                  <a:pt x="1341" y="11"/>
                </a:cubicBezTo>
                <a:lnTo>
                  <a:pt x="1325" y="27"/>
                </a:lnTo>
                <a:lnTo>
                  <a:pt x="1361" y="63"/>
                </a:lnTo>
                <a:cubicBezTo>
                  <a:pt x="1365" y="68"/>
                  <a:pt x="1369" y="71"/>
                  <a:pt x="1373" y="72"/>
                </a:cubicBezTo>
                <a:cubicBezTo>
                  <a:pt x="1377" y="73"/>
                  <a:pt x="1380" y="71"/>
                  <a:pt x="1384" y="68"/>
                </a:cubicBezTo>
                <a:cubicBezTo>
                  <a:pt x="1385" y="67"/>
                  <a:pt x="1385" y="66"/>
                  <a:pt x="1386" y="65"/>
                </a:cubicBezTo>
                <a:cubicBezTo>
                  <a:pt x="1387" y="64"/>
                  <a:pt x="1387" y="63"/>
                  <a:pt x="1388" y="62"/>
                </a:cubicBezTo>
                <a:cubicBezTo>
                  <a:pt x="1388" y="61"/>
                  <a:pt x="1389" y="60"/>
                  <a:pt x="1389" y="59"/>
                </a:cubicBezTo>
                <a:cubicBezTo>
                  <a:pt x="1389" y="59"/>
                  <a:pt x="1389" y="58"/>
                  <a:pt x="1390" y="58"/>
                </a:cubicBezTo>
                <a:cubicBezTo>
                  <a:pt x="1390" y="57"/>
                  <a:pt x="1390" y="57"/>
                  <a:pt x="1391" y="57"/>
                </a:cubicBezTo>
                <a:cubicBezTo>
                  <a:pt x="1391" y="57"/>
                  <a:pt x="1391" y="57"/>
                  <a:pt x="1392" y="57"/>
                </a:cubicBezTo>
                <a:cubicBezTo>
                  <a:pt x="1392" y="58"/>
                  <a:pt x="1393" y="58"/>
                  <a:pt x="1393" y="58"/>
                </a:cubicBezTo>
                <a:cubicBezTo>
                  <a:pt x="1394" y="59"/>
                  <a:pt x="1395" y="60"/>
                  <a:pt x="1396" y="60"/>
                </a:cubicBezTo>
                <a:close/>
              </a:path>
            </a:pathLst>
          </a:custGeom>
          <a:solidFill>
            <a:srgbClr val="000000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092" name="Freeform 36"/>
          <p:cNvSpPr>
            <a:spLocks noEditPoints="1"/>
          </p:cNvSpPr>
          <p:nvPr/>
        </p:nvSpPr>
        <p:spPr bwMode="auto">
          <a:xfrm>
            <a:off x="1271847" y="3985506"/>
            <a:ext cx="1266825" cy="1255713"/>
          </a:xfrm>
          <a:custGeom>
            <a:avLst/>
            <a:gdLst/>
            <a:ahLst/>
            <a:cxnLst>
              <a:cxn ang="0">
                <a:pos x="57" y="1866"/>
              </a:cxn>
              <a:cxn ang="0">
                <a:pos x="168" y="1918"/>
              </a:cxn>
              <a:cxn ang="0">
                <a:pos x="210" y="1814"/>
              </a:cxn>
              <a:cxn ang="0">
                <a:pos x="228" y="1861"/>
              </a:cxn>
              <a:cxn ang="0">
                <a:pos x="152" y="1839"/>
              </a:cxn>
              <a:cxn ang="0">
                <a:pos x="233" y="1717"/>
              </a:cxn>
              <a:cxn ang="0">
                <a:pos x="293" y="1774"/>
              </a:cxn>
              <a:cxn ang="0">
                <a:pos x="273" y="1697"/>
              </a:cxn>
              <a:cxn ang="0">
                <a:pos x="304" y="1649"/>
              </a:cxn>
              <a:cxn ang="0">
                <a:pos x="363" y="1611"/>
              </a:cxn>
              <a:cxn ang="0">
                <a:pos x="316" y="1637"/>
              </a:cxn>
              <a:cxn ang="0">
                <a:pos x="359" y="1604"/>
              </a:cxn>
              <a:cxn ang="0">
                <a:pos x="365" y="1546"/>
              </a:cxn>
              <a:cxn ang="0">
                <a:pos x="453" y="1598"/>
              </a:cxn>
              <a:cxn ang="0">
                <a:pos x="433" y="1548"/>
              </a:cxn>
              <a:cxn ang="0">
                <a:pos x="567" y="1518"/>
              </a:cxn>
              <a:cxn ang="0">
                <a:pos x="538" y="1462"/>
              </a:cxn>
              <a:cxn ang="0">
                <a:pos x="531" y="1402"/>
              </a:cxn>
              <a:cxn ang="0">
                <a:pos x="685" y="1403"/>
              </a:cxn>
              <a:cxn ang="0">
                <a:pos x="576" y="1377"/>
              </a:cxn>
              <a:cxn ang="0">
                <a:pos x="749" y="1299"/>
              </a:cxn>
              <a:cxn ang="0">
                <a:pos x="646" y="1305"/>
              </a:cxn>
              <a:cxn ang="0">
                <a:pos x="679" y="1291"/>
              </a:cxn>
              <a:cxn ang="0">
                <a:pos x="826" y="1309"/>
              </a:cxn>
              <a:cxn ang="0">
                <a:pos x="746" y="1209"/>
              </a:cxn>
              <a:cxn ang="0">
                <a:pos x="817" y="1237"/>
              </a:cxn>
              <a:cxn ang="0">
                <a:pos x="784" y="1108"/>
              </a:cxn>
              <a:cxn ang="0">
                <a:pos x="840" y="1113"/>
              </a:cxn>
              <a:cxn ang="0">
                <a:pos x="1055" y="1030"/>
              </a:cxn>
              <a:cxn ang="0">
                <a:pos x="938" y="963"/>
              </a:cxn>
              <a:cxn ang="0">
                <a:pos x="958" y="966"/>
              </a:cxn>
              <a:cxn ang="0">
                <a:pos x="1120" y="943"/>
              </a:cxn>
              <a:cxn ang="0">
                <a:pos x="1031" y="922"/>
              </a:cxn>
              <a:cxn ang="0">
                <a:pos x="1173" y="916"/>
              </a:cxn>
              <a:cxn ang="0">
                <a:pos x="1154" y="876"/>
              </a:cxn>
              <a:cxn ang="0">
                <a:pos x="1144" y="832"/>
              </a:cxn>
              <a:cxn ang="0">
                <a:pos x="1239" y="785"/>
              </a:cxn>
              <a:cxn ang="0">
                <a:pos x="1258" y="831"/>
              </a:cxn>
              <a:cxn ang="0">
                <a:pos x="1182" y="810"/>
              </a:cxn>
              <a:cxn ang="0">
                <a:pos x="1306" y="782"/>
              </a:cxn>
              <a:cxn ang="0">
                <a:pos x="1264" y="686"/>
              </a:cxn>
              <a:cxn ang="0">
                <a:pos x="1368" y="715"/>
              </a:cxn>
              <a:cxn ang="0">
                <a:pos x="1335" y="615"/>
              </a:cxn>
              <a:cxn ang="0">
                <a:pos x="1468" y="602"/>
              </a:cxn>
              <a:cxn ang="0">
                <a:pos x="1440" y="569"/>
              </a:cxn>
              <a:cxn ang="0">
                <a:pos x="1522" y="544"/>
              </a:cxn>
              <a:cxn ang="0">
                <a:pos x="1501" y="429"/>
              </a:cxn>
              <a:cxn ang="0">
                <a:pos x="1653" y="434"/>
              </a:cxn>
              <a:cxn ang="0">
                <a:pos x="1583" y="393"/>
              </a:cxn>
              <a:cxn ang="0">
                <a:pos x="1609" y="388"/>
              </a:cxn>
              <a:cxn ang="0">
                <a:pos x="1686" y="394"/>
              </a:cxn>
              <a:cxn ang="0">
                <a:pos x="1626" y="346"/>
              </a:cxn>
              <a:cxn ang="0">
                <a:pos x="1695" y="375"/>
              </a:cxn>
              <a:cxn ang="0">
                <a:pos x="1722" y="297"/>
              </a:cxn>
              <a:cxn ang="0">
                <a:pos x="1694" y="259"/>
              </a:cxn>
              <a:cxn ang="0">
                <a:pos x="1857" y="212"/>
              </a:cxn>
              <a:cxn ang="0">
                <a:pos x="1804" y="160"/>
              </a:cxn>
              <a:cxn ang="0">
                <a:pos x="1849" y="205"/>
              </a:cxn>
              <a:cxn ang="0">
                <a:pos x="1832" y="121"/>
              </a:cxn>
              <a:cxn ang="0">
                <a:pos x="1925" y="154"/>
              </a:cxn>
              <a:cxn ang="0">
                <a:pos x="1853" y="67"/>
              </a:cxn>
              <a:cxn ang="0">
                <a:pos x="1949" y="126"/>
              </a:cxn>
              <a:cxn ang="0">
                <a:pos x="1906" y="50"/>
              </a:cxn>
            </a:cxnLst>
            <a:rect l="0" t="0" r="r" b="b"/>
            <a:pathLst>
              <a:path w="2012" h="1995">
                <a:moveTo>
                  <a:pt x="137" y="1940"/>
                </a:moveTo>
                <a:cubicBezTo>
                  <a:pt x="138" y="1941"/>
                  <a:pt x="139" y="1942"/>
                  <a:pt x="139" y="1943"/>
                </a:cubicBezTo>
                <a:cubicBezTo>
                  <a:pt x="140" y="1943"/>
                  <a:pt x="140" y="1944"/>
                  <a:pt x="140" y="1945"/>
                </a:cubicBezTo>
                <a:cubicBezTo>
                  <a:pt x="141" y="1946"/>
                  <a:pt x="141" y="1946"/>
                  <a:pt x="140" y="1947"/>
                </a:cubicBezTo>
                <a:cubicBezTo>
                  <a:pt x="140" y="1947"/>
                  <a:pt x="140" y="1948"/>
                  <a:pt x="140" y="1948"/>
                </a:cubicBezTo>
                <a:lnTo>
                  <a:pt x="95" y="1993"/>
                </a:lnTo>
                <a:cubicBezTo>
                  <a:pt x="94" y="1994"/>
                  <a:pt x="93" y="1994"/>
                  <a:pt x="91" y="1995"/>
                </a:cubicBezTo>
                <a:cubicBezTo>
                  <a:pt x="89" y="1995"/>
                  <a:pt x="87" y="1994"/>
                  <a:pt x="85" y="1992"/>
                </a:cubicBezTo>
                <a:lnTo>
                  <a:pt x="3" y="1909"/>
                </a:lnTo>
                <a:cubicBezTo>
                  <a:pt x="1" y="1907"/>
                  <a:pt x="0" y="1906"/>
                  <a:pt x="0" y="1904"/>
                </a:cubicBezTo>
                <a:cubicBezTo>
                  <a:pt x="0" y="1902"/>
                  <a:pt x="1" y="1901"/>
                  <a:pt x="2" y="1900"/>
                </a:cubicBezTo>
                <a:lnTo>
                  <a:pt x="46" y="1855"/>
                </a:lnTo>
                <a:cubicBezTo>
                  <a:pt x="47" y="1855"/>
                  <a:pt x="47" y="1855"/>
                  <a:pt x="48" y="1855"/>
                </a:cubicBezTo>
                <a:cubicBezTo>
                  <a:pt x="48" y="1855"/>
                  <a:pt x="49" y="1855"/>
                  <a:pt x="49" y="1855"/>
                </a:cubicBezTo>
                <a:cubicBezTo>
                  <a:pt x="50" y="1855"/>
                  <a:pt x="51" y="1856"/>
                  <a:pt x="51" y="1856"/>
                </a:cubicBezTo>
                <a:cubicBezTo>
                  <a:pt x="52" y="1857"/>
                  <a:pt x="53" y="1857"/>
                  <a:pt x="54" y="1858"/>
                </a:cubicBezTo>
                <a:cubicBezTo>
                  <a:pt x="55" y="1859"/>
                  <a:pt x="56" y="1860"/>
                  <a:pt x="56" y="1861"/>
                </a:cubicBezTo>
                <a:cubicBezTo>
                  <a:pt x="57" y="1862"/>
                  <a:pt x="57" y="1862"/>
                  <a:pt x="57" y="1863"/>
                </a:cubicBezTo>
                <a:cubicBezTo>
                  <a:pt x="57" y="1863"/>
                  <a:pt x="57" y="1864"/>
                  <a:pt x="57" y="1864"/>
                </a:cubicBezTo>
                <a:cubicBezTo>
                  <a:pt x="57" y="1865"/>
                  <a:pt x="57" y="1865"/>
                  <a:pt x="57" y="1866"/>
                </a:cubicBezTo>
                <a:lnTo>
                  <a:pt x="20" y="1902"/>
                </a:lnTo>
                <a:lnTo>
                  <a:pt x="49" y="1931"/>
                </a:lnTo>
                <a:lnTo>
                  <a:pt x="81" y="1900"/>
                </a:lnTo>
                <a:cubicBezTo>
                  <a:pt x="81" y="1900"/>
                  <a:pt x="81" y="1899"/>
                  <a:pt x="82" y="1899"/>
                </a:cubicBezTo>
                <a:cubicBezTo>
                  <a:pt x="82" y="1899"/>
                  <a:pt x="83" y="1899"/>
                  <a:pt x="84" y="1899"/>
                </a:cubicBezTo>
                <a:cubicBezTo>
                  <a:pt x="84" y="1900"/>
                  <a:pt x="85" y="1900"/>
                  <a:pt x="86" y="1901"/>
                </a:cubicBezTo>
                <a:cubicBezTo>
                  <a:pt x="86" y="1901"/>
                  <a:pt x="87" y="1902"/>
                  <a:pt x="88" y="1903"/>
                </a:cubicBezTo>
                <a:cubicBezTo>
                  <a:pt x="89" y="1904"/>
                  <a:pt x="90" y="1904"/>
                  <a:pt x="90" y="1905"/>
                </a:cubicBezTo>
                <a:cubicBezTo>
                  <a:pt x="91" y="1906"/>
                  <a:pt x="91" y="1907"/>
                  <a:pt x="91" y="1907"/>
                </a:cubicBezTo>
                <a:cubicBezTo>
                  <a:pt x="91" y="1908"/>
                  <a:pt x="91" y="1908"/>
                  <a:pt x="91" y="1909"/>
                </a:cubicBezTo>
                <a:cubicBezTo>
                  <a:pt x="91" y="1909"/>
                  <a:pt x="91" y="1910"/>
                  <a:pt x="91" y="1910"/>
                </a:cubicBezTo>
                <a:lnTo>
                  <a:pt x="59" y="1941"/>
                </a:lnTo>
                <a:lnTo>
                  <a:pt x="93" y="1974"/>
                </a:lnTo>
                <a:lnTo>
                  <a:pt x="129" y="1938"/>
                </a:lnTo>
                <a:cubicBezTo>
                  <a:pt x="130" y="1937"/>
                  <a:pt x="130" y="1937"/>
                  <a:pt x="131" y="1937"/>
                </a:cubicBezTo>
                <a:cubicBezTo>
                  <a:pt x="131" y="1937"/>
                  <a:pt x="132" y="1937"/>
                  <a:pt x="132" y="1937"/>
                </a:cubicBezTo>
                <a:cubicBezTo>
                  <a:pt x="133" y="1937"/>
                  <a:pt x="134" y="1937"/>
                  <a:pt x="135" y="1938"/>
                </a:cubicBezTo>
                <a:cubicBezTo>
                  <a:pt x="135" y="1939"/>
                  <a:pt x="136" y="1939"/>
                  <a:pt x="137" y="1940"/>
                </a:cubicBezTo>
                <a:close/>
                <a:moveTo>
                  <a:pt x="167" y="1917"/>
                </a:moveTo>
                <a:cubicBezTo>
                  <a:pt x="167" y="1917"/>
                  <a:pt x="168" y="1918"/>
                  <a:pt x="168" y="1918"/>
                </a:cubicBezTo>
                <a:cubicBezTo>
                  <a:pt x="168" y="1919"/>
                  <a:pt x="168" y="1919"/>
                  <a:pt x="168" y="1920"/>
                </a:cubicBezTo>
                <a:cubicBezTo>
                  <a:pt x="167" y="1920"/>
                  <a:pt x="167" y="1921"/>
                  <a:pt x="166" y="1922"/>
                </a:cubicBezTo>
                <a:cubicBezTo>
                  <a:pt x="165" y="1923"/>
                  <a:pt x="165" y="1924"/>
                  <a:pt x="163" y="1925"/>
                </a:cubicBezTo>
                <a:cubicBezTo>
                  <a:pt x="162" y="1926"/>
                  <a:pt x="161" y="1927"/>
                  <a:pt x="160" y="1928"/>
                </a:cubicBezTo>
                <a:cubicBezTo>
                  <a:pt x="159" y="1929"/>
                  <a:pt x="159" y="1929"/>
                  <a:pt x="158" y="1929"/>
                </a:cubicBezTo>
                <a:cubicBezTo>
                  <a:pt x="157" y="1930"/>
                  <a:pt x="157" y="1930"/>
                  <a:pt x="156" y="1930"/>
                </a:cubicBezTo>
                <a:cubicBezTo>
                  <a:pt x="156" y="1929"/>
                  <a:pt x="156" y="1929"/>
                  <a:pt x="155" y="1929"/>
                </a:cubicBezTo>
                <a:lnTo>
                  <a:pt x="59" y="1833"/>
                </a:lnTo>
                <a:cubicBezTo>
                  <a:pt x="59" y="1832"/>
                  <a:pt x="59" y="1832"/>
                  <a:pt x="59" y="1832"/>
                </a:cubicBezTo>
                <a:cubicBezTo>
                  <a:pt x="58" y="1831"/>
                  <a:pt x="58" y="1831"/>
                  <a:pt x="59" y="1830"/>
                </a:cubicBezTo>
                <a:cubicBezTo>
                  <a:pt x="59" y="1829"/>
                  <a:pt x="59" y="1829"/>
                  <a:pt x="60" y="1828"/>
                </a:cubicBezTo>
                <a:cubicBezTo>
                  <a:pt x="61" y="1827"/>
                  <a:pt x="62" y="1826"/>
                  <a:pt x="63" y="1825"/>
                </a:cubicBezTo>
                <a:cubicBezTo>
                  <a:pt x="64" y="1823"/>
                  <a:pt x="65" y="1823"/>
                  <a:pt x="66" y="1822"/>
                </a:cubicBezTo>
                <a:cubicBezTo>
                  <a:pt x="67" y="1821"/>
                  <a:pt x="68" y="1821"/>
                  <a:pt x="68" y="1821"/>
                </a:cubicBezTo>
                <a:cubicBezTo>
                  <a:pt x="69" y="1820"/>
                  <a:pt x="69" y="1820"/>
                  <a:pt x="70" y="1820"/>
                </a:cubicBezTo>
                <a:cubicBezTo>
                  <a:pt x="70" y="1820"/>
                  <a:pt x="71" y="1821"/>
                  <a:pt x="71" y="1821"/>
                </a:cubicBezTo>
                <a:lnTo>
                  <a:pt x="167" y="1917"/>
                </a:lnTo>
                <a:close/>
                <a:moveTo>
                  <a:pt x="209" y="1805"/>
                </a:moveTo>
                <a:cubicBezTo>
                  <a:pt x="211" y="1806"/>
                  <a:pt x="212" y="1808"/>
                  <a:pt x="212" y="1810"/>
                </a:cubicBezTo>
                <a:cubicBezTo>
                  <a:pt x="212" y="1812"/>
                  <a:pt x="211" y="1813"/>
                  <a:pt x="210" y="1814"/>
                </a:cubicBezTo>
                <a:lnTo>
                  <a:pt x="167" y="1857"/>
                </a:lnTo>
                <a:cubicBezTo>
                  <a:pt x="171" y="1861"/>
                  <a:pt x="174" y="1863"/>
                  <a:pt x="178" y="1866"/>
                </a:cubicBezTo>
                <a:cubicBezTo>
                  <a:pt x="182" y="1868"/>
                  <a:pt x="185" y="1869"/>
                  <a:pt x="189" y="1869"/>
                </a:cubicBezTo>
                <a:cubicBezTo>
                  <a:pt x="193" y="1870"/>
                  <a:pt x="197" y="1869"/>
                  <a:pt x="200" y="1868"/>
                </a:cubicBezTo>
                <a:cubicBezTo>
                  <a:pt x="204" y="1866"/>
                  <a:pt x="208" y="1863"/>
                  <a:pt x="212" y="1859"/>
                </a:cubicBezTo>
                <a:cubicBezTo>
                  <a:pt x="215" y="1856"/>
                  <a:pt x="217" y="1853"/>
                  <a:pt x="219" y="1850"/>
                </a:cubicBezTo>
                <a:cubicBezTo>
                  <a:pt x="221" y="1847"/>
                  <a:pt x="223" y="1845"/>
                  <a:pt x="224" y="1842"/>
                </a:cubicBezTo>
                <a:cubicBezTo>
                  <a:pt x="225" y="1840"/>
                  <a:pt x="226" y="1838"/>
                  <a:pt x="227" y="1836"/>
                </a:cubicBezTo>
                <a:cubicBezTo>
                  <a:pt x="227" y="1835"/>
                  <a:pt x="228" y="1834"/>
                  <a:pt x="228" y="1833"/>
                </a:cubicBezTo>
                <a:cubicBezTo>
                  <a:pt x="229" y="1833"/>
                  <a:pt x="229" y="1832"/>
                  <a:pt x="229" y="1832"/>
                </a:cubicBezTo>
                <a:cubicBezTo>
                  <a:pt x="230" y="1832"/>
                  <a:pt x="230" y="1832"/>
                  <a:pt x="231" y="1833"/>
                </a:cubicBezTo>
                <a:cubicBezTo>
                  <a:pt x="231" y="1833"/>
                  <a:pt x="232" y="1833"/>
                  <a:pt x="233" y="1834"/>
                </a:cubicBezTo>
                <a:cubicBezTo>
                  <a:pt x="233" y="1834"/>
                  <a:pt x="234" y="1835"/>
                  <a:pt x="235" y="1836"/>
                </a:cubicBezTo>
                <a:cubicBezTo>
                  <a:pt x="235" y="1836"/>
                  <a:pt x="236" y="1837"/>
                  <a:pt x="236" y="1837"/>
                </a:cubicBezTo>
                <a:cubicBezTo>
                  <a:pt x="237" y="1838"/>
                  <a:pt x="237" y="1838"/>
                  <a:pt x="237" y="1839"/>
                </a:cubicBezTo>
                <a:cubicBezTo>
                  <a:pt x="238" y="1839"/>
                  <a:pt x="238" y="1840"/>
                  <a:pt x="238" y="1840"/>
                </a:cubicBezTo>
                <a:cubicBezTo>
                  <a:pt x="238" y="1841"/>
                  <a:pt x="238" y="1841"/>
                  <a:pt x="238" y="1842"/>
                </a:cubicBezTo>
                <a:cubicBezTo>
                  <a:pt x="238" y="1842"/>
                  <a:pt x="238" y="1843"/>
                  <a:pt x="237" y="1845"/>
                </a:cubicBezTo>
                <a:cubicBezTo>
                  <a:pt x="236" y="1847"/>
                  <a:pt x="235" y="1849"/>
                  <a:pt x="234" y="1852"/>
                </a:cubicBezTo>
                <a:cubicBezTo>
                  <a:pt x="232" y="1855"/>
                  <a:pt x="231" y="1858"/>
                  <a:pt x="228" y="1861"/>
                </a:cubicBezTo>
                <a:cubicBezTo>
                  <a:pt x="226" y="1864"/>
                  <a:pt x="223" y="1867"/>
                  <a:pt x="220" y="1870"/>
                </a:cubicBezTo>
                <a:cubicBezTo>
                  <a:pt x="215" y="1875"/>
                  <a:pt x="210" y="1879"/>
                  <a:pt x="204" y="1882"/>
                </a:cubicBezTo>
                <a:cubicBezTo>
                  <a:pt x="199" y="1884"/>
                  <a:pt x="193" y="1885"/>
                  <a:pt x="187" y="1885"/>
                </a:cubicBezTo>
                <a:cubicBezTo>
                  <a:pt x="182" y="1885"/>
                  <a:pt x="176" y="1883"/>
                  <a:pt x="170" y="1880"/>
                </a:cubicBezTo>
                <a:cubicBezTo>
                  <a:pt x="165" y="1877"/>
                  <a:pt x="159" y="1873"/>
                  <a:pt x="153" y="1867"/>
                </a:cubicBezTo>
                <a:cubicBezTo>
                  <a:pt x="147" y="1862"/>
                  <a:pt x="143" y="1856"/>
                  <a:pt x="140" y="1850"/>
                </a:cubicBezTo>
                <a:cubicBezTo>
                  <a:pt x="137" y="1844"/>
                  <a:pt x="135" y="1838"/>
                  <a:pt x="135" y="1833"/>
                </a:cubicBezTo>
                <a:cubicBezTo>
                  <a:pt x="135" y="1827"/>
                  <a:pt x="135" y="1821"/>
                  <a:pt x="138" y="1816"/>
                </a:cubicBezTo>
                <a:cubicBezTo>
                  <a:pt x="140" y="1810"/>
                  <a:pt x="143" y="1805"/>
                  <a:pt x="148" y="1800"/>
                </a:cubicBezTo>
                <a:cubicBezTo>
                  <a:pt x="153" y="1795"/>
                  <a:pt x="158" y="1792"/>
                  <a:pt x="163" y="1790"/>
                </a:cubicBezTo>
                <a:cubicBezTo>
                  <a:pt x="169" y="1788"/>
                  <a:pt x="174" y="1787"/>
                  <a:pt x="179" y="1788"/>
                </a:cubicBezTo>
                <a:cubicBezTo>
                  <a:pt x="184" y="1788"/>
                  <a:pt x="189" y="1790"/>
                  <a:pt x="194" y="1792"/>
                </a:cubicBezTo>
                <a:cubicBezTo>
                  <a:pt x="198" y="1795"/>
                  <a:pt x="203" y="1798"/>
                  <a:pt x="207" y="1802"/>
                </a:cubicBezTo>
                <a:lnTo>
                  <a:pt x="209" y="1805"/>
                </a:lnTo>
                <a:close/>
                <a:moveTo>
                  <a:pt x="194" y="1813"/>
                </a:moveTo>
                <a:cubicBezTo>
                  <a:pt x="188" y="1807"/>
                  <a:pt x="181" y="1803"/>
                  <a:pt x="175" y="1802"/>
                </a:cubicBezTo>
                <a:cubicBezTo>
                  <a:pt x="169" y="1802"/>
                  <a:pt x="162" y="1804"/>
                  <a:pt x="157" y="1810"/>
                </a:cubicBezTo>
                <a:cubicBezTo>
                  <a:pt x="154" y="1813"/>
                  <a:pt x="152" y="1816"/>
                  <a:pt x="151" y="1820"/>
                </a:cubicBezTo>
                <a:cubicBezTo>
                  <a:pt x="149" y="1823"/>
                  <a:pt x="149" y="1826"/>
                  <a:pt x="149" y="1829"/>
                </a:cubicBezTo>
                <a:cubicBezTo>
                  <a:pt x="150" y="1833"/>
                  <a:pt x="151" y="1836"/>
                  <a:pt x="152" y="1839"/>
                </a:cubicBezTo>
                <a:cubicBezTo>
                  <a:pt x="154" y="1843"/>
                  <a:pt x="156" y="1846"/>
                  <a:pt x="159" y="1848"/>
                </a:cubicBezTo>
                <a:lnTo>
                  <a:pt x="194" y="1813"/>
                </a:lnTo>
                <a:close/>
                <a:moveTo>
                  <a:pt x="305" y="1759"/>
                </a:moveTo>
                <a:cubicBezTo>
                  <a:pt x="306" y="1760"/>
                  <a:pt x="307" y="1761"/>
                  <a:pt x="307" y="1762"/>
                </a:cubicBezTo>
                <a:cubicBezTo>
                  <a:pt x="308" y="1762"/>
                  <a:pt x="308" y="1763"/>
                  <a:pt x="308" y="1763"/>
                </a:cubicBezTo>
                <a:cubicBezTo>
                  <a:pt x="309" y="1764"/>
                  <a:pt x="309" y="1764"/>
                  <a:pt x="309" y="1765"/>
                </a:cubicBezTo>
                <a:cubicBezTo>
                  <a:pt x="309" y="1765"/>
                  <a:pt x="309" y="1766"/>
                  <a:pt x="309" y="1767"/>
                </a:cubicBezTo>
                <a:cubicBezTo>
                  <a:pt x="309" y="1769"/>
                  <a:pt x="309" y="1770"/>
                  <a:pt x="308" y="1773"/>
                </a:cubicBezTo>
                <a:cubicBezTo>
                  <a:pt x="308" y="1775"/>
                  <a:pt x="307" y="1777"/>
                  <a:pt x="306" y="1780"/>
                </a:cubicBezTo>
                <a:cubicBezTo>
                  <a:pt x="305" y="1782"/>
                  <a:pt x="303" y="1785"/>
                  <a:pt x="302" y="1787"/>
                </a:cubicBezTo>
                <a:cubicBezTo>
                  <a:pt x="300" y="1790"/>
                  <a:pt x="298" y="1792"/>
                  <a:pt x="296" y="1795"/>
                </a:cubicBezTo>
                <a:cubicBezTo>
                  <a:pt x="291" y="1799"/>
                  <a:pt x="286" y="1803"/>
                  <a:pt x="281" y="1805"/>
                </a:cubicBezTo>
                <a:cubicBezTo>
                  <a:pt x="276" y="1807"/>
                  <a:pt x="271" y="1807"/>
                  <a:pt x="265" y="1807"/>
                </a:cubicBezTo>
                <a:cubicBezTo>
                  <a:pt x="260" y="1806"/>
                  <a:pt x="255" y="1805"/>
                  <a:pt x="249" y="1802"/>
                </a:cubicBezTo>
                <a:cubicBezTo>
                  <a:pt x="244" y="1799"/>
                  <a:pt x="238" y="1794"/>
                  <a:pt x="232" y="1789"/>
                </a:cubicBezTo>
                <a:cubicBezTo>
                  <a:pt x="226" y="1782"/>
                  <a:pt x="221" y="1776"/>
                  <a:pt x="218" y="1770"/>
                </a:cubicBezTo>
                <a:cubicBezTo>
                  <a:pt x="215" y="1764"/>
                  <a:pt x="214" y="1758"/>
                  <a:pt x="213" y="1752"/>
                </a:cubicBezTo>
                <a:cubicBezTo>
                  <a:pt x="213" y="1747"/>
                  <a:pt x="214" y="1741"/>
                  <a:pt x="216" y="1736"/>
                </a:cubicBezTo>
                <a:cubicBezTo>
                  <a:pt x="219" y="1731"/>
                  <a:pt x="222" y="1726"/>
                  <a:pt x="226" y="1722"/>
                </a:cubicBezTo>
                <a:cubicBezTo>
                  <a:pt x="228" y="1720"/>
                  <a:pt x="230" y="1718"/>
                  <a:pt x="233" y="1717"/>
                </a:cubicBezTo>
                <a:cubicBezTo>
                  <a:pt x="235" y="1715"/>
                  <a:pt x="237" y="1714"/>
                  <a:pt x="240" y="1713"/>
                </a:cubicBezTo>
                <a:cubicBezTo>
                  <a:pt x="242" y="1712"/>
                  <a:pt x="244" y="1711"/>
                  <a:pt x="246" y="1711"/>
                </a:cubicBezTo>
                <a:cubicBezTo>
                  <a:pt x="248" y="1710"/>
                  <a:pt x="250" y="1710"/>
                  <a:pt x="251" y="1710"/>
                </a:cubicBezTo>
                <a:cubicBezTo>
                  <a:pt x="252" y="1710"/>
                  <a:pt x="253" y="1710"/>
                  <a:pt x="254" y="1710"/>
                </a:cubicBezTo>
                <a:cubicBezTo>
                  <a:pt x="254" y="1710"/>
                  <a:pt x="255" y="1711"/>
                  <a:pt x="255" y="1711"/>
                </a:cubicBezTo>
                <a:cubicBezTo>
                  <a:pt x="256" y="1711"/>
                  <a:pt x="256" y="1712"/>
                  <a:pt x="257" y="1712"/>
                </a:cubicBezTo>
                <a:cubicBezTo>
                  <a:pt x="258" y="1713"/>
                  <a:pt x="258" y="1713"/>
                  <a:pt x="259" y="1714"/>
                </a:cubicBezTo>
                <a:cubicBezTo>
                  <a:pt x="261" y="1716"/>
                  <a:pt x="262" y="1718"/>
                  <a:pt x="263" y="1719"/>
                </a:cubicBezTo>
                <a:cubicBezTo>
                  <a:pt x="263" y="1720"/>
                  <a:pt x="263" y="1721"/>
                  <a:pt x="262" y="1722"/>
                </a:cubicBezTo>
                <a:cubicBezTo>
                  <a:pt x="261" y="1722"/>
                  <a:pt x="260" y="1723"/>
                  <a:pt x="258" y="1723"/>
                </a:cubicBezTo>
                <a:cubicBezTo>
                  <a:pt x="257" y="1723"/>
                  <a:pt x="255" y="1723"/>
                  <a:pt x="252" y="1724"/>
                </a:cubicBezTo>
                <a:cubicBezTo>
                  <a:pt x="250" y="1724"/>
                  <a:pt x="247" y="1725"/>
                  <a:pt x="244" y="1726"/>
                </a:cubicBezTo>
                <a:cubicBezTo>
                  <a:pt x="242" y="1728"/>
                  <a:pt x="239" y="1730"/>
                  <a:pt x="236" y="1732"/>
                </a:cubicBezTo>
                <a:cubicBezTo>
                  <a:pt x="230" y="1738"/>
                  <a:pt x="228" y="1745"/>
                  <a:pt x="230" y="1752"/>
                </a:cubicBezTo>
                <a:cubicBezTo>
                  <a:pt x="231" y="1759"/>
                  <a:pt x="236" y="1767"/>
                  <a:pt x="244" y="1776"/>
                </a:cubicBezTo>
                <a:cubicBezTo>
                  <a:pt x="248" y="1780"/>
                  <a:pt x="252" y="1783"/>
                  <a:pt x="256" y="1785"/>
                </a:cubicBezTo>
                <a:cubicBezTo>
                  <a:pt x="260" y="1788"/>
                  <a:pt x="264" y="1789"/>
                  <a:pt x="268" y="1790"/>
                </a:cubicBezTo>
                <a:cubicBezTo>
                  <a:pt x="271" y="1790"/>
                  <a:pt x="275" y="1790"/>
                  <a:pt x="278" y="1789"/>
                </a:cubicBezTo>
                <a:cubicBezTo>
                  <a:pt x="281" y="1788"/>
                  <a:pt x="284" y="1786"/>
                  <a:pt x="287" y="1783"/>
                </a:cubicBezTo>
                <a:cubicBezTo>
                  <a:pt x="290" y="1780"/>
                  <a:pt x="292" y="1777"/>
                  <a:pt x="293" y="1774"/>
                </a:cubicBezTo>
                <a:cubicBezTo>
                  <a:pt x="294" y="1771"/>
                  <a:pt x="295" y="1769"/>
                  <a:pt x="295" y="1766"/>
                </a:cubicBezTo>
                <a:cubicBezTo>
                  <a:pt x="296" y="1764"/>
                  <a:pt x="296" y="1761"/>
                  <a:pt x="296" y="1760"/>
                </a:cubicBezTo>
                <a:cubicBezTo>
                  <a:pt x="297" y="1758"/>
                  <a:pt x="297" y="1756"/>
                  <a:pt x="298" y="1756"/>
                </a:cubicBezTo>
                <a:cubicBezTo>
                  <a:pt x="298" y="1756"/>
                  <a:pt x="298" y="1755"/>
                  <a:pt x="299" y="1755"/>
                </a:cubicBezTo>
                <a:cubicBezTo>
                  <a:pt x="299" y="1755"/>
                  <a:pt x="300" y="1755"/>
                  <a:pt x="300" y="1756"/>
                </a:cubicBezTo>
                <a:cubicBezTo>
                  <a:pt x="301" y="1756"/>
                  <a:pt x="302" y="1756"/>
                  <a:pt x="302" y="1757"/>
                </a:cubicBezTo>
                <a:cubicBezTo>
                  <a:pt x="303" y="1758"/>
                  <a:pt x="304" y="1758"/>
                  <a:pt x="305" y="1759"/>
                </a:cubicBezTo>
                <a:close/>
                <a:moveTo>
                  <a:pt x="365" y="1709"/>
                </a:moveTo>
                <a:cubicBezTo>
                  <a:pt x="367" y="1711"/>
                  <a:pt x="368" y="1712"/>
                  <a:pt x="368" y="1713"/>
                </a:cubicBezTo>
                <a:cubicBezTo>
                  <a:pt x="369" y="1714"/>
                  <a:pt x="369" y="1715"/>
                  <a:pt x="369" y="1716"/>
                </a:cubicBezTo>
                <a:cubicBezTo>
                  <a:pt x="369" y="1716"/>
                  <a:pt x="369" y="1717"/>
                  <a:pt x="368" y="1718"/>
                </a:cubicBezTo>
                <a:cubicBezTo>
                  <a:pt x="368" y="1720"/>
                  <a:pt x="367" y="1721"/>
                  <a:pt x="367" y="1722"/>
                </a:cubicBezTo>
                <a:cubicBezTo>
                  <a:pt x="366" y="1723"/>
                  <a:pt x="365" y="1724"/>
                  <a:pt x="364" y="1726"/>
                </a:cubicBezTo>
                <a:cubicBezTo>
                  <a:pt x="363" y="1727"/>
                  <a:pt x="362" y="1728"/>
                  <a:pt x="361" y="1729"/>
                </a:cubicBezTo>
                <a:cubicBezTo>
                  <a:pt x="358" y="1732"/>
                  <a:pt x="354" y="1735"/>
                  <a:pt x="351" y="1736"/>
                </a:cubicBezTo>
                <a:cubicBezTo>
                  <a:pt x="348" y="1738"/>
                  <a:pt x="344" y="1739"/>
                  <a:pt x="341" y="1738"/>
                </a:cubicBezTo>
                <a:cubicBezTo>
                  <a:pt x="338" y="1738"/>
                  <a:pt x="334" y="1737"/>
                  <a:pt x="331" y="1735"/>
                </a:cubicBezTo>
                <a:cubicBezTo>
                  <a:pt x="328" y="1733"/>
                  <a:pt x="324" y="1730"/>
                  <a:pt x="320" y="1726"/>
                </a:cubicBezTo>
                <a:lnTo>
                  <a:pt x="282" y="1688"/>
                </a:lnTo>
                <a:lnTo>
                  <a:pt x="273" y="1697"/>
                </a:lnTo>
                <a:cubicBezTo>
                  <a:pt x="273" y="1698"/>
                  <a:pt x="272" y="1698"/>
                  <a:pt x="270" y="1698"/>
                </a:cubicBezTo>
                <a:cubicBezTo>
                  <a:pt x="269" y="1698"/>
                  <a:pt x="268" y="1697"/>
                  <a:pt x="266" y="1695"/>
                </a:cubicBezTo>
                <a:cubicBezTo>
                  <a:pt x="265" y="1694"/>
                  <a:pt x="264" y="1693"/>
                  <a:pt x="264" y="1692"/>
                </a:cubicBezTo>
                <a:cubicBezTo>
                  <a:pt x="263" y="1692"/>
                  <a:pt x="263" y="1691"/>
                  <a:pt x="263" y="1690"/>
                </a:cubicBezTo>
                <a:cubicBezTo>
                  <a:pt x="263" y="1690"/>
                  <a:pt x="263" y="1689"/>
                  <a:pt x="263" y="1689"/>
                </a:cubicBezTo>
                <a:cubicBezTo>
                  <a:pt x="263" y="1688"/>
                  <a:pt x="263" y="1688"/>
                  <a:pt x="264" y="1687"/>
                </a:cubicBezTo>
                <a:lnTo>
                  <a:pt x="273" y="1678"/>
                </a:lnTo>
                <a:lnTo>
                  <a:pt x="257" y="1663"/>
                </a:lnTo>
                <a:cubicBezTo>
                  <a:pt x="257" y="1663"/>
                  <a:pt x="257" y="1662"/>
                  <a:pt x="257" y="1662"/>
                </a:cubicBezTo>
                <a:cubicBezTo>
                  <a:pt x="256" y="1661"/>
                  <a:pt x="256" y="1661"/>
                  <a:pt x="257" y="1660"/>
                </a:cubicBezTo>
                <a:cubicBezTo>
                  <a:pt x="257" y="1660"/>
                  <a:pt x="257" y="1659"/>
                  <a:pt x="258" y="1658"/>
                </a:cubicBezTo>
                <a:cubicBezTo>
                  <a:pt x="259" y="1657"/>
                  <a:pt x="260" y="1656"/>
                  <a:pt x="261" y="1655"/>
                </a:cubicBezTo>
                <a:cubicBezTo>
                  <a:pt x="262" y="1654"/>
                  <a:pt x="263" y="1653"/>
                  <a:pt x="264" y="1652"/>
                </a:cubicBezTo>
                <a:cubicBezTo>
                  <a:pt x="265" y="1651"/>
                  <a:pt x="265" y="1651"/>
                  <a:pt x="266" y="1651"/>
                </a:cubicBezTo>
                <a:cubicBezTo>
                  <a:pt x="267" y="1651"/>
                  <a:pt x="267" y="1651"/>
                  <a:pt x="268" y="1651"/>
                </a:cubicBezTo>
                <a:cubicBezTo>
                  <a:pt x="268" y="1651"/>
                  <a:pt x="269" y="1651"/>
                  <a:pt x="269" y="1651"/>
                </a:cubicBezTo>
                <a:lnTo>
                  <a:pt x="284" y="1667"/>
                </a:lnTo>
                <a:lnTo>
                  <a:pt x="301" y="1650"/>
                </a:lnTo>
                <a:cubicBezTo>
                  <a:pt x="301" y="1650"/>
                  <a:pt x="302" y="1649"/>
                  <a:pt x="302" y="1649"/>
                </a:cubicBezTo>
                <a:cubicBezTo>
                  <a:pt x="303" y="1649"/>
                  <a:pt x="303" y="1649"/>
                  <a:pt x="304" y="1649"/>
                </a:cubicBezTo>
                <a:cubicBezTo>
                  <a:pt x="304" y="1650"/>
                  <a:pt x="305" y="1650"/>
                  <a:pt x="306" y="1650"/>
                </a:cubicBezTo>
                <a:cubicBezTo>
                  <a:pt x="307" y="1651"/>
                  <a:pt x="307" y="1652"/>
                  <a:pt x="308" y="1653"/>
                </a:cubicBezTo>
                <a:cubicBezTo>
                  <a:pt x="310" y="1654"/>
                  <a:pt x="311" y="1656"/>
                  <a:pt x="311" y="1657"/>
                </a:cubicBezTo>
                <a:cubicBezTo>
                  <a:pt x="312" y="1658"/>
                  <a:pt x="312" y="1659"/>
                  <a:pt x="311" y="1660"/>
                </a:cubicBezTo>
                <a:lnTo>
                  <a:pt x="294" y="1676"/>
                </a:lnTo>
                <a:lnTo>
                  <a:pt x="330" y="1713"/>
                </a:lnTo>
                <a:cubicBezTo>
                  <a:pt x="335" y="1717"/>
                  <a:pt x="339" y="1720"/>
                  <a:pt x="342" y="1721"/>
                </a:cubicBezTo>
                <a:cubicBezTo>
                  <a:pt x="346" y="1722"/>
                  <a:pt x="349" y="1720"/>
                  <a:pt x="353" y="1717"/>
                </a:cubicBezTo>
                <a:cubicBezTo>
                  <a:pt x="354" y="1716"/>
                  <a:pt x="355" y="1715"/>
                  <a:pt x="355" y="1714"/>
                </a:cubicBezTo>
                <a:cubicBezTo>
                  <a:pt x="356" y="1713"/>
                  <a:pt x="357" y="1712"/>
                  <a:pt x="357" y="1711"/>
                </a:cubicBezTo>
                <a:cubicBezTo>
                  <a:pt x="358" y="1710"/>
                  <a:pt x="358" y="1709"/>
                  <a:pt x="358" y="1708"/>
                </a:cubicBezTo>
                <a:cubicBezTo>
                  <a:pt x="358" y="1708"/>
                  <a:pt x="359" y="1707"/>
                  <a:pt x="359" y="1707"/>
                </a:cubicBezTo>
                <a:cubicBezTo>
                  <a:pt x="359" y="1706"/>
                  <a:pt x="360" y="1706"/>
                  <a:pt x="360" y="1706"/>
                </a:cubicBezTo>
                <a:cubicBezTo>
                  <a:pt x="360" y="1706"/>
                  <a:pt x="361" y="1706"/>
                  <a:pt x="361" y="1706"/>
                </a:cubicBezTo>
                <a:cubicBezTo>
                  <a:pt x="362" y="1707"/>
                  <a:pt x="362" y="1707"/>
                  <a:pt x="363" y="1707"/>
                </a:cubicBezTo>
                <a:cubicBezTo>
                  <a:pt x="364" y="1708"/>
                  <a:pt x="364" y="1709"/>
                  <a:pt x="365" y="1709"/>
                </a:cubicBezTo>
                <a:close/>
                <a:moveTo>
                  <a:pt x="359" y="1604"/>
                </a:moveTo>
                <a:cubicBezTo>
                  <a:pt x="360" y="1605"/>
                  <a:pt x="361" y="1606"/>
                  <a:pt x="361" y="1607"/>
                </a:cubicBezTo>
                <a:cubicBezTo>
                  <a:pt x="362" y="1608"/>
                  <a:pt x="363" y="1609"/>
                  <a:pt x="363" y="1609"/>
                </a:cubicBezTo>
                <a:cubicBezTo>
                  <a:pt x="363" y="1610"/>
                  <a:pt x="363" y="1610"/>
                  <a:pt x="363" y="1611"/>
                </a:cubicBezTo>
                <a:cubicBezTo>
                  <a:pt x="363" y="1611"/>
                  <a:pt x="363" y="1611"/>
                  <a:pt x="363" y="1612"/>
                </a:cubicBezTo>
                <a:cubicBezTo>
                  <a:pt x="362" y="1612"/>
                  <a:pt x="362" y="1612"/>
                  <a:pt x="361" y="1613"/>
                </a:cubicBezTo>
                <a:cubicBezTo>
                  <a:pt x="360" y="1613"/>
                  <a:pt x="359" y="1614"/>
                  <a:pt x="358" y="1614"/>
                </a:cubicBezTo>
                <a:cubicBezTo>
                  <a:pt x="358" y="1615"/>
                  <a:pt x="357" y="1615"/>
                  <a:pt x="356" y="1616"/>
                </a:cubicBezTo>
                <a:cubicBezTo>
                  <a:pt x="354" y="1616"/>
                  <a:pt x="353" y="1617"/>
                  <a:pt x="352" y="1618"/>
                </a:cubicBezTo>
                <a:cubicBezTo>
                  <a:pt x="351" y="1619"/>
                  <a:pt x="350" y="1621"/>
                  <a:pt x="350" y="1623"/>
                </a:cubicBezTo>
                <a:cubicBezTo>
                  <a:pt x="349" y="1624"/>
                  <a:pt x="349" y="1626"/>
                  <a:pt x="348" y="1629"/>
                </a:cubicBezTo>
                <a:cubicBezTo>
                  <a:pt x="348" y="1631"/>
                  <a:pt x="348" y="1634"/>
                  <a:pt x="349" y="1637"/>
                </a:cubicBezTo>
                <a:cubicBezTo>
                  <a:pt x="349" y="1640"/>
                  <a:pt x="350" y="1644"/>
                  <a:pt x="351" y="1648"/>
                </a:cubicBezTo>
                <a:lnTo>
                  <a:pt x="393" y="1691"/>
                </a:lnTo>
                <a:cubicBezTo>
                  <a:pt x="394" y="1691"/>
                  <a:pt x="394" y="1691"/>
                  <a:pt x="394" y="1692"/>
                </a:cubicBezTo>
                <a:cubicBezTo>
                  <a:pt x="394" y="1692"/>
                  <a:pt x="394" y="1693"/>
                  <a:pt x="394" y="1694"/>
                </a:cubicBezTo>
                <a:cubicBezTo>
                  <a:pt x="394" y="1694"/>
                  <a:pt x="393" y="1695"/>
                  <a:pt x="392" y="1696"/>
                </a:cubicBezTo>
                <a:cubicBezTo>
                  <a:pt x="392" y="1697"/>
                  <a:pt x="391" y="1698"/>
                  <a:pt x="390" y="1699"/>
                </a:cubicBezTo>
                <a:cubicBezTo>
                  <a:pt x="388" y="1700"/>
                  <a:pt x="387" y="1701"/>
                  <a:pt x="387" y="1702"/>
                </a:cubicBezTo>
                <a:cubicBezTo>
                  <a:pt x="386" y="1702"/>
                  <a:pt x="385" y="1703"/>
                  <a:pt x="384" y="1703"/>
                </a:cubicBezTo>
                <a:cubicBezTo>
                  <a:pt x="384" y="1703"/>
                  <a:pt x="383" y="1703"/>
                  <a:pt x="383" y="1703"/>
                </a:cubicBezTo>
                <a:cubicBezTo>
                  <a:pt x="382" y="1703"/>
                  <a:pt x="382" y="1703"/>
                  <a:pt x="382" y="1703"/>
                </a:cubicBezTo>
                <a:lnTo>
                  <a:pt x="317" y="1638"/>
                </a:lnTo>
                <a:cubicBezTo>
                  <a:pt x="317" y="1638"/>
                  <a:pt x="316" y="1637"/>
                  <a:pt x="316" y="1637"/>
                </a:cubicBezTo>
                <a:cubicBezTo>
                  <a:pt x="316" y="1636"/>
                  <a:pt x="316" y="1636"/>
                  <a:pt x="316" y="1635"/>
                </a:cubicBezTo>
                <a:cubicBezTo>
                  <a:pt x="316" y="1634"/>
                  <a:pt x="317" y="1634"/>
                  <a:pt x="317" y="1633"/>
                </a:cubicBezTo>
                <a:cubicBezTo>
                  <a:pt x="318" y="1632"/>
                  <a:pt x="319" y="1631"/>
                  <a:pt x="320" y="1630"/>
                </a:cubicBezTo>
                <a:cubicBezTo>
                  <a:pt x="321" y="1629"/>
                  <a:pt x="322" y="1628"/>
                  <a:pt x="323" y="1628"/>
                </a:cubicBezTo>
                <a:cubicBezTo>
                  <a:pt x="324" y="1627"/>
                  <a:pt x="324" y="1627"/>
                  <a:pt x="325" y="1627"/>
                </a:cubicBezTo>
                <a:cubicBezTo>
                  <a:pt x="325" y="1626"/>
                  <a:pt x="326" y="1626"/>
                  <a:pt x="326" y="1626"/>
                </a:cubicBezTo>
                <a:cubicBezTo>
                  <a:pt x="327" y="1627"/>
                  <a:pt x="327" y="1627"/>
                  <a:pt x="328" y="1627"/>
                </a:cubicBezTo>
                <a:lnTo>
                  <a:pt x="337" y="1637"/>
                </a:lnTo>
                <a:cubicBezTo>
                  <a:pt x="336" y="1632"/>
                  <a:pt x="336" y="1628"/>
                  <a:pt x="336" y="1625"/>
                </a:cubicBezTo>
                <a:cubicBezTo>
                  <a:pt x="336" y="1622"/>
                  <a:pt x="336" y="1619"/>
                  <a:pt x="336" y="1617"/>
                </a:cubicBezTo>
                <a:cubicBezTo>
                  <a:pt x="337" y="1615"/>
                  <a:pt x="337" y="1613"/>
                  <a:pt x="338" y="1611"/>
                </a:cubicBezTo>
                <a:cubicBezTo>
                  <a:pt x="339" y="1609"/>
                  <a:pt x="341" y="1608"/>
                  <a:pt x="342" y="1606"/>
                </a:cubicBezTo>
                <a:cubicBezTo>
                  <a:pt x="343" y="1606"/>
                  <a:pt x="343" y="1605"/>
                  <a:pt x="344" y="1604"/>
                </a:cubicBezTo>
                <a:cubicBezTo>
                  <a:pt x="345" y="1604"/>
                  <a:pt x="346" y="1603"/>
                  <a:pt x="347" y="1602"/>
                </a:cubicBezTo>
                <a:cubicBezTo>
                  <a:pt x="348" y="1602"/>
                  <a:pt x="349" y="1601"/>
                  <a:pt x="350" y="1601"/>
                </a:cubicBezTo>
                <a:cubicBezTo>
                  <a:pt x="351" y="1600"/>
                  <a:pt x="352" y="1600"/>
                  <a:pt x="352" y="1600"/>
                </a:cubicBezTo>
                <a:cubicBezTo>
                  <a:pt x="353" y="1600"/>
                  <a:pt x="353" y="1600"/>
                  <a:pt x="354" y="1600"/>
                </a:cubicBezTo>
                <a:cubicBezTo>
                  <a:pt x="354" y="1600"/>
                  <a:pt x="354" y="1600"/>
                  <a:pt x="355" y="1600"/>
                </a:cubicBezTo>
                <a:cubicBezTo>
                  <a:pt x="355" y="1601"/>
                  <a:pt x="356" y="1601"/>
                  <a:pt x="356" y="1602"/>
                </a:cubicBezTo>
                <a:cubicBezTo>
                  <a:pt x="357" y="1602"/>
                  <a:pt x="358" y="1603"/>
                  <a:pt x="359" y="1604"/>
                </a:cubicBezTo>
                <a:close/>
                <a:moveTo>
                  <a:pt x="450" y="1634"/>
                </a:moveTo>
                <a:cubicBezTo>
                  <a:pt x="450" y="1634"/>
                  <a:pt x="451" y="1635"/>
                  <a:pt x="451" y="1635"/>
                </a:cubicBezTo>
                <a:cubicBezTo>
                  <a:pt x="451" y="1636"/>
                  <a:pt x="451" y="1636"/>
                  <a:pt x="450" y="1637"/>
                </a:cubicBezTo>
                <a:cubicBezTo>
                  <a:pt x="450" y="1638"/>
                  <a:pt x="450" y="1638"/>
                  <a:pt x="449" y="1639"/>
                </a:cubicBezTo>
                <a:cubicBezTo>
                  <a:pt x="448" y="1640"/>
                  <a:pt x="447" y="1641"/>
                  <a:pt x="446" y="1642"/>
                </a:cubicBezTo>
                <a:cubicBezTo>
                  <a:pt x="445" y="1643"/>
                  <a:pt x="444" y="1644"/>
                  <a:pt x="443" y="1645"/>
                </a:cubicBezTo>
                <a:cubicBezTo>
                  <a:pt x="442" y="1646"/>
                  <a:pt x="442" y="1646"/>
                  <a:pt x="441" y="1646"/>
                </a:cubicBezTo>
                <a:cubicBezTo>
                  <a:pt x="440" y="1647"/>
                  <a:pt x="440" y="1647"/>
                  <a:pt x="439" y="1647"/>
                </a:cubicBezTo>
                <a:cubicBezTo>
                  <a:pt x="439" y="1647"/>
                  <a:pt x="438" y="1646"/>
                  <a:pt x="438" y="1646"/>
                </a:cubicBezTo>
                <a:lnTo>
                  <a:pt x="373" y="1581"/>
                </a:lnTo>
                <a:cubicBezTo>
                  <a:pt x="373" y="1581"/>
                  <a:pt x="373" y="1581"/>
                  <a:pt x="373" y="1580"/>
                </a:cubicBezTo>
                <a:cubicBezTo>
                  <a:pt x="373" y="1580"/>
                  <a:pt x="373" y="1579"/>
                  <a:pt x="373" y="1578"/>
                </a:cubicBezTo>
                <a:cubicBezTo>
                  <a:pt x="373" y="1578"/>
                  <a:pt x="374" y="1577"/>
                  <a:pt x="374" y="1576"/>
                </a:cubicBezTo>
                <a:cubicBezTo>
                  <a:pt x="375" y="1575"/>
                  <a:pt x="376" y="1574"/>
                  <a:pt x="377" y="1573"/>
                </a:cubicBezTo>
                <a:cubicBezTo>
                  <a:pt x="378" y="1572"/>
                  <a:pt x="379" y="1571"/>
                  <a:pt x="380" y="1570"/>
                </a:cubicBezTo>
                <a:cubicBezTo>
                  <a:pt x="381" y="1570"/>
                  <a:pt x="382" y="1569"/>
                  <a:pt x="382" y="1569"/>
                </a:cubicBezTo>
                <a:cubicBezTo>
                  <a:pt x="383" y="1569"/>
                  <a:pt x="384" y="1569"/>
                  <a:pt x="384" y="1569"/>
                </a:cubicBezTo>
                <a:cubicBezTo>
                  <a:pt x="385" y="1569"/>
                  <a:pt x="385" y="1569"/>
                  <a:pt x="385" y="1569"/>
                </a:cubicBezTo>
                <a:lnTo>
                  <a:pt x="450" y="1634"/>
                </a:lnTo>
                <a:close/>
                <a:moveTo>
                  <a:pt x="365" y="1546"/>
                </a:moveTo>
                <a:cubicBezTo>
                  <a:pt x="368" y="1549"/>
                  <a:pt x="369" y="1551"/>
                  <a:pt x="369" y="1554"/>
                </a:cubicBezTo>
                <a:cubicBezTo>
                  <a:pt x="369" y="1556"/>
                  <a:pt x="367" y="1558"/>
                  <a:pt x="365" y="1561"/>
                </a:cubicBezTo>
                <a:cubicBezTo>
                  <a:pt x="362" y="1564"/>
                  <a:pt x="359" y="1565"/>
                  <a:pt x="357" y="1565"/>
                </a:cubicBezTo>
                <a:cubicBezTo>
                  <a:pt x="355" y="1565"/>
                  <a:pt x="353" y="1564"/>
                  <a:pt x="350" y="1561"/>
                </a:cubicBezTo>
                <a:cubicBezTo>
                  <a:pt x="348" y="1558"/>
                  <a:pt x="346" y="1556"/>
                  <a:pt x="346" y="1554"/>
                </a:cubicBezTo>
                <a:cubicBezTo>
                  <a:pt x="346" y="1552"/>
                  <a:pt x="348" y="1549"/>
                  <a:pt x="351" y="1546"/>
                </a:cubicBezTo>
                <a:cubicBezTo>
                  <a:pt x="353" y="1544"/>
                  <a:pt x="356" y="1542"/>
                  <a:pt x="358" y="1542"/>
                </a:cubicBezTo>
                <a:cubicBezTo>
                  <a:pt x="360" y="1542"/>
                  <a:pt x="362" y="1544"/>
                  <a:pt x="365" y="1546"/>
                </a:cubicBezTo>
                <a:close/>
                <a:moveTo>
                  <a:pt x="509" y="1556"/>
                </a:moveTo>
                <a:cubicBezTo>
                  <a:pt x="509" y="1557"/>
                  <a:pt x="510" y="1557"/>
                  <a:pt x="511" y="1558"/>
                </a:cubicBezTo>
                <a:cubicBezTo>
                  <a:pt x="511" y="1559"/>
                  <a:pt x="512" y="1559"/>
                  <a:pt x="512" y="1560"/>
                </a:cubicBezTo>
                <a:cubicBezTo>
                  <a:pt x="512" y="1560"/>
                  <a:pt x="512" y="1561"/>
                  <a:pt x="513" y="1561"/>
                </a:cubicBezTo>
                <a:cubicBezTo>
                  <a:pt x="513" y="1562"/>
                  <a:pt x="513" y="1562"/>
                  <a:pt x="513" y="1564"/>
                </a:cubicBezTo>
                <a:cubicBezTo>
                  <a:pt x="513" y="1565"/>
                  <a:pt x="513" y="1567"/>
                  <a:pt x="512" y="1569"/>
                </a:cubicBezTo>
                <a:cubicBezTo>
                  <a:pt x="511" y="1571"/>
                  <a:pt x="511" y="1574"/>
                  <a:pt x="510" y="1576"/>
                </a:cubicBezTo>
                <a:cubicBezTo>
                  <a:pt x="508" y="1579"/>
                  <a:pt x="507" y="1581"/>
                  <a:pt x="505" y="1584"/>
                </a:cubicBezTo>
                <a:cubicBezTo>
                  <a:pt x="504" y="1586"/>
                  <a:pt x="502" y="1589"/>
                  <a:pt x="499" y="1591"/>
                </a:cubicBezTo>
                <a:cubicBezTo>
                  <a:pt x="495" y="1596"/>
                  <a:pt x="490" y="1599"/>
                  <a:pt x="485" y="1601"/>
                </a:cubicBezTo>
                <a:cubicBezTo>
                  <a:pt x="480" y="1603"/>
                  <a:pt x="474" y="1604"/>
                  <a:pt x="469" y="1603"/>
                </a:cubicBezTo>
                <a:cubicBezTo>
                  <a:pt x="464" y="1603"/>
                  <a:pt x="458" y="1601"/>
                  <a:pt x="453" y="1598"/>
                </a:cubicBezTo>
                <a:cubicBezTo>
                  <a:pt x="447" y="1595"/>
                  <a:pt x="442" y="1591"/>
                  <a:pt x="436" y="1585"/>
                </a:cubicBezTo>
                <a:cubicBezTo>
                  <a:pt x="430" y="1579"/>
                  <a:pt x="425" y="1572"/>
                  <a:pt x="422" y="1566"/>
                </a:cubicBezTo>
                <a:cubicBezTo>
                  <a:pt x="419" y="1560"/>
                  <a:pt x="417" y="1554"/>
                  <a:pt x="417" y="1549"/>
                </a:cubicBezTo>
                <a:cubicBezTo>
                  <a:pt x="417" y="1543"/>
                  <a:pt x="418" y="1538"/>
                  <a:pt x="420" y="1533"/>
                </a:cubicBezTo>
                <a:cubicBezTo>
                  <a:pt x="422" y="1528"/>
                  <a:pt x="426" y="1523"/>
                  <a:pt x="430" y="1519"/>
                </a:cubicBezTo>
                <a:cubicBezTo>
                  <a:pt x="432" y="1517"/>
                  <a:pt x="434" y="1515"/>
                  <a:pt x="436" y="1513"/>
                </a:cubicBezTo>
                <a:cubicBezTo>
                  <a:pt x="439" y="1512"/>
                  <a:pt x="441" y="1510"/>
                  <a:pt x="443" y="1509"/>
                </a:cubicBezTo>
                <a:cubicBezTo>
                  <a:pt x="446" y="1508"/>
                  <a:pt x="448" y="1508"/>
                  <a:pt x="450" y="1507"/>
                </a:cubicBezTo>
                <a:cubicBezTo>
                  <a:pt x="452" y="1507"/>
                  <a:pt x="453" y="1506"/>
                  <a:pt x="455" y="1506"/>
                </a:cubicBezTo>
                <a:cubicBezTo>
                  <a:pt x="456" y="1506"/>
                  <a:pt x="457" y="1507"/>
                  <a:pt x="457" y="1507"/>
                </a:cubicBezTo>
                <a:cubicBezTo>
                  <a:pt x="458" y="1507"/>
                  <a:pt x="458" y="1507"/>
                  <a:pt x="459" y="1507"/>
                </a:cubicBezTo>
                <a:cubicBezTo>
                  <a:pt x="460" y="1508"/>
                  <a:pt x="460" y="1508"/>
                  <a:pt x="461" y="1509"/>
                </a:cubicBezTo>
                <a:cubicBezTo>
                  <a:pt x="461" y="1509"/>
                  <a:pt x="462" y="1510"/>
                  <a:pt x="463" y="1511"/>
                </a:cubicBezTo>
                <a:cubicBezTo>
                  <a:pt x="465" y="1512"/>
                  <a:pt x="466" y="1514"/>
                  <a:pt x="466" y="1515"/>
                </a:cubicBezTo>
                <a:cubicBezTo>
                  <a:pt x="467" y="1516"/>
                  <a:pt x="466" y="1517"/>
                  <a:pt x="466" y="1518"/>
                </a:cubicBezTo>
                <a:cubicBezTo>
                  <a:pt x="465" y="1519"/>
                  <a:pt x="464" y="1519"/>
                  <a:pt x="462" y="1519"/>
                </a:cubicBezTo>
                <a:cubicBezTo>
                  <a:pt x="460" y="1519"/>
                  <a:pt x="458" y="1520"/>
                  <a:pt x="456" y="1520"/>
                </a:cubicBezTo>
                <a:cubicBezTo>
                  <a:pt x="454" y="1521"/>
                  <a:pt x="451" y="1521"/>
                  <a:pt x="448" y="1523"/>
                </a:cubicBezTo>
                <a:cubicBezTo>
                  <a:pt x="445" y="1524"/>
                  <a:pt x="442" y="1526"/>
                  <a:pt x="440" y="1529"/>
                </a:cubicBezTo>
                <a:cubicBezTo>
                  <a:pt x="434" y="1534"/>
                  <a:pt x="432" y="1541"/>
                  <a:pt x="433" y="1548"/>
                </a:cubicBezTo>
                <a:cubicBezTo>
                  <a:pt x="435" y="1556"/>
                  <a:pt x="439" y="1564"/>
                  <a:pt x="448" y="1572"/>
                </a:cubicBezTo>
                <a:cubicBezTo>
                  <a:pt x="452" y="1576"/>
                  <a:pt x="456" y="1579"/>
                  <a:pt x="460" y="1582"/>
                </a:cubicBezTo>
                <a:cubicBezTo>
                  <a:pt x="464" y="1584"/>
                  <a:pt x="468" y="1586"/>
                  <a:pt x="471" y="1586"/>
                </a:cubicBezTo>
                <a:cubicBezTo>
                  <a:pt x="475" y="1587"/>
                  <a:pt x="478" y="1586"/>
                  <a:pt x="482" y="1585"/>
                </a:cubicBezTo>
                <a:cubicBezTo>
                  <a:pt x="485" y="1584"/>
                  <a:pt x="488" y="1582"/>
                  <a:pt x="491" y="1579"/>
                </a:cubicBezTo>
                <a:cubicBezTo>
                  <a:pt x="493" y="1576"/>
                  <a:pt x="495" y="1574"/>
                  <a:pt x="497" y="1571"/>
                </a:cubicBezTo>
                <a:cubicBezTo>
                  <a:pt x="498" y="1568"/>
                  <a:pt x="499" y="1565"/>
                  <a:pt x="499" y="1562"/>
                </a:cubicBezTo>
                <a:cubicBezTo>
                  <a:pt x="500" y="1560"/>
                  <a:pt x="500" y="1558"/>
                  <a:pt x="500" y="1556"/>
                </a:cubicBezTo>
                <a:cubicBezTo>
                  <a:pt x="500" y="1554"/>
                  <a:pt x="501" y="1553"/>
                  <a:pt x="501" y="1552"/>
                </a:cubicBezTo>
                <a:cubicBezTo>
                  <a:pt x="502" y="1552"/>
                  <a:pt x="502" y="1552"/>
                  <a:pt x="502" y="1552"/>
                </a:cubicBezTo>
                <a:cubicBezTo>
                  <a:pt x="503" y="1552"/>
                  <a:pt x="503" y="1552"/>
                  <a:pt x="504" y="1552"/>
                </a:cubicBezTo>
                <a:cubicBezTo>
                  <a:pt x="505" y="1552"/>
                  <a:pt x="505" y="1553"/>
                  <a:pt x="506" y="1553"/>
                </a:cubicBezTo>
                <a:cubicBezTo>
                  <a:pt x="507" y="1554"/>
                  <a:pt x="508" y="1555"/>
                  <a:pt x="509" y="1556"/>
                </a:cubicBezTo>
                <a:close/>
                <a:moveTo>
                  <a:pt x="590" y="1446"/>
                </a:moveTo>
                <a:cubicBezTo>
                  <a:pt x="594" y="1450"/>
                  <a:pt x="597" y="1455"/>
                  <a:pt x="599" y="1460"/>
                </a:cubicBezTo>
                <a:cubicBezTo>
                  <a:pt x="601" y="1465"/>
                  <a:pt x="601" y="1470"/>
                  <a:pt x="601" y="1475"/>
                </a:cubicBezTo>
                <a:cubicBezTo>
                  <a:pt x="600" y="1481"/>
                  <a:pt x="599" y="1486"/>
                  <a:pt x="596" y="1491"/>
                </a:cubicBezTo>
                <a:cubicBezTo>
                  <a:pt x="593" y="1496"/>
                  <a:pt x="590" y="1501"/>
                  <a:pt x="585" y="1505"/>
                </a:cubicBezTo>
                <a:cubicBezTo>
                  <a:pt x="582" y="1508"/>
                  <a:pt x="579" y="1511"/>
                  <a:pt x="576" y="1513"/>
                </a:cubicBezTo>
                <a:cubicBezTo>
                  <a:pt x="573" y="1515"/>
                  <a:pt x="570" y="1517"/>
                  <a:pt x="567" y="1518"/>
                </a:cubicBezTo>
                <a:cubicBezTo>
                  <a:pt x="564" y="1519"/>
                  <a:pt x="561" y="1520"/>
                  <a:pt x="559" y="1521"/>
                </a:cubicBezTo>
                <a:cubicBezTo>
                  <a:pt x="557" y="1521"/>
                  <a:pt x="555" y="1522"/>
                  <a:pt x="554" y="1522"/>
                </a:cubicBezTo>
                <a:cubicBezTo>
                  <a:pt x="553" y="1522"/>
                  <a:pt x="552" y="1521"/>
                  <a:pt x="551" y="1521"/>
                </a:cubicBezTo>
                <a:cubicBezTo>
                  <a:pt x="550" y="1520"/>
                  <a:pt x="548" y="1519"/>
                  <a:pt x="547" y="1518"/>
                </a:cubicBezTo>
                <a:cubicBezTo>
                  <a:pt x="546" y="1517"/>
                  <a:pt x="545" y="1516"/>
                  <a:pt x="544" y="1515"/>
                </a:cubicBezTo>
                <a:cubicBezTo>
                  <a:pt x="544" y="1514"/>
                  <a:pt x="543" y="1513"/>
                  <a:pt x="543" y="1513"/>
                </a:cubicBezTo>
                <a:cubicBezTo>
                  <a:pt x="543" y="1512"/>
                  <a:pt x="543" y="1512"/>
                  <a:pt x="543" y="1511"/>
                </a:cubicBezTo>
                <a:cubicBezTo>
                  <a:pt x="543" y="1511"/>
                  <a:pt x="543" y="1510"/>
                  <a:pt x="544" y="1510"/>
                </a:cubicBezTo>
                <a:cubicBezTo>
                  <a:pt x="544" y="1509"/>
                  <a:pt x="546" y="1509"/>
                  <a:pt x="548" y="1508"/>
                </a:cubicBezTo>
                <a:cubicBezTo>
                  <a:pt x="550" y="1508"/>
                  <a:pt x="552" y="1507"/>
                  <a:pt x="555" y="1506"/>
                </a:cubicBezTo>
                <a:cubicBezTo>
                  <a:pt x="558" y="1505"/>
                  <a:pt x="561" y="1504"/>
                  <a:pt x="565" y="1502"/>
                </a:cubicBezTo>
                <a:cubicBezTo>
                  <a:pt x="568" y="1500"/>
                  <a:pt x="572" y="1497"/>
                  <a:pt x="575" y="1494"/>
                </a:cubicBezTo>
                <a:cubicBezTo>
                  <a:pt x="578" y="1491"/>
                  <a:pt x="580" y="1488"/>
                  <a:pt x="582" y="1485"/>
                </a:cubicBezTo>
                <a:cubicBezTo>
                  <a:pt x="583" y="1482"/>
                  <a:pt x="584" y="1480"/>
                  <a:pt x="584" y="1477"/>
                </a:cubicBezTo>
                <a:cubicBezTo>
                  <a:pt x="585" y="1474"/>
                  <a:pt x="584" y="1471"/>
                  <a:pt x="583" y="1468"/>
                </a:cubicBezTo>
                <a:cubicBezTo>
                  <a:pt x="582" y="1465"/>
                  <a:pt x="580" y="1463"/>
                  <a:pt x="578" y="1460"/>
                </a:cubicBezTo>
                <a:cubicBezTo>
                  <a:pt x="575" y="1458"/>
                  <a:pt x="572" y="1456"/>
                  <a:pt x="569" y="1455"/>
                </a:cubicBezTo>
                <a:cubicBezTo>
                  <a:pt x="566" y="1455"/>
                  <a:pt x="563" y="1455"/>
                  <a:pt x="560" y="1455"/>
                </a:cubicBezTo>
                <a:cubicBezTo>
                  <a:pt x="556" y="1456"/>
                  <a:pt x="553" y="1457"/>
                  <a:pt x="549" y="1458"/>
                </a:cubicBezTo>
                <a:cubicBezTo>
                  <a:pt x="545" y="1459"/>
                  <a:pt x="542" y="1461"/>
                  <a:pt x="538" y="1462"/>
                </a:cubicBezTo>
                <a:cubicBezTo>
                  <a:pt x="534" y="1463"/>
                  <a:pt x="530" y="1465"/>
                  <a:pt x="526" y="1466"/>
                </a:cubicBezTo>
                <a:cubicBezTo>
                  <a:pt x="522" y="1467"/>
                  <a:pt x="518" y="1467"/>
                  <a:pt x="514" y="1467"/>
                </a:cubicBezTo>
                <a:cubicBezTo>
                  <a:pt x="510" y="1467"/>
                  <a:pt x="506" y="1466"/>
                  <a:pt x="502" y="1465"/>
                </a:cubicBezTo>
                <a:cubicBezTo>
                  <a:pt x="498" y="1463"/>
                  <a:pt x="495" y="1461"/>
                  <a:pt x="491" y="1457"/>
                </a:cubicBezTo>
                <a:cubicBezTo>
                  <a:pt x="487" y="1453"/>
                  <a:pt x="484" y="1449"/>
                  <a:pt x="483" y="1444"/>
                </a:cubicBezTo>
                <a:cubicBezTo>
                  <a:pt x="481" y="1440"/>
                  <a:pt x="480" y="1435"/>
                  <a:pt x="481" y="1431"/>
                </a:cubicBezTo>
                <a:cubicBezTo>
                  <a:pt x="481" y="1426"/>
                  <a:pt x="483" y="1422"/>
                  <a:pt x="485" y="1417"/>
                </a:cubicBezTo>
                <a:cubicBezTo>
                  <a:pt x="487" y="1413"/>
                  <a:pt x="491" y="1408"/>
                  <a:pt x="495" y="1404"/>
                </a:cubicBezTo>
                <a:cubicBezTo>
                  <a:pt x="497" y="1402"/>
                  <a:pt x="499" y="1400"/>
                  <a:pt x="501" y="1399"/>
                </a:cubicBezTo>
                <a:cubicBezTo>
                  <a:pt x="504" y="1397"/>
                  <a:pt x="506" y="1395"/>
                  <a:pt x="509" y="1394"/>
                </a:cubicBezTo>
                <a:cubicBezTo>
                  <a:pt x="511" y="1393"/>
                  <a:pt x="513" y="1392"/>
                  <a:pt x="516" y="1391"/>
                </a:cubicBezTo>
                <a:cubicBezTo>
                  <a:pt x="518" y="1391"/>
                  <a:pt x="519" y="1390"/>
                  <a:pt x="520" y="1390"/>
                </a:cubicBezTo>
                <a:cubicBezTo>
                  <a:pt x="521" y="1390"/>
                  <a:pt x="522" y="1390"/>
                  <a:pt x="522" y="1390"/>
                </a:cubicBezTo>
                <a:cubicBezTo>
                  <a:pt x="523" y="1391"/>
                  <a:pt x="523" y="1391"/>
                  <a:pt x="524" y="1391"/>
                </a:cubicBezTo>
                <a:cubicBezTo>
                  <a:pt x="524" y="1391"/>
                  <a:pt x="525" y="1392"/>
                  <a:pt x="525" y="1392"/>
                </a:cubicBezTo>
                <a:cubicBezTo>
                  <a:pt x="526" y="1393"/>
                  <a:pt x="527" y="1394"/>
                  <a:pt x="528" y="1395"/>
                </a:cubicBezTo>
                <a:cubicBezTo>
                  <a:pt x="528" y="1395"/>
                  <a:pt x="529" y="1396"/>
                  <a:pt x="530" y="1397"/>
                </a:cubicBezTo>
                <a:cubicBezTo>
                  <a:pt x="530" y="1398"/>
                  <a:pt x="531" y="1398"/>
                  <a:pt x="531" y="1399"/>
                </a:cubicBezTo>
                <a:cubicBezTo>
                  <a:pt x="532" y="1400"/>
                  <a:pt x="532" y="1400"/>
                  <a:pt x="532" y="1401"/>
                </a:cubicBezTo>
                <a:cubicBezTo>
                  <a:pt x="532" y="1401"/>
                  <a:pt x="531" y="1401"/>
                  <a:pt x="531" y="1402"/>
                </a:cubicBezTo>
                <a:cubicBezTo>
                  <a:pt x="530" y="1402"/>
                  <a:pt x="529" y="1403"/>
                  <a:pt x="528" y="1403"/>
                </a:cubicBezTo>
                <a:cubicBezTo>
                  <a:pt x="526" y="1404"/>
                  <a:pt x="524" y="1404"/>
                  <a:pt x="521" y="1405"/>
                </a:cubicBezTo>
                <a:cubicBezTo>
                  <a:pt x="519" y="1406"/>
                  <a:pt x="516" y="1407"/>
                  <a:pt x="513" y="1409"/>
                </a:cubicBezTo>
                <a:cubicBezTo>
                  <a:pt x="510" y="1410"/>
                  <a:pt x="507" y="1412"/>
                  <a:pt x="505" y="1415"/>
                </a:cubicBezTo>
                <a:cubicBezTo>
                  <a:pt x="502" y="1418"/>
                  <a:pt x="500" y="1420"/>
                  <a:pt x="499" y="1423"/>
                </a:cubicBezTo>
                <a:cubicBezTo>
                  <a:pt x="498" y="1425"/>
                  <a:pt x="497" y="1428"/>
                  <a:pt x="497" y="1430"/>
                </a:cubicBezTo>
                <a:cubicBezTo>
                  <a:pt x="497" y="1433"/>
                  <a:pt x="497" y="1435"/>
                  <a:pt x="498" y="1437"/>
                </a:cubicBezTo>
                <a:cubicBezTo>
                  <a:pt x="499" y="1439"/>
                  <a:pt x="500" y="1441"/>
                  <a:pt x="502" y="1443"/>
                </a:cubicBezTo>
                <a:cubicBezTo>
                  <a:pt x="505" y="1446"/>
                  <a:pt x="508" y="1447"/>
                  <a:pt x="511" y="1448"/>
                </a:cubicBezTo>
                <a:cubicBezTo>
                  <a:pt x="514" y="1449"/>
                  <a:pt x="517" y="1449"/>
                  <a:pt x="520" y="1448"/>
                </a:cubicBezTo>
                <a:cubicBezTo>
                  <a:pt x="524" y="1448"/>
                  <a:pt x="527" y="1447"/>
                  <a:pt x="531" y="1445"/>
                </a:cubicBezTo>
                <a:cubicBezTo>
                  <a:pt x="535" y="1444"/>
                  <a:pt x="539" y="1443"/>
                  <a:pt x="543" y="1441"/>
                </a:cubicBezTo>
                <a:cubicBezTo>
                  <a:pt x="546" y="1440"/>
                  <a:pt x="550" y="1439"/>
                  <a:pt x="554" y="1438"/>
                </a:cubicBezTo>
                <a:cubicBezTo>
                  <a:pt x="558" y="1437"/>
                  <a:pt x="562" y="1436"/>
                  <a:pt x="566" y="1436"/>
                </a:cubicBezTo>
                <a:cubicBezTo>
                  <a:pt x="570" y="1436"/>
                  <a:pt x="574" y="1437"/>
                  <a:pt x="578" y="1438"/>
                </a:cubicBezTo>
                <a:cubicBezTo>
                  <a:pt x="582" y="1440"/>
                  <a:pt x="586" y="1442"/>
                  <a:pt x="590" y="1446"/>
                </a:cubicBezTo>
                <a:close/>
                <a:moveTo>
                  <a:pt x="686" y="1398"/>
                </a:moveTo>
                <a:cubicBezTo>
                  <a:pt x="686" y="1399"/>
                  <a:pt x="686" y="1399"/>
                  <a:pt x="687" y="1399"/>
                </a:cubicBezTo>
                <a:cubicBezTo>
                  <a:pt x="687" y="1400"/>
                  <a:pt x="687" y="1400"/>
                  <a:pt x="686" y="1401"/>
                </a:cubicBezTo>
                <a:cubicBezTo>
                  <a:pt x="686" y="1402"/>
                  <a:pt x="686" y="1402"/>
                  <a:pt x="685" y="1403"/>
                </a:cubicBezTo>
                <a:cubicBezTo>
                  <a:pt x="684" y="1404"/>
                  <a:pt x="684" y="1405"/>
                  <a:pt x="683" y="1406"/>
                </a:cubicBezTo>
                <a:cubicBezTo>
                  <a:pt x="682" y="1407"/>
                  <a:pt x="681" y="1408"/>
                  <a:pt x="680" y="1408"/>
                </a:cubicBezTo>
                <a:cubicBezTo>
                  <a:pt x="679" y="1409"/>
                  <a:pt x="678" y="1409"/>
                  <a:pt x="678" y="1410"/>
                </a:cubicBezTo>
                <a:cubicBezTo>
                  <a:pt x="677" y="1410"/>
                  <a:pt x="677" y="1410"/>
                  <a:pt x="676" y="1410"/>
                </a:cubicBezTo>
                <a:cubicBezTo>
                  <a:pt x="676" y="1410"/>
                  <a:pt x="675" y="1409"/>
                  <a:pt x="675" y="1409"/>
                </a:cubicBezTo>
                <a:lnTo>
                  <a:pt x="666" y="1400"/>
                </a:lnTo>
                <a:cubicBezTo>
                  <a:pt x="667" y="1408"/>
                  <a:pt x="666" y="1415"/>
                  <a:pt x="664" y="1420"/>
                </a:cubicBezTo>
                <a:cubicBezTo>
                  <a:pt x="663" y="1426"/>
                  <a:pt x="660" y="1430"/>
                  <a:pt x="656" y="1434"/>
                </a:cubicBezTo>
                <a:cubicBezTo>
                  <a:pt x="652" y="1438"/>
                  <a:pt x="648" y="1441"/>
                  <a:pt x="643" y="1443"/>
                </a:cubicBezTo>
                <a:cubicBezTo>
                  <a:pt x="639" y="1444"/>
                  <a:pt x="635" y="1445"/>
                  <a:pt x="630" y="1444"/>
                </a:cubicBezTo>
                <a:cubicBezTo>
                  <a:pt x="626" y="1443"/>
                  <a:pt x="622" y="1442"/>
                  <a:pt x="618" y="1439"/>
                </a:cubicBezTo>
                <a:cubicBezTo>
                  <a:pt x="614" y="1437"/>
                  <a:pt x="609" y="1433"/>
                  <a:pt x="605" y="1429"/>
                </a:cubicBezTo>
                <a:lnTo>
                  <a:pt x="565" y="1389"/>
                </a:lnTo>
                <a:cubicBezTo>
                  <a:pt x="565" y="1389"/>
                  <a:pt x="565" y="1389"/>
                  <a:pt x="565" y="1388"/>
                </a:cubicBezTo>
                <a:cubicBezTo>
                  <a:pt x="565" y="1388"/>
                  <a:pt x="565" y="1387"/>
                  <a:pt x="565" y="1386"/>
                </a:cubicBezTo>
                <a:cubicBezTo>
                  <a:pt x="565" y="1386"/>
                  <a:pt x="566" y="1385"/>
                  <a:pt x="566" y="1384"/>
                </a:cubicBezTo>
                <a:cubicBezTo>
                  <a:pt x="567" y="1383"/>
                  <a:pt x="568" y="1382"/>
                  <a:pt x="569" y="1381"/>
                </a:cubicBezTo>
                <a:cubicBezTo>
                  <a:pt x="570" y="1380"/>
                  <a:pt x="571" y="1379"/>
                  <a:pt x="572" y="1378"/>
                </a:cubicBezTo>
                <a:cubicBezTo>
                  <a:pt x="573" y="1378"/>
                  <a:pt x="574" y="1377"/>
                  <a:pt x="574" y="1377"/>
                </a:cubicBezTo>
                <a:cubicBezTo>
                  <a:pt x="575" y="1377"/>
                  <a:pt x="576" y="1377"/>
                  <a:pt x="576" y="1377"/>
                </a:cubicBezTo>
                <a:cubicBezTo>
                  <a:pt x="577" y="1377"/>
                  <a:pt x="577" y="1377"/>
                  <a:pt x="577" y="1377"/>
                </a:cubicBezTo>
                <a:lnTo>
                  <a:pt x="615" y="1415"/>
                </a:lnTo>
                <a:cubicBezTo>
                  <a:pt x="619" y="1419"/>
                  <a:pt x="622" y="1422"/>
                  <a:pt x="625" y="1423"/>
                </a:cubicBezTo>
                <a:cubicBezTo>
                  <a:pt x="628" y="1425"/>
                  <a:pt x="630" y="1426"/>
                  <a:pt x="633" y="1427"/>
                </a:cubicBezTo>
                <a:cubicBezTo>
                  <a:pt x="636" y="1427"/>
                  <a:pt x="639" y="1427"/>
                  <a:pt x="641" y="1426"/>
                </a:cubicBezTo>
                <a:cubicBezTo>
                  <a:pt x="644" y="1425"/>
                  <a:pt x="646" y="1424"/>
                  <a:pt x="649" y="1421"/>
                </a:cubicBezTo>
                <a:cubicBezTo>
                  <a:pt x="652" y="1418"/>
                  <a:pt x="653" y="1414"/>
                  <a:pt x="654" y="1409"/>
                </a:cubicBezTo>
                <a:cubicBezTo>
                  <a:pt x="655" y="1404"/>
                  <a:pt x="655" y="1398"/>
                  <a:pt x="654" y="1391"/>
                </a:cubicBezTo>
                <a:lnTo>
                  <a:pt x="609" y="1346"/>
                </a:lnTo>
                <a:cubicBezTo>
                  <a:pt x="609" y="1345"/>
                  <a:pt x="609" y="1345"/>
                  <a:pt x="609" y="1344"/>
                </a:cubicBezTo>
                <a:cubicBezTo>
                  <a:pt x="608" y="1344"/>
                  <a:pt x="609" y="1343"/>
                  <a:pt x="609" y="1343"/>
                </a:cubicBezTo>
                <a:cubicBezTo>
                  <a:pt x="609" y="1342"/>
                  <a:pt x="609" y="1341"/>
                  <a:pt x="610" y="1340"/>
                </a:cubicBezTo>
                <a:cubicBezTo>
                  <a:pt x="611" y="1340"/>
                  <a:pt x="612" y="1339"/>
                  <a:pt x="613" y="1337"/>
                </a:cubicBezTo>
                <a:cubicBezTo>
                  <a:pt x="614" y="1336"/>
                  <a:pt x="615" y="1335"/>
                  <a:pt x="616" y="1335"/>
                </a:cubicBezTo>
                <a:cubicBezTo>
                  <a:pt x="617" y="1334"/>
                  <a:pt x="618" y="1333"/>
                  <a:pt x="618" y="1333"/>
                </a:cubicBezTo>
                <a:cubicBezTo>
                  <a:pt x="619" y="1333"/>
                  <a:pt x="619" y="1333"/>
                  <a:pt x="620" y="1333"/>
                </a:cubicBezTo>
                <a:cubicBezTo>
                  <a:pt x="620" y="1333"/>
                  <a:pt x="621" y="1333"/>
                  <a:pt x="621" y="1334"/>
                </a:cubicBezTo>
                <a:lnTo>
                  <a:pt x="686" y="1398"/>
                </a:lnTo>
                <a:close/>
                <a:moveTo>
                  <a:pt x="736" y="1282"/>
                </a:moveTo>
                <a:cubicBezTo>
                  <a:pt x="741" y="1287"/>
                  <a:pt x="746" y="1293"/>
                  <a:pt x="749" y="1299"/>
                </a:cubicBezTo>
                <a:cubicBezTo>
                  <a:pt x="752" y="1304"/>
                  <a:pt x="754" y="1310"/>
                  <a:pt x="755" y="1316"/>
                </a:cubicBezTo>
                <a:cubicBezTo>
                  <a:pt x="756" y="1321"/>
                  <a:pt x="755" y="1326"/>
                  <a:pt x="754" y="1332"/>
                </a:cubicBezTo>
                <a:cubicBezTo>
                  <a:pt x="752" y="1337"/>
                  <a:pt x="749" y="1342"/>
                  <a:pt x="744" y="1346"/>
                </a:cubicBezTo>
                <a:cubicBezTo>
                  <a:pt x="742" y="1348"/>
                  <a:pt x="740" y="1350"/>
                  <a:pt x="738" y="1351"/>
                </a:cubicBezTo>
                <a:cubicBezTo>
                  <a:pt x="736" y="1352"/>
                  <a:pt x="734" y="1353"/>
                  <a:pt x="732" y="1354"/>
                </a:cubicBezTo>
                <a:cubicBezTo>
                  <a:pt x="729" y="1355"/>
                  <a:pt x="727" y="1355"/>
                  <a:pt x="724" y="1355"/>
                </a:cubicBezTo>
                <a:cubicBezTo>
                  <a:pt x="721" y="1356"/>
                  <a:pt x="718" y="1356"/>
                  <a:pt x="715" y="1356"/>
                </a:cubicBezTo>
                <a:lnTo>
                  <a:pt x="747" y="1388"/>
                </a:lnTo>
                <a:cubicBezTo>
                  <a:pt x="747" y="1389"/>
                  <a:pt x="748" y="1389"/>
                  <a:pt x="748" y="1390"/>
                </a:cubicBezTo>
                <a:cubicBezTo>
                  <a:pt x="748" y="1390"/>
                  <a:pt x="748" y="1391"/>
                  <a:pt x="748" y="1391"/>
                </a:cubicBezTo>
                <a:cubicBezTo>
                  <a:pt x="747" y="1392"/>
                  <a:pt x="747" y="1393"/>
                  <a:pt x="746" y="1393"/>
                </a:cubicBezTo>
                <a:cubicBezTo>
                  <a:pt x="746" y="1394"/>
                  <a:pt x="745" y="1395"/>
                  <a:pt x="743" y="1396"/>
                </a:cubicBezTo>
                <a:cubicBezTo>
                  <a:pt x="742" y="1398"/>
                  <a:pt x="741" y="1399"/>
                  <a:pt x="740" y="1399"/>
                </a:cubicBezTo>
                <a:cubicBezTo>
                  <a:pt x="740" y="1400"/>
                  <a:pt x="739" y="1400"/>
                  <a:pt x="738" y="1401"/>
                </a:cubicBezTo>
                <a:cubicBezTo>
                  <a:pt x="738" y="1401"/>
                  <a:pt x="737" y="1401"/>
                  <a:pt x="737" y="1401"/>
                </a:cubicBezTo>
                <a:cubicBezTo>
                  <a:pt x="736" y="1401"/>
                  <a:pt x="736" y="1400"/>
                  <a:pt x="735" y="1400"/>
                </a:cubicBezTo>
                <a:lnTo>
                  <a:pt x="645" y="1310"/>
                </a:lnTo>
                <a:cubicBezTo>
                  <a:pt x="645" y="1309"/>
                  <a:pt x="644" y="1309"/>
                  <a:pt x="644" y="1309"/>
                </a:cubicBezTo>
                <a:cubicBezTo>
                  <a:pt x="644" y="1308"/>
                  <a:pt x="644" y="1308"/>
                  <a:pt x="644" y="1307"/>
                </a:cubicBezTo>
                <a:cubicBezTo>
                  <a:pt x="645" y="1306"/>
                  <a:pt x="645" y="1306"/>
                  <a:pt x="646" y="1305"/>
                </a:cubicBezTo>
                <a:cubicBezTo>
                  <a:pt x="646" y="1304"/>
                  <a:pt x="647" y="1303"/>
                  <a:pt x="648" y="1302"/>
                </a:cubicBezTo>
                <a:cubicBezTo>
                  <a:pt x="649" y="1301"/>
                  <a:pt x="650" y="1301"/>
                  <a:pt x="651" y="1300"/>
                </a:cubicBezTo>
                <a:cubicBezTo>
                  <a:pt x="651" y="1299"/>
                  <a:pt x="652" y="1299"/>
                  <a:pt x="653" y="1299"/>
                </a:cubicBezTo>
                <a:cubicBezTo>
                  <a:pt x="653" y="1299"/>
                  <a:pt x="654" y="1298"/>
                  <a:pt x="654" y="1299"/>
                </a:cubicBezTo>
                <a:cubicBezTo>
                  <a:pt x="655" y="1299"/>
                  <a:pt x="655" y="1299"/>
                  <a:pt x="655" y="1299"/>
                </a:cubicBezTo>
                <a:lnTo>
                  <a:pt x="664" y="1308"/>
                </a:lnTo>
                <a:cubicBezTo>
                  <a:pt x="664" y="1304"/>
                  <a:pt x="664" y="1300"/>
                  <a:pt x="665" y="1297"/>
                </a:cubicBezTo>
                <a:cubicBezTo>
                  <a:pt x="665" y="1294"/>
                  <a:pt x="665" y="1291"/>
                  <a:pt x="666" y="1288"/>
                </a:cubicBezTo>
                <a:cubicBezTo>
                  <a:pt x="667" y="1285"/>
                  <a:pt x="668" y="1283"/>
                  <a:pt x="670" y="1280"/>
                </a:cubicBezTo>
                <a:cubicBezTo>
                  <a:pt x="671" y="1278"/>
                  <a:pt x="673" y="1275"/>
                  <a:pt x="675" y="1273"/>
                </a:cubicBezTo>
                <a:cubicBezTo>
                  <a:pt x="680" y="1268"/>
                  <a:pt x="685" y="1265"/>
                  <a:pt x="690" y="1264"/>
                </a:cubicBezTo>
                <a:cubicBezTo>
                  <a:pt x="695" y="1262"/>
                  <a:pt x="700" y="1262"/>
                  <a:pt x="705" y="1263"/>
                </a:cubicBezTo>
                <a:cubicBezTo>
                  <a:pt x="711" y="1264"/>
                  <a:pt x="716" y="1267"/>
                  <a:pt x="721" y="1270"/>
                </a:cubicBezTo>
                <a:cubicBezTo>
                  <a:pt x="726" y="1273"/>
                  <a:pt x="731" y="1277"/>
                  <a:pt x="736" y="1282"/>
                </a:cubicBezTo>
                <a:close/>
                <a:moveTo>
                  <a:pt x="725" y="1295"/>
                </a:moveTo>
                <a:cubicBezTo>
                  <a:pt x="722" y="1292"/>
                  <a:pt x="718" y="1289"/>
                  <a:pt x="714" y="1286"/>
                </a:cubicBezTo>
                <a:cubicBezTo>
                  <a:pt x="711" y="1284"/>
                  <a:pt x="707" y="1282"/>
                  <a:pt x="704" y="1281"/>
                </a:cubicBezTo>
                <a:cubicBezTo>
                  <a:pt x="700" y="1280"/>
                  <a:pt x="696" y="1279"/>
                  <a:pt x="693" y="1280"/>
                </a:cubicBezTo>
                <a:cubicBezTo>
                  <a:pt x="689" y="1281"/>
                  <a:pt x="686" y="1283"/>
                  <a:pt x="683" y="1286"/>
                </a:cubicBezTo>
                <a:cubicBezTo>
                  <a:pt x="682" y="1287"/>
                  <a:pt x="680" y="1289"/>
                  <a:pt x="679" y="1291"/>
                </a:cubicBezTo>
                <a:cubicBezTo>
                  <a:pt x="678" y="1293"/>
                  <a:pt x="677" y="1295"/>
                  <a:pt x="677" y="1298"/>
                </a:cubicBezTo>
                <a:cubicBezTo>
                  <a:pt x="676" y="1300"/>
                  <a:pt x="676" y="1303"/>
                  <a:pt x="676" y="1306"/>
                </a:cubicBezTo>
                <a:cubicBezTo>
                  <a:pt x="676" y="1310"/>
                  <a:pt x="676" y="1313"/>
                  <a:pt x="676" y="1318"/>
                </a:cubicBezTo>
                <a:lnTo>
                  <a:pt x="702" y="1343"/>
                </a:lnTo>
                <a:cubicBezTo>
                  <a:pt x="709" y="1344"/>
                  <a:pt x="716" y="1344"/>
                  <a:pt x="721" y="1343"/>
                </a:cubicBezTo>
                <a:cubicBezTo>
                  <a:pt x="726" y="1342"/>
                  <a:pt x="730" y="1340"/>
                  <a:pt x="733" y="1337"/>
                </a:cubicBezTo>
                <a:cubicBezTo>
                  <a:pt x="736" y="1334"/>
                  <a:pt x="738" y="1331"/>
                  <a:pt x="739" y="1327"/>
                </a:cubicBezTo>
                <a:cubicBezTo>
                  <a:pt x="739" y="1324"/>
                  <a:pt x="739" y="1320"/>
                  <a:pt x="738" y="1316"/>
                </a:cubicBezTo>
                <a:cubicBezTo>
                  <a:pt x="737" y="1312"/>
                  <a:pt x="735" y="1309"/>
                  <a:pt x="733" y="1305"/>
                </a:cubicBezTo>
                <a:cubicBezTo>
                  <a:pt x="731" y="1302"/>
                  <a:pt x="728" y="1298"/>
                  <a:pt x="725" y="1295"/>
                </a:cubicBezTo>
                <a:close/>
                <a:moveTo>
                  <a:pt x="815" y="1202"/>
                </a:moveTo>
                <a:cubicBezTo>
                  <a:pt x="821" y="1208"/>
                  <a:pt x="825" y="1214"/>
                  <a:pt x="828" y="1220"/>
                </a:cubicBezTo>
                <a:cubicBezTo>
                  <a:pt x="832" y="1225"/>
                  <a:pt x="834" y="1231"/>
                  <a:pt x="834" y="1236"/>
                </a:cubicBezTo>
                <a:cubicBezTo>
                  <a:pt x="835" y="1242"/>
                  <a:pt x="835" y="1247"/>
                  <a:pt x="833" y="1252"/>
                </a:cubicBezTo>
                <a:cubicBezTo>
                  <a:pt x="831" y="1258"/>
                  <a:pt x="828" y="1262"/>
                  <a:pt x="823" y="1267"/>
                </a:cubicBezTo>
                <a:cubicBezTo>
                  <a:pt x="822" y="1269"/>
                  <a:pt x="820" y="1270"/>
                  <a:pt x="818" y="1272"/>
                </a:cubicBezTo>
                <a:cubicBezTo>
                  <a:pt x="816" y="1273"/>
                  <a:pt x="813" y="1274"/>
                  <a:pt x="811" y="1275"/>
                </a:cubicBezTo>
                <a:cubicBezTo>
                  <a:pt x="809" y="1275"/>
                  <a:pt x="806" y="1276"/>
                  <a:pt x="803" y="1276"/>
                </a:cubicBezTo>
                <a:cubicBezTo>
                  <a:pt x="800" y="1276"/>
                  <a:pt x="797" y="1277"/>
                  <a:pt x="794" y="1277"/>
                </a:cubicBezTo>
                <a:lnTo>
                  <a:pt x="826" y="1309"/>
                </a:lnTo>
                <a:cubicBezTo>
                  <a:pt x="827" y="1309"/>
                  <a:pt x="827" y="1310"/>
                  <a:pt x="827" y="1310"/>
                </a:cubicBezTo>
                <a:cubicBezTo>
                  <a:pt x="827" y="1311"/>
                  <a:pt x="827" y="1311"/>
                  <a:pt x="827" y="1312"/>
                </a:cubicBezTo>
                <a:cubicBezTo>
                  <a:pt x="827" y="1313"/>
                  <a:pt x="826" y="1313"/>
                  <a:pt x="825" y="1314"/>
                </a:cubicBezTo>
                <a:cubicBezTo>
                  <a:pt x="825" y="1315"/>
                  <a:pt x="824" y="1316"/>
                  <a:pt x="823" y="1317"/>
                </a:cubicBezTo>
                <a:cubicBezTo>
                  <a:pt x="821" y="1318"/>
                  <a:pt x="820" y="1319"/>
                  <a:pt x="820" y="1320"/>
                </a:cubicBezTo>
                <a:cubicBezTo>
                  <a:pt x="819" y="1321"/>
                  <a:pt x="818" y="1321"/>
                  <a:pt x="817" y="1321"/>
                </a:cubicBezTo>
                <a:cubicBezTo>
                  <a:pt x="817" y="1322"/>
                  <a:pt x="816" y="1322"/>
                  <a:pt x="816" y="1322"/>
                </a:cubicBezTo>
                <a:cubicBezTo>
                  <a:pt x="815" y="1322"/>
                  <a:pt x="815" y="1321"/>
                  <a:pt x="814" y="1321"/>
                </a:cubicBezTo>
                <a:lnTo>
                  <a:pt x="724" y="1231"/>
                </a:lnTo>
                <a:cubicBezTo>
                  <a:pt x="724" y="1230"/>
                  <a:pt x="723" y="1230"/>
                  <a:pt x="723" y="1229"/>
                </a:cubicBezTo>
                <a:cubicBezTo>
                  <a:pt x="723" y="1229"/>
                  <a:pt x="723" y="1228"/>
                  <a:pt x="724" y="1228"/>
                </a:cubicBezTo>
                <a:cubicBezTo>
                  <a:pt x="724" y="1227"/>
                  <a:pt x="724" y="1226"/>
                  <a:pt x="725" y="1226"/>
                </a:cubicBezTo>
                <a:cubicBezTo>
                  <a:pt x="725" y="1225"/>
                  <a:pt x="726" y="1224"/>
                  <a:pt x="727" y="1223"/>
                </a:cubicBezTo>
                <a:cubicBezTo>
                  <a:pt x="728" y="1222"/>
                  <a:pt x="729" y="1221"/>
                  <a:pt x="730" y="1221"/>
                </a:cubicBezTo>
                <a:cubicBezTo>
                  <a:pt x="730" y="1220"/>
                  <a:pt x="731" y="1220"/>
                  <a:pt x="732" y="1220"/>
                </a:cubicBezTo>
                <a:cubicBezTo>
                  <a:pt x="732" y="1219"/>
                  <a:pt x="733" y="1219"/>
                  <a:pt x="733" y="1219"/>
                </a:cubicBezTo>
                <a:cubicBezTo>
                  <a:pt x="734" y="1219"/>
                  <a:pt x="734" y="1220"/>
                  <a:pt x="735" y="1220"/>
                </a:cubicBezTo>
                <a:lnTo>
                  <a:pt x="743" y="1229"/>
                </a:lnTo>
                <a:cubicBezTo>
                  <a:pt x="743" y="1225"/>
                  <a:pt x="743" y="1221"/>
                  <a:pt x="744" y="1218"/>
                </a:cubicBezTo>
                <a:cubicBezTo>
                  <a:pt x="744" y="1215"/>
                  <a:pt x="745" y="1212"/>
                  <a:pt x="746" y="1209"/>
                </a:cubicBezTo>
                <a:cubicBezTo>
                  <a:pt x="746" y="1206"/>
                  <a:pt x="748" y="1203"/>
                  <a:pt x="749" y="1201"/>
                </a:cubicBezTo>
                <a:cubicBezTo>
                  <a:pt x="750" y="1198"/>
                  <a:pt x="752" y="1196"/>
                  <a:pt x="754" y="1194"/>
                </a:cubicBezTo>
                <a:cubicBezTo>
                  <a:pt x="759" y="1189"/>
                  <a:pt x="764" y="1186"/>
                  <a:pt x="769" y="1185"/>
                </a:cubicBezTo>
                <a:cubicBezTo>
                  <a:pt x="774" y="1183"/>
                  <a:pt x="779" y="1183"/>
                  <a:pt x="785" y="1184"/>
                </a:cubicBezTo>
                <a:cubicBezTo>
                  <a:pt x="790" y="1185"/>
                  <a:pt x="795" y="1187"/>
                  <a:pt x="800" y="1191"/>
                </a:cubicBezTo>
                <a:cubicBezTo>
                  <a:pt x="805" y="1194"/>
                  <a:pt x="810" y="1198"/>
                  <a:pt x="815" y="1202"/>
                </a:cubicBezTo>
                <a:close/>
                <a:moveTo>
                  <a:pt x="804" y="1216"/>
                </a:moveTo>
                <a:cubicBezTo>
                  <a:pt x="801" y="1213"/>
                  <a:pt x="797" y="1210"/>
                  <a:pt x="794" y="1207"/>
                </a:cubicBezTo>
                <a:cubicBezTo>
                  <a:pt x="790" y="1205"/>
                  <a:pt x="786" y="1203"/>
                  <a:pt x="783" y="1202"/>
                </a:cubicBezTo>
                <a:cubicBezTo>
                  <a:pt x="779" y="1200"/>
                  <a:pt x="776" y="1200"/>
                  <a:pt x="772" y="1201"/>
                </a:cubicBezTo>
                <a:cubicBezTo>
                  <a:pt x="769" y="1201"/>
                  <a:pt x="765" y="1203"/>
                  <a:pt x="762" y="1206"/>
                </a:cubicBezTo>
                <a:cubicBezTo>
                  <a:pt x="761" y="1208"/>
                  <a:pt x="759" y="1210"/>
                  <a:pt x="758" y="1212"/>
                </a:cubicBezTo>
                <a:cubicBezTo>
                  <a:pt x="757" y="1214"/>
                  <a:pt x="757" y="1216"/>
                  <a:pt x="756" y="1218"/>
                </a:cubicBezTo>
                <a:cubicBezTo>
                  <a:pt x="755" y="1221"/>
                  <a:pt x="755" y="1224"/>
                  <a:pt x="755" y="1227"/>
                </a:cubicBezTo>
                <a:cubicBezTo>
                  <a:pt x="755" y="1230"/>
                  <a:pt x="755" y="1234"/>
                  <a:pt x="756" y="1238"/>
                </a:cubicBezTo>
                <a:lnTo>
                  <a:pt x="781" y="1264"/>
                </a:lnTo>
                <a:cubicBezTo>
                  <a:pt x="789" y="1265"/>
                  <a:pt x="795" y="1265"/>
                  <a:pt x="800" y="1264"/>
                </a:cubicBezTo>
                <a:cubicBezTo>
                  <a:pt x="805" y="1263"/>
                  <a:pt x="809" y="1261"/>
                  <a:pt x="812" y="1258"/>
                </a:cubicBezTo>
                <a:cubicBezTo>
                  <a:pt x="815" y="1255"/>
                  <a:pt x="817" y="1252"/>
                  <a:pt x="818" y="1248"/>
                </a:cubicBezTo>
                <a:cubicBezTo>
                  <a:pt x="818" y="1244"/>
                  <a:pt x="818" y="1241"/>
                  <a:pt x="817" y="1237"/>
                </a:cubicBezTo>
                <a:cubicBezTo>
                  <a:pt x="816" y="1233"/>
                  <a:pt x="814" y="1230"/>
                  <a:pt x="812" y="1226"/>
                </a:cubicBezTo>
                <a:cubicBezTo>
                  <a:pt x="810" y="1222"/>
                  <a:pt x="807" y="1219"/>
                  <a:pt x="804" y="1216"/>
                </a:cubicBezTo>
                <a:close/>
                <a:moveTo>
                  <a:pt x="880" y="1204"/>
                </a:moveTo>
                <a:cubicBezTo>
                  <a:pt x="880" y="1205"/>
                  <a:pt x="880" y="1205"/>
                  <a:pt x="881" y="1205"/>
                </a:cubicBezTo>
                <a:cubicBezTo>
                  <a:pt x="881" y="1206"/>
                  <a:pt x="881" y="1206"/>
                  <a:pt x="880" y="1207"/>
                </a:cubicBezTo>
                <a:cubicBezTo>
                  <a:pt x="880" y="1208"/>
                  <a:pt x="880" y="1208"/>
                  <a:pt x="879" y="1209"/>
                </a:cubicBezTo>
                <a:cubicBezTo>
                  <a:pt x="878" y="1210"/>
                  <a:pt x="877" y="1211"/>
                  <a:pt x="876" y="1212"/>
                </a:cubicBezTo>
                <a:cubicBezTo>
                  <a:pt x="875" y="1214"/>
                  <a:pt x="874" y="1214"/>
                  <a:pt x="873" y="1215"/>
                </a:cubicBezTo>
                <a:cubicBezTo>
                  <a:pt x="872" y="1216"/>
                  <a:pt x="871" y="1216"/>
                  <a:pt x="871" y="1217"/>
                </a:cubicBezTo>
                <a:cubicBezTo>
                  <a:pt x="870" y="1217"/>
                  <a:pt x="870" y="1217"/>
                  <a:pt x="869" y="1217"/>
                </a:cubicBezTo>
                <a:cubicBezTo>
                  <a:pt x="869" y="1217"/>
                  <a:pt x="868" y="1216"/>
                  <a:pt x="868" y="1216"/>
                </a:cubicBezTo>
                <a:lnTo>
                  <a:pt x="772" y="1120"/>
                </a:lnTo>
                <a:cubicBezTo>
                  <a:pt x="772" y="1120"/>
                  <a:pt x="771" y="1119"/>
                  <a:pt x="771" y="1119"/>
                </a:cubicBezTo>
                <a:cubicBezTo>
                  <a:pt x="771" y="1118"/>
                  <a:pt x="771" y="1118"/>
                  <a:pt x="772" y="1117"/>
                </a:cubicBezTo>
                <a:cubicBezTo>
                  <a:pt x="772" y="1117"/>
                  <a:pt x="772" y="1116"/>
                  <a:pt x="773" y="1115"/>
                </a:cubicBezTo>
                <a:cubicBezTo>
                  <a:pt x="774" y="1114"/>
                  <a:pt x="775" y="1113"/>
                  <a:pt x="776" y="1112"/>
                </a:cubicBezTo>
                <a:cubicBezTo>
                  <a:pt x="777" y="1111"/>
                  <a:pt x="778" y="1110"/>
                  <a:pt x="779" y="1109"/>
                </a:cubicBezTo>
                <a:cubicBezTo>
                  <a:pt x="780" y="1108"/>
                  <a:pt x="780" y="1108"/>
                  <a:pt x="781" y="1108"/>
                </a:cubicBezTo>
                <a:cubicBezTo>
                  <a:pt x="782" y="1107"/>
                  <a:pt x="782" y="1107"/>
                  <a:pt x="783" y="1108"/>
                </a:cubicBezTo>
                <a:cubicBezTo>
                  <a:pt x="783" y="1108"/>
                  <a:pt x="784" y="1108"/>
                  <a:pt x="784" y="1108"/>
                </a:cubicBezTo>
                <a:lnTo>
                  <a:pt x="880" y="1204"/>
                </a:lnTo>
                <a:close/>
                <a:moveTo>
                  <a:pt x="933" y="1154"/>
                </a:moveTo>
                <a:lnTo>
                  <a:pt x="948" y="1187"/>
                </a:lnTo>
                <a:cubicBezTo>
                  <a:pt x="949" y="1188"/>
                  <a:pt x="949" y="1189"/>
                  <a:pt x="948" y="1191"/>
                </a:cubicBezTo>
                <a:cubicBezTo>
                  <a:pt x="947" y="1192"/>
                  <a:pt x="946" y="1194"/>
                  <a:pt x="943" y="1197"/>
                </a:cubicBezTo>
                <a:cubicBezTo>
                  <a:pt x="942" y="1198"/>
                  <a:pt x="941" y="1199"/>
                  <a:pt x="940" y="1200"/>
                </a:cubicBezTo>
                <a:cubicBezTo>
                  <a:pt x="939" y="1200"/>
                  <a:pt x="938" y="1201"/>
                  <a:pt x="938" y="1201"/>
                </a:cubicBezTo>
                <a:cubicBezTo>
                  <a:pt x="937" y="1201"/>
                  <a:pt x="936" y="1201"/>
                  <a:pt x="936" y="1200"/>
                </a:cubicBezTo>
                <a:cubicBezTo>
                  <a:pt x="935" y="1200"/>
                  <a:pt x="935" y="1199"/>
                  <a:pt x="934" y="1198"/>
                </a:cubicBezTo>
                <a:lnTo>
                  <a:pt x="921" y="1167"/>
                </a:lnTo>
                <a:cubicBezTo>
                  <a:pt x="920" y="1167"/>
                  <a:pt x="919" y="1167"/>
                  <a:pt x="919" y="1167"/>
                </a:cubicBezTo>
                <a:cubicBezTo>
                  <a:pt x="918" y="1167"/>
                  <a:pt x="917" y="1167"/>
                  <a:pt x="917" y="1167"/>
                </a:cubicBezTo>
                <a:lnTo>
                  <a:pt x="832" y="1128"/>
                </a:lnTo>
                <a:cubicBezTo>
                  <a:pt x="830" y="1127"/>
                  <a:pt x="829" y="1127"/>
                  <a:pt x="829" y="1126"/>
                </a:cubicBezTo>
                <a:cubicBezTo>
                  <a:pt x="828" y="1125"/>
                  <a:pt x="828" y="1125"/>
                  <a:pt x="828" y="1124"/>
                </a:cubicBezTo>
                <a:cubicBezTo>
                  <a:pt x="828" y="1123"/>
                  <a:pt x="828" y="1122"/>
                  <a:pt x="829" y="1122"/>
                </a:cubicBezTo>
                <a:cubicBezTo>
                  <a:pt x="830" y="1121"/>
                  <a:pt x="831" y="1119"/>
                  <a:pt x="832" y="1118"/>
                </a:cubicBezTo>
                <a:cubicBezTo>
                  <a:pt x="834" y="1116"/>
                  <a:pt x="835" y="1115"/>
                  <a:pt x="836" y="1115"/>
                </a:cubicBezTo>
                <a:cubicBezTo>
                  <a:pt x="837" y="1114"/>
                  <a:pt x="838" y="1113"/>
                  <a:pt x="838" y="1113"/>
                </a:cubicBezTo>
                <a:cubicBezTo>
                  <a:pt x="839" y="1113"/>
                  <a:pt x="840" y="1113"/>
                  <a:pt x="840" y="1113"/>
                </a:cubicBezTo>
                <a:cubicBezTo>
                  <a:pt x="841" y="1113"/>
                  <a:pt x="841" y="1113"/>
                  <a:pt x="842" y="1114"/>
                </a:cubicBezTo>
                <a:lnTo>
                  <a:pt x="913" y="1147"/>
                </a:lnTo>
                <a:lnTo>
                  <a:pt x="913" y="1147"/>
                </a:lnTo>
                <a:lnTo>
                  <a:pt x="878" y="1077"/>
                </a:lnTo>
                <a:cubicBezTo>
                  <a:pt x="878" y="1076"/>
                  <a:pt x="878" y="1075"/>
                  <a:pt x="878" y="1074"/>
                </a:cubicBezTo>
                <a:cubicBezTo>
                  <a:pt x="878" y="1073"/>
                  <a:pt x="878" y="1073"/>
                  <a:pt x="879" y="1072"/>
                </a:cubicBezTo>
                <a:cubicBezTo>
                  <a:pt x="880" y="1071"/>
                  <a:pt x="881" y="1070"/>
                  <a:pt x="882" y="1068"/>
                </a:cubicBezTo>
                <a:cubicBezTo>
                  <a:pt x="884" y="1067"/>
                  <a:pt x="885" y="1066"/>
                  <a:pt x="886" y="1065"/>
                </a:cubicBezTo>
                <a:cubicBezTo>
                  <a:pt x="887" y="1064"/>
                  <a:pt x="888" y="1064"/>
                  <a:pt x="888" y="1064"/>
                </a:cubicBezTo>
                <a:cubicBezTo>
                  <a:pt x="889" y="1064"/>
                  <a:pt x="890" y="1064"/>
                  <a:pt x="890" y="1064"/>
                </a:cubicBezTo>
                <a:cubicBezTo>
                  <a:pt x="891" y="1065"/>
                  <a:pt x="892" y="1066"/>
                  <a:pt x="892" y="1067"/>
                </a:cubicBezTo>
                <a:lnTo>
                  <a:pt x="933" y="1154"/>
                </a:lnTo>
                <a:close/>
                <a:moveTo>
                  <a:pt x="1067" y="1017"/>
                </a:moveTo>
                <a:cubicBezTo>
                  <a:pt x="1067" y="1017"/>
                  <a:pt x="1068" y="1018"/>
                  <a:pt x="1068" y="1018"/>
                </a:cubicBezTo>
                <a:cubicBezTo>
                  <a:pt x="1068" y="1019"/>
                  <a:pt x="1068" y="1019"/>
                  <a:pt x="1068" y="1020"/>
                </a:cubicBezTo>
                <a:cubicBezTo>
                  <a:pt x="1067" y="1020"/>
                  <a:pt x="1067" y="1021"/>
                  <a:pt x="1066" y="1022"/>
                </a:cubicBezTo>
                <a:cubicBezTo>
                  <a:pt x="1065" y="1023"/>
                  <a:pt x="1064" y="1024"/>
                  <a:pt x="1063" y="1026"/>
                </a:cubicBezTo>
                <a:cubicBezTo>
                  <a:pt x="1061" y="1027"/>
                  <a:pt x="1060" y="1028"/>
                  <a:pt x="1060" y="1029"/>
                </a:cubicBezTo>
                <a:cubicBezTo>
                  <a:pt x="1059" y="1029"/>
                  <a:pt x="1058" y="1030"/>
                  <a:pt x="1057" y="1030"/>
                </a:cubicBezTo>
                <a:cubicBezTo>
                  <a:pt x="1056" y="1030"/>
                  <a:pt x="1056" y="1030"/>
                  <a:pt x="1055" y="1030"/>
                </a:cubicBezTo>
                <a:cubicBezTo>
                  <a:pt x="1055" y="1030"/>
                  <a:pt x="1054" y="1030"/>
                  <a:pt x="1053" y="1030"/>
                </a:cubicBezTo>
                <a:lnTo>
                  <a:pt x="1023" y="1016"/>
                </a:lnTo>
                <a:cubicBezTo>
                  <a:pt x="1019" y="1015"/>
                  <a:pt x="1016" y="1013"/>
                  <a:pt x="1013" y="1012"/>
                </a:cubicBezTo>
                <a:cubicBezTo>
                  <a:pt x="1009" y="1011"/>
                  <a:pt x="1006" y="1011"/>
                  <a:pt x="1003" y="1011"/>
                </a:cubicBezTo>
                <a:cubicBezTo>
                  <a:pt x="1000" y="1011"/>
                  <a:pt x="997" y="1011"/>
                  <a:pt x="995" y="1013"/>
                </a:cubicBezTo>
                <a:cubicBezTo>
                  <a:pt x="992" y="1014"/>
                  <a:pt x="989" y="1016"/>
                  <a:pt x="986" y="1019"/>
                </a:cubicBezTo>
                <a:lnTo>
                  <a:pt x="978" y="1027"/>
                </a:lnTo>
                <a:lnTo>
                  <a:pt x="1017" y="1066"/>
                </a:lnTo>
                <a:cubicBezTo>
                  <a:pt x="1018" y="1067"/>
                  <a:pt x="1018" y="1067"/>
                  <a:pt x="1018" y="1068"/>
                </a:cubicBezTo>
                <a:cubicBezTo>
                  <a:pt x="1018" y="1068"/>
                  <a:pt x="1018" y="1069"/>
                  <a:pt x="1018" y="1069"/>
                </a:cubicBezTo>
                <a:cubicBezTo>
                  <a:pt x="1017" y="1070"/>
                  <a:pt x="1017" y="1071"/>
                  <a:pt x="1016" y="1072"/>
                </a:cubicBezTo>
                <a:cubicBezTo>
                  <a:pt x="1016" y="1073"/>
                  <a:pt x="1015" y="1074"/>
                  <a:pt x="1014" y="1075"/>
                </a:cubicBezTo>
                <a:cubicBezTo>
                  <a:pt x="1012" y="1076"/>
                  <a:pt x="1011" y="1077"/>
                  <a:pt x="1010" y="1078"/>
                </a:cubicBezTo>
                <a:cubicBezTo>
                  <a:pt x="1009" y="1078"/>
                  <a:pt x="1009" y="1079"/>
                  <a:pt x="1008" y="1079"/>
                </a:cubicBezTo>
                <a:cubicBezTo>
                  <a:pt x="1007" y="1080"/>
                  <a:pt x="1007" y="1080"/>
                  <a:pt x="1006" y="1080"/>
                </a:cubicBezTo>
                <a:cubicBezTo>
                  <a:pt x="1006" y="1079"/>
                  <a:pt x="1005" y="1079"/>
                  <a:pt x="1005" y="1079"/>
                </a:cubicBezTo>
                <a:lnTo>
                  <a:pt x="919" y="993"/>
                </a:lnTo>
                <a:cubicBezTo>
                  <a:pt x="917" y="991"/>
                  <a:pt x="916" y="989"/>
                  <a:pt x="917" y="987"/>
                </a:cubicBezTo>
                <a:cubicBezTo>
                  <a:pt x="917" y="986"/>
                  <a:pt x="917" y="984"/>
                  <a:pt x="919" y="983"/>
                </a:cubicBezTo>
                <a:lnTo>
                  <a:pt x="938" y="963"/>
                </a:lnTo>
                <a:cubicBezTo>
                  <a:pt x="941" y="961"/>
                  <a:pt x="943" y="959"/>
                  <a:pt x="944" y="958"/>
                </a:cubicBezTo>
                <a:cubicBezTo>
                  <a:pt x="946" y="956"/>
                  <a:pt x="948" y="955"/>
                  <a:pt x="949" y="954"/>
                </a:cubicBezTo>
                <a:cubicBezTo>
                  <a:pt x="953" y="951"/>
                  <a:pt x="957" y="949"/>
                  <a:pt x="961" y="947"/>
                </a:cubicBezTo>
                <a:cubicBezTo>
                  <a:pt x="966" y="946"/>
                  <a:pt x="970" y="945"/>
                  <a:pt x="973" y="946"/>
                </a:cubicBezTo>
                <a:cubicBezTo>
                  <a:pt x="977" y="946"/>
                  <a:pt x="981" y="947"/>
                  <a:pt x="985" y="948"/>
                </a:cubicBezTo>
                <a:cubicBezTo>
                  <a:pt x="988" y="950"/>
                  <a:pt x="992" y="953"/>
                  <a:pt x="995" y="956"/>
                </a:cubicBezTo>
                <a:cubicBezTo>
                  <a:pt x="998" y="959"/>
                  <a:pt x="1000" y="962"/>
                  <a:pt x="1002" y="965"/>
                </a:cubicBezTo>
                <a:cubicBezTo>
                  <a:pt x="1004" y="969"/>
                  <a:pt x="1005" y="972"/>
                  <a:pt x="1005" y="976"/>
                </a:cubicBezTo>
                <a:cubicBezTo>
                  <a:pt x="1005" y="979"/>
                  <a:pt x="1005" y="983"/>
                  <a:pt x="1004" y="986"/>
                </a:cubicBezTo>
                <a:cubicBezTo>
                  <a:pt x="1003" y="990"/>
                  <a:pt x="1002" y="993"/>
                  <a:pt x="1000" y="997"/>
                </a:cubicBezTo>
                <a:cubicBezTo>
                  <a:pt x="1003" y="996"/>
                  <a:pt x="1005" y="996"/>
                  <a:pt x="1007" y="995"/>
                </a:cubicBezTo>
                <a:cubicBezTo>
                  <a:pt x="1009" y="995"/>
                  <a:pt x="1012" y="995"/>
                  <a:pt x="1014" y="996"/>
                </a:cubicBezTo>
                <a:cubicBezTo>
                  <a:pt x="1017" y="996"/>
                  <a:pt x="1019" y="997"/>
                  <a:pt x="1022" y="998"/>
                </a:cubicBezTo>
                <a:cubicBezTo>
                  <a:pt x="1025" y="999"/>
                  <a:pt x="1028" y="1000"/>
                  <a:pt x="1031" y="1001"/>
                </a:cubicBezTo>
                <a:lnTo>
                  <a:pt x="1060" y="1013"/>
                </a:lnTo>
                <a:cubicBezTo>
                  <a:pt x="1063" y="1014"/>
                  <a:pt x="1064" y="1015"/>
                  <a:pt x="1065" y="1016"/>
                </a:cubicBezTo>
                <a:cubicBezTo>
                  <a:pt x="1066" y="1016"/>
                  <a:pt x="1067" y="1016"/>
                  <a:pt x="1067" y="1017"/>
                </a:cubicBezTo>
                <a:close/>
                <a:moveTo>
                  <a:pt x="983" y="970"/>
                </a:moveTo>
                <a:cubicBezTo>
                  <a:pt x="980" y="967"/>
                  <a:pt x="976" y="964"/>
                  <a:pt x="971" y="963"/>
                </a:cubicBezTo>
                <a:cubicBezTo>
                  <a:pt x="967" y="963"/>
                  <a:pt x="963" y="963"/>
                  <a:pt x="958" y="966"/>
                </a:cubicBezTo>
                <a:cubicBezTo>
                  <a:pt x="956" y="967"/>
                  <a:pt x="955" y="968"/>
                  <a:pt x="953" y="969"/>
                </a:cubicBezTo>
                <a:cubicBezTo>
                  <a:pt x="951" y="971"/>
                  <a:pt x="949" y="973"/>
                  <a:pt x="947" y="975"/>
                </a:cubicBezTo>
                <a:lnTo>
                  <a:pt x="937" y="986"/>
                </a:lnTo>
                <a:lnTo>
                  <a:pt x="968" y="1017"/>
                </a:lnTo>
                <a:lnTo>
                  <a:pt x="980" y="1005"/>
                </a:lnTo>
                <a:cubicBezTo>
                  <a:pt x="983" y="1002"/>
                  <a:pt x="986" y="998"/>
                  <a:pt x="987" y="995"/>
                </a:cubicBezTo>
                <a:cubicBezTo>
                  <a:pt x="989" y="992"/>
                  <a:pt x="990" y="989"/>
                  <a:pt x="990" y="986"/>
                </a:cubicBezTo>
                <a:cubicBezTo>
                  <a:pt x="990" y="983"/>
                  <a:pt x="989" y="980"/>
                  <a:pt x="988" y="978"/>
                </a:cubicBezTo>
                <a:cubicBezTo>
                  <a:pt x="987" y="975"/>
                  <a:pt x="985" y="972"/>
                  <a:pt x="983" y="970"/>
                </a:cubicBezTo>
                <a:close/>
                <a:moveTo>
                  <a:pt x="1103" y="911"/>
                </a:moveTo>
                <a:cubicBezTo>
                  <a:pt x="1105" y="913"/>
                  <a:pt x="1106" y="914"/>
                  <a:pt x="1106" y="916"/>
                </a:cubicBezTo>
                <a:cubicBezTo>
                  <a:pt x="1105" y="918"/>
                  <a:pt x="1105" y="919"/>
                  <a:pt x="1104" y="921"/>
                </a:cubicBezTo>
                <a:lnTo>
                  <a:pt x="1061" y="963"/>
                </a:lnTo>
                <a:cubicBezTo>
                  <a:pt x="1065" y="967"/>
                  <a:pt x="1068" y="970"/>
                  <a:pt x="1072" y="972"/>
                </a:cubicBezTo>
                <a:cubicBezTo>
                  <a:pt x="1075" y="974"/>
                  <a:pt x="1079" y="975"/>
                  <a:pt x="1083" y="976"/>
                </a:cubicBezTo>
                <a:cubicBezTo>
                  <a:pt x="1087" y="976"/>
                  <a:pt x="1090" y="975"/>
                  <a:pt x="1094" y="974"/>
                </a:cubicBezTo>
                <a:cubicBezTo>
                  <a:pt x="1098" y="972"/>
                  <a:pt x="1102" y="969"/>
                  <a:pt x="1106" y="965"/>
                </a:cubicBezTo>
                <a:cubicBezTo>
                  <a:pt x="1109" y="962"/>
                  <a:pt x="1111" y="959"/>
                  <a:pt x="1113" y="957"/>
                </a:cubicBezTo>
                <a:cubicBezTo>
                  <a:pt x="1115" y="954"/>
                  <a:pt x="1117" y="951"/>
                  <a:pt x="1118" y="949"/>
                </a:cubicBezTo>
                <a:cubicBezTo>
                  <a:pt x="1119" y="946"/>
                  <a:pt x="1120" y="944"/>
                  <a:pt x="1120" y="943"/>
                </a:cubicBezTo>
                <a:cubicBezTo>
                  <a:pt x="1121" y="941"/>
                  <a:pt x="1122" y="940"/>
                  <a:pt x="1122" y="939"/>
                </a:cubicBezTo>
                <a:cubicBezTo>
                  <a:pt x="1122" y="939"/>
                  <a:pt x="1123" y="939"/>
                  <a:pt x="1123" y="939"/>
                </a:cubicBezTo>
                <a:cubicBezTo>
                  <a:pt x="1124" y="939"/>
                  <a:pt x="1124" y="939"/>
                  <a:pt x="1125" y="939"/>
                </a:cubicBezTo>
                <a:cubicBezTo>
                  <a:pt x="1125" y="939"/>
                  <a:pt x="1126" y="939"/>
                  <a:pt x="1126" y="940"/>
                </a:cubicBezTo>
                <a:cubicBezTo>
                  <a:pt x="1127" y="940"/>
                  <a:pt x="1128" y="941"/>
                  <a:pt x="1129" y="942"/>
                </a:cubicBezTo>
                <a:cubicBezTo>
                  <a:pt x="1129" y="943"/>
                  <a:pt x="1130" y="943"/>
                  <a:pt x="1130" y="944"/>
                </a:cubicBezTo>
                <a:cubicBezTo>
                  <a:pt x="1131" y="944"/>
                  <a:pt x="1131" y="945"/>
                  <a:pt x="1131" y="945"/>
                </a:cubicBezTo>
                <a:cubicBezTo>
                  <a:pt x="1132" y="945"/>
                  <a:pt x="1132" y="946"/>
                  <a:pt x="1132" y="946"/>
                </a:cubicBezTo>
                <a:cubicBezTo>
                  <a:pt x="1132" y="947"/>
                  <a:pt x="1132" y="947"/>
                  <a:pt x="1132" y="948"/>
                </a:cubicBezTo>
                <a:cubicBezTo>
                  <a:pt x="1132" y="948"/>
                  <a:pt x="1132" y="950"/>
                  <a:pt x="1131" y="951"/>
                </a:cubicBezTo>
                <a:cubicBezTo>
                  <a:pt x="1130" y="953"/>
                  <a:pt x="1129" y="956"/>
                  <a:pt x="1128" y="958"/>
                </a:cubicBezTo>
                <a:cubicBezTo>
                  <a:pt x="1126" y="961"/>
                  <a:pt x="1124" y="964"/>
                  <a:pt x="1122" y="967"/>
                </a:cubicBezTo>
                <a:cubicBezTo>
                  <a:pt x="1120" y="970"/>
                  <a:pt x="1117" y="973"/>
                  <a:pt x="1114" y="976"/>
                </a:cubicBezTo>
                <a:cubicBezTo>
                  <a:pt x="1109" y="982"/>
                  <a:pt x="1103" y="985"/>
                  <a:pt x="1098" y="988"/>
                </a:cubicBezTo>
                <a:cubicBezTo>
                  <a:pt x="1092" y="990"/>
                  <a:pt x="1087" y="992"/>
                  <a:pt x="1081" y="991"/>
                </a:cubicBezTo>
                <a:cubicBezTo>
                  <a:pt x="1076" y="991"/>
                  <a:pt x="1070" y="990"/>
                  <a:pt x="1064" y="987"/>
                </a:cubicBezTo>
                <a:cubicBezTo>
                  <a:pt x="1058" y="984"/>
                  <a:pt x="1052" y="979"/>
                  <a:pt x="1047" y="973"/>
                </a:cubicBezTo>
                <a:cubicBezTo>
                  <a:pt x="1041" y="968"/>
                  <a:pt x="1037" y="962"/>
                  <a:pt x="1034" y="956"/>
                </a:cubicBezTo>
                <a:cubicBezTo>
                  <a:pt x="1031" y="950"/>
                  <a:pt x="1029" y="945"/>
                  <a:pt x="1029" y="939"/>
                </a:cubicBezTo>
                <a:cubicBezTo>
                  <a:pt x="1028" y="933"/>
                  <a:pt x="1029" y="927"/>
                  <a:pt x="1031" y="922"/>
                </a:cubicBezTo>
                <a:cubicBezTo>
                  <a:pt x="1034" y="916"/>
                  <a:pt x="1037" y="911"/>
                  <a:pt x="1042" y="906"/>
                </a:cubicBezTo>
                <a:cubicBezTo>
                  <a:pt x="1047" y="901"/>
                  <a:pt x="1052" y="898"/>
                  <a:pt x="1057" y="896"/>
                </a:cubicBezTo>
                <a:cubicBezTo>
                  <a:pt x="1062" y="894"/>
                  <a:pt x="1068" y="893"/>
                  <a:pt x="1073" y="894"/>
                </a:cubicBezTo>
                <a:cubicBezTo>
                  <a:pt x="1078" y="894"/>
                  <a:pt x="1083" y="896"/>
                  <a:pt x="1087" y="898"/>
                </a:cubicBezTo>
                <a:cubicBezTo>
                  <a:pt x="1092" y="901"/>
                  <a:pt x="1097" y="904"/>
                  <a:pt x="1101" y="909"/>
                </a:cubicBezTo>
                <a:lnTo>
                  <a:pt x="1103" y="911"/>
                </a:lnTo>
                <a:close/>
                <a:moveTo>
                  <a:pt x="1088" y="919"/>
                </a:moveTo>
                <a:cubicBezTo>
                  <a:pt x="1081" y="913"/>
                  <a:pt x="1075" y="909"/>
                  <a:pt x="1069" y="909"/>
                </a:cubicBezTo>
                <a:cubicBezTo>
                  <a:pt x="1062" y="908"/>
                  <a:pt x="1056" y="911"/>
                  <a:pt x="1050" y="916"/>
                </a:cubicBezTo>
                <a:cubicBezTo>
                  <a:pt x="1048" y="919"/>
                  <a:pt x="1046" y="922"/>
                  <a:pt x="1044" y="926"/>
                </a:cubicBezTo>
                <a:cubicBezTo>
                  <a:pt x="1043" y="929"/>
                  <a:pt x="1043" y="932"/>
                  <a:pt x="1043" y="936"/>
                </a:cubicBezTo>
                <a:cubicBezTo>
                  <a:pt x="1044" y="939"/>
                  <a:pt x="1044" y="942"/>
                  <a:pt x="1046" y="946"/>
                </a:cubicBezTo>
                <a:cubicBezTo>
                  <a:pt x="1048" y="949"/>
                  <a:pt x="1050" y="952"/>
                  <a:pt x="1052" y="954"/>
                </a:cubicBezTo>
                <a:lnTo>
                  <a:pt x="1088" y="919"/>
                </a:lnTo>
                <a:close/>
                <a:moveTo>
                  <a:pt x="1185" y="864"/>
                </a:moveTo>
                <a:cubicBezTo>
                  <a:pt x="1188" y="867"/>
                  <a:pt x="1191" y="871"/>
                  <a:pt x="1192" y="874"/>
                </a:cubicBezTo>
                <a:cubicBezTo>
                  <a:pt x="1194" y="878"/>
                  <a:pt x="1194" y="882"/>
                  <a:pt x="1193" y="886"/>
                </a:cubicBezTo>
                <a:cubicBezTo>
                  <a:pt x="1193" y="890"/>
                  <a:pt x="1192" y="894"/>
                  <a:pt x="1189" y="898"/>
                </a:cubicBezTo>
                <a:cubicBezTo>
                  <a:pt x="1187" y="902"/>
                  <a:pt x="1184" y="906"/>
                  <a:pt x="1181" y="910"/>
                </a:cubicBezTo>
                <a:cubicBezTo>
                  <a:pt x="1178" y="912"/>
                  <a:pt x="1176" y="914"/>
                  <a:pt x="1173" y="916"/>
                </a:cubicBezTo>
                <a:cubicBezTo>
                  <a:pt x="1171" y="918"/>
                  <a:pt x="1169" y="919"/>
                  <a:pt x="1166" y="920"/>
                </a:cubicBezTo>
                <a:cubicBezTo>
                  <a:pt x="1164" y="921"/>
                  <a:pt x="1162" y="922"/>
                  <a:pt x="1161" y="923"/>
                </a:cubicBezTo>
                <a:cubicBezTo>
                  <a:pt x="1159" y="923"/>
                  <a:pt x="1157" y="923"/>
                  <a:pt x="1156" y="923"/>
                </a:cubicBezTo>
                <a:cubicBezTo>
                  <a:pt x="1155" y="924"/>
                  <a:pt x="1154" y="923"/>
                  <a:pt x="1153" y="923"/>
                </a:cubicBezTo>
                <a:cubicBezTo>
                  <a:pt x="1152" y="922"/>
                  <a:pt x="1151" y="921"/>
                  <a:pt x="1149" y="919"/>
                </a:cubicBezTo>
                <a:cubicBezTo>
                  <a:pt x="1148" y="919"/>
                  <a:pt x="1148" y="918"/>
                  <a:pt x="1147" y="917"/>
                </a:cubicBezTo>
                <a:cubicBezTo>
                  <a:pt x="1147" y="916"/>
                  <a:pt x="1146" y="916"/>
                  <a:pt x="1146" y="915"/>
                </a:cubicBezTo>
                <a:cubicBezTo>
                  <a:pt x="1146" y="915"/>
                  <a:pt x="1146" y="914"/>
                  <a:pt x="1146" y="914"/>
                </a:cubicBezTo>
                <a:cubicBezTo>
                  <a:pt x="1146" y="913"/>
                  <a:pt x="1146" y="913"/>
                  <a:pt x="1147" y="913"/>
                </a:cubicBezTo>
                <a:cubicBezTo>
                  <a:pt x="1147" y="912"/>
                  <a:pt x="1148" y="912"/>
                  <a:pt x="1150" y="911"/>
                </a:cubicBezTo>
                <a:cubicBezTo>
                  <a:pt x="1151" y="911"/>
                  <a:pt x="1153" y="910"/>
                  <a:pt x="1156" y="909"/>
                </a:cubicBezTo>
                <a:cubicBezTo>
                  <a:pt x="1158" y="909"/>
                  <a:pt x="1161" y="908"/>
                  <a:pt x="1163" y="906"/>
                </a:cubicBezTo>
                <a:cubicBezTo>
                  <a:pt x="1166" y="905"/>
                  <a:pt x="1169" y="903"/>
                  <a:pt x="1171" y="900"/>
                </a:cubicBezTo>
                <a:cubicBezTo>
                  <a:pt x="1173" y="898"/>
                  <a:pt x="1175" y="896"/>
                  <a:pt x="1176" y="894"/>
                </a:cubicBezTo>
                <a:cubicBezTo>
                  <a:pt x="1177" y="892"/>
                  <a:pt x="1178" y="890"/>
                  <a:pt x="1178" y="888"/>
                </a:cubicBezTo>
                <a:cubicBezTo>
                  <a:pt x="1179" y="886"/>
                  <a:pt x="1179" y="884"/>
                  <a:pt x="1178" y="882"/>
                </a:cubicBezTo>
                <a:cubicBezTo>
                  <a:pt x="1177" y="880"/>
                  <a:pt x="1176" y="878"/>
                  <a:pt x="1174" y="876"/>
                </a:cubicBezTo>
                <a:cubicBezTo>
                  <a:pt x="1173" y="875"/>
                  <a:pt x="1171" y="873"/>
                  <a:pt x="1168" y="873"/>
                </a:cubicBezTo>
                <a:cubicBezTo>
                  <a:pt x="1166" y="873"/>
                  <a:pt x="1164" y="873"/>
                  <a:pt x="1161" y="874"/>
                </a:cubicBezTo>
                <a:cubicBezTo>
                  <a:pt x="1159" y="874"/>
                  <a:pt x="1156" y="875"/>
                  <a:pt x="1154" y="876"/>
                </a:cubicBezTo>
                <a:cubicBezTo>
                  <a:pt x="1151" y="877"/>
                  <a:pt x="1148" y="879"/>
                  <a:pt x="1145" y="880"/>
                </a:cubicBezTo>
                <a:cubicBezTo>
                  <a:pt x="1143" y="881"/>
                  <a:pt x="1140" y="882"/>
                  <a:pt x="1137" y="883"/>
                </a:cubicBezTo>
                <a:cubicBezTo>
                  <a:pt x="1134" y="884"/>
                  <a:pt x="1131" y="884"/>
                  <a:pt x="1128" y="884"/>
                </a:cubicBezTo>
                <a:cubicBezTo>
                  <a:pt x="1125" y="884"/>
                  <a:pt x="1122" y="884"/>
                  <a:pt x="1119" y="883"/>
                </a:cubicBezTo>
                <a:cubicBezTo>
                  <a:pt x="1116" y="882"/>
                  <a:pt x="1113" y="880"/>
                  <a:pt x="1110" y="877"/>
                </a:cubicBezTo>
                <a:cubicBezTo>
                  <a:pt x="1107" y="874"/>
                  <a:pt x="1105" y="871"/>
                  <a:pt x="1104" y="868"/>
                </a:cubicBezTo>
                <a:cubicBezTo>
                  <a:pt x="1103" y="865"/>
                  <a:pt x="1102" y="861"/>
                  <a:pt x="1102" y="857"/>
                </a:cubicBezTo>
                <a:cubicBezTo>
                  <a:pt x="1103" y="854"/>
                  <a:pt x="1104" y="850"/>
                  <a:pt x="1106" y="846"/>
                </a:cubicBezTo>
                <a:cubicBezTo>
                  <a:pt x="1107" y="842"/>
                  <a:pt x="1110" y="838"/>
                  <a:pt x="1114" y="834"/>
                </a:cubicBezTo>
                <a:cubicBezTo>
                  <a:pt x="1116" y="832"/>
                  <a:pt x="1118" y="831"/>
                  <a:pt x="1120" y="829"/>
                </a:cubicBezTo>
                <a:cubicBezTo>
                  <a:pt x="1122" y="828"/>
                  <a:pt x="1124" y="827"/>
                  <a:pt x="1126" y="826"/>
                </a:cubicBezTo>
                <a:cubicBezTo>
                  <a:pt x="1127" y="825"/>
                  <a:pt x="1129" y="824"/>
                  <a:pt x="1131" y="824"/>
                </a:cubicBezTo>
                <a:cubicBezTo>
                  <a:pt x="1132" y="823"/>
                  <a:pt x="1133" y="823"/>
                  <a:pt x="1134" y="823"/>
                </a:cubicBezTo>
                <a:cubicBezTo>
                  <a:pt x="1135" y="823"/>
                  <a:pt x="1136" y="823"/>
                  <a:pt x="1136" y="823"/>
                </a:cubicBezTo>
                <a:cubicBezTo>
                  <a:pt x="1137" y="823"/>
                  <a:pt x="1137" y="823"/>
                  <a:pt x="1137" y="823"/>
                </a:cubicBezTo>
                <a:cubicBezTo>
                  <a:pt x="1138" y="824"/>
                  <a:pt x="1138" y="824"/>
                  <a:pt x="1139" y="824"/>
                </a:cubicBezTo>
                <a:cubicBezTo>
                  <a:pt x="1140" y="825"/>
                  <a:pt x="1140" y="825"/>
                  <a:pt x="1141" y="826"/>
                </a:cubicBezTo>
                <a:cubicBezTo>
                  <a:pt x="1142" y="827"/>
                  <a:pt x="1143" y="828"/>
                  <a:pt x="1143" y="828"/>
                </a:cubicBezTo>
                <a:cubicBezTo>
                  <a:pt x="1144" y="829"/>
                  <a:pt x="1144" y="830"/>
                  <a:pt x="1144" y="830"/>
                </a:cubicBezTo>
                <a:cubicBezTo>
                  <a:pt x="1144" y="831"/>
                  <a:pt x="1144" y="831"/>
                  <a:pt x="1144" y="832"/>
                </a:cubicBezTo>
                <a:cubicBezTo>
                  <a:pt x="1144" y="832"/>
                  <a:pt x="1144" y="832"/>
                  <a:pt x="1144" y="833"/>
                </a:cubicBezTo>
                <a:cubicBezTo>
                  <a:pt x="1143" y="833"/>
                  <a:pt x="1143" y="834"/>
                  <a:pt x="1141" y="834"/>
                </a:cubicBezTo>
                <a:cubicBezTo>
                  <a:pt x="1140" y="834"/>
                  <a:pt x="1138" y="835"/>
                  <a:pt x="1136" y="835"/>
                </a:cubicBezTo>
                <a:cubicBezTo>
                  <a:pt x="1134" y="836"/>
                  <a:pt x="1132" y="837"/>
                  <a:pt x="1130" y="838"/>
                </a:cubicBezTo>
                <a:cubicBezTo>
                  <a:pt x="1128" y="839"/>
                  <a:pt x="1126" y="841"/>
                  <a:pt x="1123" y="843"/>
                </a:cubicBezTo>
                <a:cubicBezTo>
                  <a:pt x="1121" y="845"/>
                  <a:pt x="1120" y="847"/>
                  <a:pt x="1119" y="849"/>
                </a:cubicBezTo>
                <a:cubicBezTo>
                  <a:pt x="1118" y="851"/>
                  <a:pt x="1117" y="853"/>
                  <a:pt x="1117" y="855"/>
                </a:cubicBezTo>
                <a:cubicBezTo>
                  <a:pt x="1117" y="857"/>
                  <a:pt x="1117" y="859"/>
                  <a:pt x="1118" y="860"/>
                </a:cubicBezTo>
                <a:cubicBezTo>
                  <a:pt x="1118" y="862"/>
                  <a:pt x="1119" y="863"/>
                  <a:pt x="1121" y="865"/>
                </a:cubicBezTo>
                <a:cubicBezTo>
                  <a:pt x="1122" y="867"/>
                  <a:pt x="1124" y="868"/>
                  <a:pt x="1127" y="868"/>
                </a:cubicBezTo>
                <a:cubicBezTo>
                  <a:pt x="1129" y="868"/>
                  <a:pt x="1131" y="868"/>
                  <a:pt x="1134" y="868"/>
                </a:cubicBezTo>
                <a:cubicBezTo>
                  <a:pt x="1136" y="867"/>
                  <a:pt x="1139" y="866"/>
                  <a:pt x="1142" y="865"/>
                </a:cubicBezTo>
                <a:cubicBezTo>
                  <a:pt x="1144" y="864"/>
                  <a:pt x="1147" y="863"/>
                  <a:pt x="1150" y="861"/>
                </a:cubicBezTo>
                <a:cubicBezTo>
                  <a:pt x="1153" y="860"/>
                  <a:pt x="1156" y="859"/>
                  <a:pt x="1159" y="858"/>
                </a:cubicBezTo>
                <a:cubicBezTo>
                  <a:pt x="1162" y="857"/>
                  <a:pt x="1165" y="857"/>
                  <a:pt x="1168" y="856"/>
                </a:cubicBezTo>
                <a:cubicBezTo>
                  <a:pt x="1171" y="856"/>
                  <a:pt x="1174" y="857"/>
                  <a:pt x="1177" y="858"/>
                </a:cubicBezTo>
                <a:cubicBezTo>
                  <a:pt x="1180" y="859"/>
                  <a:pt x="1182" y="861"/>
                  <a:pt x="1185" y="864"/>
                </a:cubicBezTo>
                <a:close/>
                <a:moveTo>
                  <a:pt x="1239" y="775"/>
                </a:moveTo>
                <a:cubicBezTo>
                  <a:pt x="1241" y="777"/>
                  <a:pt x="1241" y="779"/>
                  <a:pt x="1241" y="780"/>
                </a:cubicBezTo>
                <a:cubicBezTo>
                  <a:pt x="1241" y="782"/>
                  <a:pt x="1241" y="784"/>
                  <a:pt x="1239" y="785"/>
                </a:cubicBezTo>
                <a:lnTo>
                  <a:pt x="1197" y="827"/>
                </a:lnTo>
                <a:cubicBezTo>
                  <a:pt x="1200" y="831"/>
                  <a:pt x="1204" y="834"/>
                  <a:pt x="1208" y="836"/>
                </a:cubicBezTo>
                <a:cubicBezTo>
                  <a:pt x="1211" y="838"/>
                  <a:pt x="1215" y="839"/>
                  <a:pt x="1219" y="840"/>
                </a:cubicBezTo>
                <a:cubicBezTo>
                  <a:pt x="1222" y="840"/>
                  <a:pt x="1226" y="840"/>
                  <a:pt x="1230" y="838"/>
                </a:cubicBezTo>
                <a:cubicBezTo>
                  <a:pt x="1234" y="836"/>
                  <a:pt x="1237" y="834"/>
                  <a:pt x="1241" y="830"/>
                </a:cubicBezTo>
                <a:cubicBezTo>
                  <a:pt x="1244" y="827"/>
                  <a:pt x="1247" y="824"/>
                  <a:pt x="1249" y="821"/>
                </a:cubicBezTo>
                <a:cubicBezTo>
                  <a:pt x="1251" y="818"/>
                  <a:pt x="1252" y="815"/>
                  <a:pt x="1253" y="813"/>
                </a:cubicBezTo>
                <a:cubicBezTo>
                  <a:pt x="1255" y="810"/>
                  <a:pt x="1255" y="808"/>
                  <a:pt x="1256" y="807"/>
                </a:cubicBezTo>
                <a:cubicBezTo>
                  <a:pt x="1257" y="805"/>
                  <a:pt x="1257" y="804"/>
                  <a:pt x="1258" y="803"/>
                </a:cubicBezTo>
                <a:cubicBezTo>
                  <a:pt x="1258" y="803"/>
                  <a:pt x="1259" y="803"/>
                  <a:pt x="1259" y="803"/>
                </a:cubicBezTo>
                <a:cubicBezTo>
                  <a:pt x="1259" y="803"/>
                  <a:pt x="1260" y="803"/>
                  <a:pt x="1260" y="803"/>
                </a:cubicBezTo>
                <a:cubicBezTo>
                  <a:pt x="1261" y="803"/>
                  <a:pt x="1261" y="804"/>
                  <a:pt x="1262" y="804"/>
                </a:cubicBezTo>
                <a:cubicBezTo>
                  <a:pt x="1263" y="805"/>
                  <a:pt x="1264" y="805"/>
                  <a:pt x="1264" y="806"/>
                </a:cubicBezTo>
                <a:cubicBezTo>
                  <a:pt x="1265" y="807"/>
                  <a:pt x="1266" y="807"/>
                  <a:pt x="1266" y="808"/>
                </a:cubicBezTo>
                <a:cubicBezTo>
                  <a:pt x="1266" y="808"/>
                  <a:pt x="1267" y="809"/>
                  <a:pt x="1267" y="809"/>
                </a:cubicBezTo>
                <a:cubicBezTo>
                  <a:pt x="1267" y="810"/>
                  <a:pt x="1267" y="810"/>
                  <a:pt x="1268" y="811"/>
                </a:cubicBezTo>
                <a:cubicBezTo>
                  <a:pt x="1268" y="811"/>
                  <a:pt x="1268" y="811"/>
                  <a:pt x="1268" y="812"/>
                </a:cubicBezTo>
                <a:cubicBezTo>
                  <a:pt x="1268" y="813"/>
                  <a:pt x="1267" y="814"/>
                  <a:pt x="1267" y="816"/>
                </a:cubicBezTo>
                <a:cubicBezTo>
                  <a:pt x="1266" y="818"/>
                  <a:pt x="1265" y="820"/>
                  <a:pt x="1263" y="822"/>
                </a:cubicBezTo>
                <a:cubicBezTo>
                  <a:pt x="1262" y="825"/>
                  <a:pt x="1260" y="828"/>
                  <a:pt x="1258" y="831"/>
                </a:cubicBezTo>
                <a:cubicBezTo>
                  <a:pt x="1256" y="834"/>
                  <a:pt x="1253" y="837"/>
                  <a:pt x="1250" y="840"/>
                </a:cubicBezTo>
                <a:cubicBezTo>
                  <a:pt x="1245" y="846"/>
                  <a:pt x="1239" y="850"/>
                  <a:pt x="1234" y="852"/>
                </a:cubicBezTo>
                <a:cubicBezTo>
                  <a:pt x="1228" y="855"/>
                  <a:pt x="1223" y="856"/>
                  <a:pt x="1217" y="856"/>
                </a:cubicBezTo>
                <a:cubicBezTo>
                  <a:pt x="1211" y="855"/>
                  <a:pt x="1206" y="854"/>
                  <a:pt x="1200" y="851"/>
                </a:cubicBezTo>
                <a:cubicBezTo>
                  <a:pt x="1194" y="848"/>
                  <a:pt x="1188" y="843"/>
                  <a:pt x="1182" y="838"/>
                </a:cubicBezTo>
                <a:cubicBezTo>
                  <a:pt x="1177" y="832"/>
                  <a:pt x="1173" y="826"/>
                  <a:pt x="1170" y="820"/>
                </a:cubicBezTo>
                <a:cubicBezTo>
                  <a:pt x="1167" y="815"/>
                  <a:pt x="1165" y="809"/>
                  <a:pt x="1165" y="803"/>
                </a:cubicBezTo>
                <a:cubicBezTo>
                  <a:pt x="1164" y="797"/>
                  <a:pt x="1165" y="792"/>
                  <a:pt x="1167" y="786"/>
                </a:cubicBezTo>
                <a:cubicBezTo>
                  <a:pt x="1169" y="781"/>
                  <a:pt x="1173" y="775"/>
                  <a:pt x="1178" y="771"/>
                </a:cubicBezTo>
                <a:cubicBezTo>
                  <a:pt x="1183" y="766"/>
                  <a:pt x="1188" y="762"/>
                  <a:pt x="1193" y="760"/>
                </a:cubicBezTo>
                <a:cubicBezTo>
                  <a:pt x="1198" y="758"/>
                  <a:pt x="1203" y="758"/>
                  <a:pt x="1208" y="758"/>
                </a:cubicBezTo>
                <a:cubicBezTo>
                  <a:pt x="1213" y="758"/>
                  <a:pt x="1218" y="760"/>
                  <a:pt x="1223" y="763"/>
                </a:cubicBezTo>
                <a:cubicBezTo>
                  <a:pt x="1228" y="765"/>
                  <a:pt x="1232" y="769"/>
                  <a:pt x="1237" y="773"/>
                </a:cubicBezTo>
                <a:lnTo>
                  <a:pt x="1239" y="775"/>
                </a:lnTo>
                <a:close/>
                <a:moveTo>
                  <a:pt x="1223" y="783"/>
                </a:moveTo>
                <a:cubicBezTo>
                  <a:pt x="1217" y="777"/>
                  <a:pt x="1211" y="774"/>
                  <a:pt x="1205" y="773"/>
                </a:cubicBezTo>
                <a:cubicBezTo>
                  <a:pt x="1198" y="772"/>
                  <a:pt x="1192" y="775"/>
                  <a:pt x="1186" y="781"/>
                </a:cubicBezTo>
                <a:cubicBezTo>
                  <a:pt x="1183" y="784"/>
                  <a:pt x="1181" y="787"/>
                  <a:pt x="1180" y="790"/>
                </a:cubicBezTo>
                <a:cubicBezTo>
                  <a:pt x="1179" y="793"/>
                  <a:pt x="1179" y="797"/>
                  <a:pt x="1179" y="800"/>
                </a:cubicBezTo>
                <a:cubicBezTo>
                  <a:pt x="1179" y="803"/>
                  <a:pt x="1180" y="807"/>
                  <a:pt x="1182" y="810"/>
                </a:cubicBezTo>
                <a:cubicBezTo>
                  <a:pt x="1183" y="813"/>
                  <a:pt x="1186" y="816"/>
                  <a:pt x="1188" y="819"/>
                </a:cubicBezTo>
                <a:lnTo>
                  <a:pt x="1223" y="783"/>
                </a:lnTo>
                <a:close/>
                <a:moveTo>
                  <a:pt x="1275" y="688"/>
                </a:moveTo>
                <a:cubicBezTo>
                  <a:pt x="1276" y="689"/>
                  <a:pt x="1277" y="690"/>
                  <a:pt x="1278" y="691"/>
                </a:cubicBezTo>
                <a:cubicBezTo>
                  <a:pt x="1279" y="691"/>
                  <a:pt x="1279" y="692"/>
                  <a:pt x="1279" y="693"/>
                </a:cubicBezTo>
                <a:cubicBezTo>
                  <a:pt x="1280" y="693"/>
                  <a:pt x="1280" y="694"/>
                  <a:pt x="1280" y="694"/>
                </a:cubicBezTo>
                <a:cubicBezTo>
                  <a:pt x="1280" y="695"/>
                  <a:pt x="1279" y="695"/>
                  <a:pt x="1279" y="695"/>
                </a:cubicBezTo>
                <a:cubicBezTo>
                  <a:pt x="1279" y="696"/>
                  <a:pt x="1278" y="696"/>
                  <a:pt x="1277" y="696"/>
                </a:cubicBezTo>
                <a:cubicBezTo>
                  <a:pt x="1277" y="697"/>
                  <a:pt x="1276" y="697"/>
                  <a:pt x="1275" y="698"/>
                </a:cubicBezTo>
                <a:cubicBezTo>
                  <a:pt x="1274" y="698"/>
                  <a:pt x="1273" y="699"/>
                  <a:pt x="1272" y="699"/>
                </a:cubicBezTo>
                <a:cubicBezTo>
                  <a:pt x="1271" y="700"/>
                  <a:pt x="1270" y="701"/>
                  <a:pt x="1269" y="702"/>
                </a:cubicBezTo>
                <a:cubicBezTo>
                  <a:pt x="1268" y="703"/>
                  <a:pt x="1267" y="704"/>
                  <a:pt x="1266" y="706"/>
                </a:cubicBezTo>
                <a:cubicBezTo>
                  <a:pt x="1265" y="708"/>
                  <a:pt x="1265" y="710"/>
                  <a:pt x="1265" y="712"/>
                </a:cubicBezTo>
                <a:cubicBezTo>
                  <a:pt x="1265" y="714"/>
                  <a:pt x="1265" y="717"/>
                  <a:pt x="1265" y="720"/>
                </a:cubicBezTo>
                <a:cubicBezTo>
                  <a:pt x="1266" y="724"/>
                  <a:pt x="1266" y="727"/>
                  <a:pt x="1267" y="732"/>
                </a:cubicBezTo>
                <a:lnTo>
                  <a:pt x="1310" y="774"/>
                </a:lnTo>
                <a:cubicBezTo>
                  <a:pt x="1310" y="775"/>
                  <a:pt x="1310" y="775"/>
                  <a:pt x="1310" y="776"/>
                </a:cubicBezTo>
                <a:cubicBezTo>
                  <a:pt x="1311" y="776"/>
                  <a:pt x="1310" y="777"/>
                  <a:pt x="1310" y="777"/>
                </a:cubicBezTo>
                <a:cubicBezTo>
                  <a:pt x="1310" y="778"/>
                  <a:pt x="1310" y="779"/>
                  <a:pt x="1309" y="779"/>
                </a:cubicBezTo>
                <a:cubicBezTo>
                  <a:pt x="1308" y="780"/>
                  <a:pt x="1307" y="781"/>
                  <a:pt x="1306" y="782"/>
                </a:cubicBezTo>
                <a:cubicBezTo>
                  <a:pt x="1305" y="784"/>
                  <a:pt x="1304" y="785"/>
                  <a:pt x="1303" y="785"/>
                </a:cubicBezTo>
                <a:cubicBezTo>
                  <a:pt x="1302" y="786"/>
                  <a:pt x="1301" y="786"/>
                  <a:pt x="1301" y="787"/>
                </a:cubicBezTo>
                <a:cubicBezTo>
                  <a:pt x="1300" y="787"/>
                  <a:pt x="1300" y="787"/>
                  <a:pt x="1299" y="787"/>
                </a:cubicBezTo>
                <a:cubicBezTo>
                  <a:pt x="1299" y="787"/>
                  <a:pt x="1298" y="786"/>
                  <a:pt x="1298" y="786"/>
                </a:cubicBezTo>
                <a:lnTo>
                  <a:pt x="1233" y="721"/>
                </a:lnTo>
                <a:cubicBezTo>
                  <a:pt x="1233" y="721"/>
                  <a:pt x="1233" y="721"/>
                  <a:pt x="1233" y="720"/>
                </a:cubicBezTo>
                <a:cubicBezTo>
                  <a:pt x="1232" y="720"/>
                  <a:pt x="1232" y="719"/>
                  <a:pt x="1233" y="719"/>
                </a:cubicBezTo>
                <a:cubicBezTo>
                  <a:pt x="1233" y="718"/>
                  <a:pt x="1233" y="717"/>
                  <a:pt x="1234" y="717"/>
                </a:cubicBezTo>
                <a:cubicBezTo>
                  <a:pt x="1235" y="716"/>
                  <a:pt x="1235" y="715"/>
                  <a:pt x="1236" y="714"/>
                </a:cubicBezTo>
                <a:cubicBezTo>
                  <a:pt x="1238" y="713"/>
                  <a:pt x="1238" y="712"/>
                  <a:pt x="1239" y="711"/>
                </a:cubicBezTo>
                <a:cubicBezTo>
                  <a:pt x="1240" y="711"/>
                  <a:pt x="1241" y="710"/>
                  <a:pt x="1241" y="710"/>
                </a:cubicBezTo>
                <a:cubicBezTo>
                  <a:pt x="1242" y="710"/>
                  <a:pt x="1242" y="710"/>
                  <a:pt x="1243" y="710"/>
                </a:cubicBezTo>
                <a:cubicBezTo>
                  <a:pt x="1243" y="710"/>
                  <a:pt x="1244" y="710"/>
                  <a:pt x="1244" y="711"/>
                </a:cubicBezTo>
                <a:lnTo>
                  <a:pt x="1253" y="720"/>
                </a:lnTo>
                <a:cubicBezTo>
                  <a:pt x="1253" y="716"/>
                  <a:pt x="1252" y="712"/>
                  <a:pt x="1252" y="709"/>
                </a:cubicBezTo>
                <a:cubicBezTo>
                  <a:pt x="1252" y="706"/>
                  <a:pt x="1252" y="703"/>
                  <a:pt x="1253" y="701"/>
                </a:cubicBezTo>
                <a:cubicBezTo>
                  <a:pt x="1253" y="698"/>
                  <a:pt x="1254" y="696"/>
                  <a:pt x="1255" y="695"/>
                </a:cubicBezTo>
                <a:cubicBezTo>
                  <a:pt x="1256" y="693"/>
                  <a:pt x="1257" y="691"/>
                  <a:pt x="1258" y="690"/>
                </a:cubicBezTo>
                <a:cubicBezTo>
                  <a:pt x="1259" y="689"/>
                  <a:pt x="1260" y="689"/>
                  <a:pt x="1261" y="688"/>
                </a:cubicBezTo>
                <a:cubicBezTo>
                  <a:pt x="1262" y="687"/>
                  <a:pt x="1262" y="686"/>
                  <a:pt x="1264" y="686"/>
                </a:cubicBezTo>
                <a:cubicBezTo>
                  <a:pt x="1265" y="685"/>
                  <a:pt x="1266" y="685"/>
                  <a:pt x="1267" y="684"/>
                </a:cubicBezTo>
                <a:cubicBezTo>
                  <a:pt x="1267" y="684"/>
                  <a:pt x="1268" y="683"/>
                  <a:pt x="1269" y="683"/>
                </a:cubicBezTo>
                <a:cubicBezTo>
                  <a:pt x="1269" y="683"/>
                  <a:pt x="1270" y="683"/>
                  <a:pt x="1270" y="683"/>
                </a:cubicBezTo>
                <a:cubicBezTo>
                  <a:pt x="1270" y="684"/>
                  <a:pt x="1271" y="684"/>
                  <a:pt x="1271" y="684"/>
                </a:cubicBezTo>
                <a:cubicBezTo>
                  <a:pt x="1271" y="684"/>
                  <a:pt x="1272" y="685"/>
                  <a:pt x="1273" y="685"/>
                </a:cubicBezTo>
                <a:cubicBezTo>
                  <a:pt x="1273" y="686"/>
                  <a:pt x="1274" y="687"/>
                  <a:pt x="1275" y="688"/>
                </a:cubicBezTo>
                <a:close/>
                <a:moveTo>
                  <a:pt x="1343" y="612"/>
                </a:moveTo>
                <a:cubicBezTo>
                  <a:pt x="1343" y="612"/>
                  <a:pt x="1343" y="612"/>
                  <a:pt x="1343" y="612"/>
                </a:cubicBezTo>
                <a:cubicBezTo>
                  <a:pt x="1343" y="613"/>
                  <a:pt x="1344" y="613"/>
                  <a:pt x="1344" y="613"/>
                </a:cubicBezTo>
                <a:cubicBezTo>
                  <a:pt x="1344" y="613"/>
                  <a:pt x="1344" y="614"/>
                  <a:pt x="1344" y="614"/>
                </a:cubicBezTo>
                <a:cubicBezTo>
                  <a:pt x="1345" y="615"/>
                  <a:pt x="1345" y="615"/>
                  <a:pt x="1345" y="615"/>
                </a:cubicBezTo>
                <a:lnTo>
                  <a:pt x="1385" y="699"/>
                </a:lnTo>
                <a:cubicBezTo>
                  <a:pt x="1385" y="700"/>
                  <a:pt x="1385" y="700"/>
                  <a:pt x="1385" y="701"/>
                </a:cubicBezTo>
                <a:cubicBezTo>
                  <a:pt x="1385" y="702"/>
                  <a:pt x="1385" y="702"/>
                  <a:pt x="1384" y="703"/>
                </a:cubicBezTo>
                <a:cubicBezTo>
                  <a:pt x="1384" y="704"/>
                  <a:pt x="1383" y="705"/>
                  <a:pt x="1382" y="706"/>
                </a:cubicBezTo>
                <a:cubicBezTo>
                  <a:pt x="1382" y="707"/>
                  <a:pt x="1380" y="708"/>
                  <a:pt x="1379" y="710"/>
                </a:cubicBezTo>
                <a:cubicBezTo>
                  <a:pt x="1378" y="711"/>
                  <a:pt x="1376" y="712"/>
                  <a:pt x="1375" y="713"/>
                </a:cubicBezTo>
                <a:cubicBezTo>
                  <a:pt x="1374" y="714"/>
                  <a:pt x="1373" y="714"/>
                  <a:pt x="1372" y="715"/>
                </a:cubicBezTo>
                <a:cubicBezTo>
                  <a:pt x="1372" y="715"/>
                  <a:pt x="1371" y="715"/>
                  <a:pt x="1370" y="715"/>
                </a:cubicBezTo>
                <a:cubicBezTo>
                  <a:pt x="1370" y="715"/>
                  <a:pt x="1369" y="715"/>
                  <a:pt x="1368" y="715"/>
                </a:cubicBezTo>
                <a:lnTo>
                  <a:pt x="1285" y="676"/>
                </a:lnTo>
                <a:cubicBezTo>
                  <a:pt x="1284" y="675"/>
                  <a:pt x="1283" y="675"/>
                  <a:pt x="1283" y="675"/>
                </a:cubicBezTo>
                <a:cubicBezTo>
                  <a:pt x="1282" y="674"/>
                  <a:pt x="1282" y="674"/>
                  <a:pt x="1282" y="674"/>
                </a:cubicBezTo>
                <a:cubicBezTo>
                  <a:pt x="1282" y="674"/>
                  <a:pt x="1281" y="673"/>
                  <a:pt x="1281" y="673"/>
                </a:cubicBezTo>
                <a:cubicBezTo>
                  <a:pt x="1281" y="673"/>
                  <a:pt x="1281" y="673"/>
                  <a:pt x="1280" y="672"/>
                </a:cubicBezTo>
                <a:cubicBezTo>
                  <a:pt x="1280" y="672"/>
                  <a:pt x="1280" y="671"/>
                  <a:pt x="1281" y="670"/>
                </a:cubicBezTo>
                <a:cubicBezTo>
                  <a:pt x="1281" y="670"/>
                  <a:pt x="1282" y="669"/>
                  <a:pt x="1282" y="668"/>
                </a:cubicBezTo>
                <a:cubicBezTo>
                  <a:pt x="1283" y="667"/>
                  <a:pt x="1284" y="667"/>
                  <a:pt x="1285" y="665"/>
                </a:cubicBezTo>
                <a:cubicBezTo>
                  <a:pt x="1286" y="664"/>
                  <a:pt x="1287" y="663"/>
                  <a:pt x="1288" y="662"/>
                </a:cubicBezTo>
                <a:cubicBezTo>
                  <a:pt x="1289" y="661"/>
                  <a:pt x="1290" y="661"/>
                  <a:pt x="1291" y="661"/>
                </a:cubicBezTo>
                <a:cubicBezTo>
                  <a:pt x="1291" y="660"/>
                  <a:pt x="1292" y="660"/>
                  <a:pt x="1292" y="660"/>
                </a:cubicBezTo>
                <a:cubicBezTo>
                  <a:pt x="1293" y="660"/>
                  <a:pt x="1293" y="661"/>
                  <a:pt x="1294" y="661"/>
                </a:cubicBezTo>
                <a:lnTo>
                  <a:pt x="1366" y="696"/>
                </a:lnTo>
                <a:lnTo>
                  <a:pt x="1367" y="696"/>
                </a:lnTo>
                <a:lnTo>
                  <a:pt x="1366" y="695"/>
                </a:lnTo>
                <a:lnTo>
                  <a:pt x="1331" y="624"/>
                </a:lnTo>
                <a:cubicBezTo>
                  <a:pt x="1331" y="624"/>
                  <a:pt x="1330" y="623"/>
                  <a:pt x="1330" y="622"/>
                </a:cubicBezTo>
                <a:cubicBezTo>
                  <a:pt x="1330" y="622"/>
                  <a:pt x="1330" y="621"/>
                  <a:pt x="1331" y="621"/>
                </a:cubicBezTo>
                <a:cubicBezTo>
                  <a:pt x="1331" y="620"/>
                  <a:pt x="1331" y="619"/>
                  <a:pt x="1332" y="618"/>
                </a:cubicBezTo>
                <a:cubicBezTo>
                  <a:pt x="1333" y="618"/>
                  <a:pt x="1334" y="617"/>
                  <a:pt x="1335" y="615"/>
                </a:cubicBezTo>
                <a:cubicBezTo>
                  <a:pt x="1336" y="614"/>
                  <a:pt x="1337" y="613"/>
                  <a:pt x="1338" y="613"/>
                </a:cubicBezTo>
                <a:cubicBezTo>
                  <a:pt x="1339" y="612"/>
                  <a:pt x="1339" y="611"/>
                  <a:pt x="1340" y="611"/>
                </a:cubicBezTo>
                <a:cubicBezTo>
                  <a:pt x="1341" y="611"/>
                  <a:pt x="1341" y="611"/>
                  <a:pt x="1341" y="611"/>
                </a:cubicBezTo>
                <a:cubicBezTo>
                  <a:pt x="1342" y="611"/>
                  <a:pt x="1342" y="611"/>
                  <a:pt x="1343" y="612"/>
                </a:cubicBezTo>
                <a:close/>
                <a:moveTo>
                  <a:pt x="1442" y="571"/>
                </a:moveTo>
                <a:cubicBezTo>
                  <a:pt x="1444" y="573"/>
                  <a:pt x="1445" y="575"/>
                  <a:pt x="1445" y="577"/>
                </a:cubicBezTo>
                <a:cubicBezTo>
                  <a:pt x="1445" y="579"/>
                  <a:pt x="1444" y="580"/>
                  <a:pt x="1443" y="581"/>
                </a:cubicBezTo>
                <a:lnTo>
                  <a:pt x="1400" y="624"/>
                </a:lnTo>
                <a:cubicBezTo>
                  <a:pt x="1404" y="627"/>
                  <a:pt x="1408" y="630"/>
                  <a:pt x="1411" y="632"/>
                </a:cubicBezTo>
                <a:cubicBezTo>
                  <a:pt x="1415" y="635"/>
                  <a:pt x="1418" y="636"/>
                  <a:pt x="1422" y="636"/>
                </a:cubicBezTo>
                <a:cubicBezTo>
                  <a:pt x="1426" y="637"/>
                  <a:pt x="1430" y="636"/>
                  <a:pt x="1433" y="634"/>
                </a:cubicBezTo>
                <a:cubicBezTo>
                  <a:pt x="1437" y="633"/>
                  <a:pt x="1441" y="630"/>
                  <a:pt x="1445" y="626"/>
                </a:cubicBezTo>
                <a:cubicBezTo>
                  <a:pt x="1448" y="623"/>
                  <a:pt x="1451" y="620"/>
                  <a:pt x="1453" y="617"/>
                </a:cubicBezTo>
                <a:cubicBezTo>
                  <a:pt x="1454" y="614"/>
                  <a:pt x="1456" y="612"/>
                  <a:pt x="1457" y="609"/>
                </a:cubicBezTo>
                <a:cubicBezTo>
                  <a:pt x="1458" y="607"/>
                  <a:pt x="1459" y="605"/>
                  <a:pt x="1460" y="603"/>
                </a:cubicBezTo>
                <a:cubicBezTo>
                  <a:pt x="1460" y="602"/>
                  <a:pt x="1461" y="600"/>
                  <a:pt x="1462" y="600"/>
                </a:cubicBezTo>
                <a:cubicBezTo>
                  <a:pt x="1462" y="600"/>
                  <a:pt x="1462" y="599"/>
                  <a:pt x="1463" y="599"/>
                </a:cubicBezTo>
                <a:cubicBezTo>
                  <a:pt x="1463" y="599"/>
                  <a:pt x="1464" y="599"/>
                  <a:pt x="1464" y="599"/>
                </a:cubicBezTo>
                <a:cubicBezTo>
                  <a:pt x="1465" y="600"/>
                  <a:pt x="1465" y="600"/>
                  <a:pt x="1466" y="600"/>
                </a:cubicBezTo>
                <a:cubicBezTo>
                  <a:pt x="1466" y="601"/>
                  <a:pt x="1467" y="602"/>
                  <a:pt x="1468" y="602"/>
                </a:cubicBezTo>
                <a:cubicBezTo>
                  <a:pt x="1469" y="603"/>
                  <a:pt x="1469" y="604"/>
                  <a:pt x="1470" y="604"/>
                </a:cubicBezTo>
                <a:cubicBezTo>
                  <a:pt x="1470" y="605"/>
                  <a:pt x="1470" y="605"/>
                  <a:pt x="1471" y="606"/>
                </a:cubicBezTo>
                <a:cubicBezTo>
                  <a:pt x="1471" y="606"/>
                  <a:pt x="1471" y="606"/>
                  <a:pt x="1471" y="607"/>
                </a:cubicBezTo>
                <a:cubicBezTo>
                  <a:pt x="1471" y="607"/>
                  <a:pt x="1471" y="608"/>
                  <a:pt x="1471" y="608"/>
                </a:cubicBezTo>
                <a:cubicBezTo>
                  <a:pt x="1471" y="609"/>
                  <a:pt x="1471" y="610"/>
                  <a:pt x="1470" y="612"/>
                </a:cubicBezTo>
                <a:cubicBezTo>
                  <a:pt x="1470" y="614"/>
                  <a:pt x="1469" y="616"/>
                  <a:pt x="1467" y="619"/>
                </a:cubicBezTo>
                <a:cubicBezTo>
                  <a:pt x="1466" y="621"/>
                  <a:pt x="1464" y="624"/>
                  <a:pt x="1462" y="627"/>
                </a:cubicBezTo>
                <a:cubicBezTo>
                  <a:pt x="1459" y="631"/>
                  <a:pt x="1457" y="634"/>
                  <a:pt x="1454" y="637"/>
                </a:cubicBezTo>
                <a:cubicBezTo>
                  <a:pt x="1448" y="642"/>
                  <a:pt x="1443" y="646"/>
                  <a:pt x="1437" y="649"/>
                </a:cubicBezTo>
                <a:cubicBezTo>
                  <a:pt x="1432" y="651"/>
                  <a:pt x="1426" y="652"/>
                  <a:pt x="1421" y="652"/>
                </a:cubicBezTo>
                <a:cubicBezTo>
                  <a:pt x="1415" y="652"/>
                  <a:pt x="1409" y="650"/>
                  <a:pt x="1403" y="647"/>
                </a:cubicBezTo>
                <a:cubicBezTo>
                  <a:pt x="1398" y="644"/>
                  <a:pt x="1392" y="640"/>
                  <a:pt x="1386" y="634"/>
                </a:cubicBezTo>
                <a:cubicBezTo>
                  <a:pt x="1380" y="628"/>
                  <a:pt x="1376" y="623"/>
                  <a:pt x="1373" y="617"/>
                </a:cubicBezTo>
                <a:cubicBezTo>
                  <a:pt x="1370" y="611"/>
                  <a:pt x="1369" y="605"/>
                  <a:pt x="1368" y="599"/>
                </a:cubicBezTo>
                <a:cubicBezTo>
                  <a:pt x="1368" y="594"/>
                  <a:pt x="1369" y="588"/>
                  <a:pt x="1371" y="582"/>
                </a:cubicBezTo>
                <a:cubicBezTo>
                  <a:pt x="1373" y="577"/>
                  <a:pt x="1376" y="572"/>
                  <a:pt x="1381" y="567"/>
                </a:cubicBezTo>
                <a:cubicBezTo>
                  <a:pt x="1386" y="562"/>
                  <a:pt x="1391" y="559"/>
                  <a:pt x="1397" y="557"/>
                </a:cubicBezTo>
                <a:cubicBezTo>
                  <a:pt x="1402" y="555"/>
                  <a:pt x="1407" y="554"/>
                  <a:pt x="1412" y="554"/>
                </a:cubicBezTo>
                <a:cubicBezTo>
                  <a:pt x="1417" y="555"/>
                  <a:pt x="1422" y="556"/>
                  <a:pt x="1427" y="559"/>
                </a:cubicBezTo>
                <a:cubicBezTo>
                  <a:pt x="1432" y="562"/>
                  <a:pt x="1436" y="565"/>
                  <a:pt x="1440" y="569"/>
                </a:cubicBezTo>
                <a:lnTo>
                  <a:pt x="1442" y="571"/>
                </a:lnTo>
                <a:close/>
                <a:moveTo>
                  <a:pt x="1427" y="580"/>
                </a:moveTo>
                <a:cubicBezTo>
                  <a:pt x="1421" y="573"/>
                  <a:pt x="1415" y="570"/>
                  <a:pt x="1408" y="569"/>
                </a:cubicBezTo>
                <a:cubicBezTo>
                  <a:pt x="1402" y="569"/>
                  <a:pt x="1396" y="571"/>
                  <a:pt x="1390" y="577"/>
                </a:cubicBezTo>
                <a:cubicBezTo>
                  <a:pt x="1387" y="580"/>
                  <a:pt x="1385" y="583"/>
                  <a:pt x="1384" y="586"/>
                </a:cubicBezTo>
                <a:cubicBezTo>
                  <a:pt x="1383" y="590"/>
                  <a:pt x="1382" y="593"/>
                  <a:pt x="1383" y="596"/>
                </a:cubicBezTo>
                <a:cubicBezTo>
                  <a:pt x="1383" y="600"/>
                  <a:pt x="1384" y="603"/>
                  <a:pt x="1386" y="606"/>
                </a:cubicBezTo>
                <a:cubicBezTo>
                  <a:pt x="1387" y="609"/>
                  <a:pt x="1389" y="612"/>
                  <a:pt x="1392" y="615"/>
                </a:cubicBezTo>
                <a:lnTo>
                  <a:pt x="1427" y="580"/>
                </a:lnTo>
                <a:close/>
                <a:moveTo>
                  <a:pt x="1576" y="485"/>
                </a:moveTo>
                <a:cubicBezTo>
                  <a:pt x="1577" y="486"/>
                  <a:pt x="1578" y="487"/>
                  <a:pt x="1578" y="487"/>
                </a:cubicBezTo>
                <a:cubicBezTo>
                  <a:pt x="1579" y="488"/>
                  <a:pt x="1579" y="488"/>
                  <a:pt x="1579" y="489"/>
                </a:cubicBezTo>
                <a:cubicBezTo>
                  <a:pt x="1580" y="489"/>
                  <a:pt x="1580" y="490"/>
                  <a:pt x="1580" y="491"/>
                </a:cubicBezTo>
                <a:cubicBezTo>
                  <a:pt x="1580" y="491"/>
                  <a:pt x="1580" y="492"/>
                  <a:pt x="1580" y="493"/>
                </a:cubicBezTo>
                <a:cubicBezTo>
                  <a:pt x="1580" y="494"/>
                  <a:pt x="1580" y="495"/>
                  <a:pt x="1580" y="498"/>
                </a:cubicBezTo>
                <a:cubicBezTo>
                  <a:pt x="1579" y="500"/>
                  <a:pt x="1578" y="503"/>
                  <a:pt x="1577" y="507"/>
                </a:cubicBezTo>
                <a:cubicBezTo>
                  <a:pt x="1575" y="510"/>
                  <a:pt x="1574" y="513"/>
                  <a:pt x="1571" y="517"/>
                </a:cubicBezTo>
                <a:cubicBezTo>
                  <a:pt x="1569" y="520"/>
                  <a:pt x="1566" y="524"/>
                  <a:pt x="1563" y="527"/>
                </a:cubicBezTo>
                <a:cubicBezTo>
                  <a:pt x="1557" y="533"/>
                  <a:pt x="1550" y="538"/>
                  <a:pt x="1543" y="541"/>
                </a:cubicBezTo>
                <a:cubicBezTo>
                  <a:pt x="1536" y="544"/>
                  <a:pt x="1529" y="545"/>
                  <a:pt x="1522" y="544"/>
                </a:cubicBezTo>
                <a:cubicBezTo>
                  <a:pt x="1515" y="544"/>
                  <a:pt x="1507" y="542"/>
                  <a:pt x="1499" y="538"/>
                </a:cubicBezTo>
                <a:cubicBezTo>
                  <a:pt x="1492" y="534"/>
                  <a:pt x="1484" y="528"/>
                  <a:pt x="1477" y="520"/>
                </a:cubicBezTo>
                <a:cubicBezTo>
                  <a:pt x="1469" y="513"/>
                  <a:pt x="1463" y="505"/>
                  <a:pt x="1459" y="497"/>
                </a:cubicBezTo>
                <a:cubicBezTo>
                  <a:pt x="1455" y="489"/>
                  <a:pt x="1453" y="481"/>
                  <a:pt x="1452" y="473"/>
                </a:cubicBezTo>
                <a:cubicBezTo>
                  <a:pt x="1452" y="465"/>
                  <a:pt x="1453" y="458"/>
                  <a:pt x="1455" y="451"/>
                </a:cubicBezTo>
                <a:cubicBezTo>
                  <a:pt x="1458" y="443"/>
                  <a:pt x="1463" y="437"/>
                  <a:pt x="1469" y="431"/>
                </a:cubicBezTo>
                <a:cubicBezTo>
                  <a:pt x="1471" y="428"/>
                  <a:pt x="1474" y="426"/>
                  <a:pt x="1477" y="424"/>
                </a:cubicBezTo>
                <a:cubicBezTo>
                  <a:pt x="1480" y="422"/>
                  <a:pt x="1483" y="420"/>
                  <a:pt x="1486" y="419"/>
                </a:cubicBezTo>
                <a:cubicBezTo>
                  <a:pt x="1489" y="417"/>
                  <a:pt x="1492" y="416"/>
                  <a:pt x="1495" y="415"/>
                </a:cubicBezTo>
                <a:cubicBezTo>
                  <a:pt x="1497" y="415"/>
                  <a:pt x="1499" y="414"/>
                  <a:pt x="1501" y="414"/>
                </a:cubicBezTo>
                <a:cubicBezTo>
                  <a:pt x="1502" y="414"/>
                  <a:pt x="1503" y="414"/>
                  <a:pt x="1503" y="415"/>
                </a:cubicBezTo>
                <a:cubicBezTo>
                  <a:pt x="1504" y="415"/>
                  <a:pt x="1504" y="415"/>
                  <a:pt x="1505" y="415"/>
                </a:cubicBezTo>
                <a:cubicBezTo>
                  <a:pt x="1506" y="416"/>
                  <a:pt x="1506" y="416"/>
                  <a:pt x="1507" y="417"/>
                </a:cubicBezTo>
                <a:cubicBezTo>
                  <a:pt x="1508" y="417"/>
                  <a:pt x="1508" y="418"/>
                  <a:pt x="1509" y="419"/>
                </a:cubicBezTo>
                <a:cubicBezTo>
                  <a:pt x="1510" y="420"/>
                  <a:pt x="1511" y="421"/>
                  <a:pt x="1512" y="421"/>
                </a:cubicBezTo>
                <a:cubicBezTo>
                  <a:pt x="1512" y="422"/>
                  <a:pt x="1513" y="423"/>
                  <a:pt x="1513" y="424"/>
                </a:cubicBezTo>
                <a:cubicBezTo>
                  <a:pt x="1513" y="424"/>
                  <a:pt x="1513" y="425"/>
                  <a:pt x="1513" y="425"/>
                </a:cubicBezTo>
                <a:cubicBezTo>
                  <a:pt x="1513" y="426"/>
                  <a:pt x="1513" y="426"/>
                  <a:pt x="1512" y="426"/>
                </a:cubicBezTo>
                <a:cubicBezTo>
                  <a:pt x="1512" y="427"/>
                  <a:pt x="1510" y="428"/>
                  <a:pt x="1508" y="428"/>
                </a:cubicBezTo>
                <a:cubicBezTo>
                  <a:pt x="1506" y="428"/>
                  <a:pt x="1504" y="429"/>
                  <a:pt x="1501" y="429"/>
                </a:cubicBezTo>
                <a:cubicBezTo>
                  <a:pt x="1497" y="430"/>
                  <a:pt x="1494" y="432"/>
                  <a:pt x="1491" y="433"/>
                </a:cubicBezTo>
                <a:cubicBezTo>
                  <a:pt x="1487" y="435"/>
                  <a:pt x="1483" y="438"/>
                  <a:pt x="1479" y="442"/>
                </a:cubicBezTo>
                <a:cubicBezTo>
                  <a:pt x="1475" y="446"/>
                  <a:pt x="1472" y="450"/>
                  <a:pt x="1470" y="455"/>
                </a:cubicBezTo>
                <a:cubicBezTo>
                  <a:pt x="1469" y="461"/>
                  <a:pt x="1468" y="466"/>
                  <a:pt x="1469" y="471"/>
                </a:cubicBezTo>
                <a:cubicBezTo>
                  <a:pt x="1470" y="477"/>
                  <a:pt x="1472" y="483"/>
                  <a:pt x="1475" y="489"/>
                </a:cubicBezTo>
                <a:cubicBezTo>
                  <a:pt x="1479" y="495"/>
                  <a:pt x="1483" y="501"/>
                  <a:pt x="1489" y="507"/>
                </a:cubicBezTo>
                <a:cubicBezTo>
                  <a:pt x="1495" y="513"/>
                  <a:pt x="1501" y="517"/>
                  <a:pt x="1507" y="520"/>
                </a:cubicBezTo>
                <a:cubicBezTo>
                  <a:pt x="1512" y="524"/>
                  <a:pt x="1518" y="526"/>
                  <a:pt x="1523" y="526"/>
                </a:cubicBezTo>
                <a:cubicBezTo>
                  <a:pt x="1529" y="527"/>
                  <a:pt x="1534" y="526"/>
                  <a:pt x="1539" y="524"/>
                </a:cubicBezTo>
                <a:cubicBezTo>
                  <a:pt x="1544" y="522"/>
                  <a:pt x="1549" y="519"/>
                  <a:pt x="1553" y="515"/>
                </a:cubicBezTo>
                <a:cubicBezTo>
                  <a:pt x="1557" y="511"/>
                  <a:pt x="1560" y="507"/>
                  <a:pt x="1562" y="504"/>
                </a:cubicBezTo>
                <a:cubicBezTo>
                  <a:pt x="1563" y="500"/>
                  <a:pt x="1565" y="497"/>
                  <a:pt x="1566" y="494"/>
                </a:cubicBezTo>
                <a:cubicBezTo>
                  <a:pt x="1566" y="491"/>
                  <a:pt x="1567" y="488"/>
                  <a:pt x="1567" y="486"/>
                </a:cubicBezTo>
                <a:cubicBezTo>
                  <a:pt x="1568" y="484"/>
                  <a:pt x="1568" y="482"/>
                  <a:pt x="1569" y="481"/>
                </a:cubicBezTo>
                <a:cubicBezTo>
                  <a:pt x="1569" y="481"/>
                  <a:pt x="1570" y="481"/>
                  <a:pt x="1570" y="481"/>
                </a:cubicBezTo>
                <a:cubicBezTo>
                  <a:pt x="1570" y="481"/>
                  <a:pt x="1571" y="481"/>
                  <a:pt x="1571" y="481"/>
                </a:cubicBezTo>
                <a:cubicBezTo>
                  <a:pt x="1572" y="481"/>
                  <a:pt x="1573" y="482"/>
                  <a:pt x="1573" y="482"/>
                </a:cubicBezTo>
                <a:cubicBezTo>
                  <a:pt x="1574" y="483"/>
                  <a:pt x="1575" y="484"/>
                  <a:pt x="1576" y="485"/>
                </a:cubicBezTo>
                <a:close/>
                <a:moveTo>
                  <a:pt x="1652" y="432"/>
                </a:moveTo>
                <a:cubicBezTo>
                  <a:pt x="1653" y="433"/>
                  <a:pt x="1653" y="433"/>
                  <a:pt x="1653" y="434"/>
                </a:cubicBezTo>
                <a:cubicBezTo>
                  <a:pt x="1653" y="435"/>
                  <a:pt x="1652" y="435"/>
                  <a:pt x="1652" y="436"/>
                </a:cubicBezTo>
                <a:cubicBezTo>
                  <a:pt x="1651" y="437"/>
                  <a:pt x="1651" y="438"/>
                  <a:pt x="1649" y="439"/>
                </a:cubicBezTo>
                <a:cubicBezTo>
                  <a:pt x="1648" y="441"/>
                  <a:pt x="1647" y="441"/>
                  <a:pt x="1646" y="442"/>
                </a:cubicBezTo>
                <a:cubicBezTo>
                  <a:pt x="1645" y="443"/>
                  <a:pt x="1644" y="443"/>
                  <a:pt x="1644" y="443"/>
                </a:cubicBezTo>
                <a:cubicBezTo>
                  <a:pt x="1643" y="443"/>
                  <a:pt x="1643" y="443"/>
                  <a:pt x="1642" y="442"/>
                </a:cubicBezTo>
                <a:lnTo>
                  <a:pt x="1635" y="436"/>
                </a:lnTo>
                <a:cubicBezTo>
                  <a:pt x="1636" y="442"/>
                  <a:pt x="1635" y="447"/>
                  <a:pt x="1633" y="452"/>
                </a:cubicBezTo>
                <a:cubicBezTo>
                  <a:pt x="1631" y="457"/>
                  <a:pt x="1628" y="462"/>
                  <a:pt x="1625" y="466"/>
                </a:cubicBezTo>
                <a:cubicBezTo>
                  <a:pt x="1621" y="469"/>
                  <a:pt x="1618" y="472"/>
                  <a:pt x="1614" y="474"/>
                </a:cubicBezTo>
                <a:cubicBezTo>
                  <a:pt x="1610" y="476"/>
                  <a:pt x="1607" y="477"/>
                  <a:pt x="1603" y="477"/>
                </a:cubicBezTo>
                <a:cubicBezTo>
                  <a:pt x="1600" y="477"/>
                  <a:pt x="1596" y="477"/>
                  <a:pt x="1592" y="475"/>
                </a:cubicBezTo>
                <a:cubicBezTo>
                  <a:pt x="1589" y="474"/>
                  <a:pt x="1586" y="472"/>
                  <a:pt x="1582" y="469"/>
                </a:cubicBezTo>
                <a:cubicBezTo>
                  <a:pt x="1579" y="465"/>
                  <a:pt x="1576" y="461"/>
                  <a:pt x="1575" y="457"/>
                </a:cubicBezTo>
                <a:cubicBezTo>
                  <a:pt x="1574" y="453"/>
                  <a:pt x="1574" y="448"/>
                  <a:pt x="1575" y="444"/>
                </a:cubicBezTo>
                <a:cubicBezTo>
                  <a:pt x="1576" y="439"/>
                  <a:pt x="1578" y="434"/>
                  <a:pt x="1581" y="430"/>
                </a:cubicBezTo>
                <a:cubicBezTo>
                  <a:pt x="1584" y="425"/>
                  <a:pt x="1588" y="420"/>
                  <a:pt x="1593" y="415"/>
                </a:cubicBezTo>
                <a:lnTo>
                  <a:pt x="1602" y="406"/>
                </a:lnTo>
                <a:lnTo>
                  <a:pt x="1597" y="401"/>
                </a:lnTo>
                <a:cubicBezTo>
                  <a:pt x="1595" y="398"/>
                  <a:pt x="1592" y="396"/>
                  <a:pt x="1590" y="395"/>
                </a:cubicBezTo>
                <a:cubicBezTo>
                  <a:pt x="1587" y="394"/>
                  <a:pt x="1585" y="393"/>
                  <a:pt x="1583" y="393"/>
                </a:cubicBezTo>
                <a:cubicBezTo>
                  <a:pt x="1580" y="393"/>
                  <a:pt x="1578" y="393"/>
                  <a:pt x="1575" y="394"/>
                </a:cubicBezTo>
                <a:cubicBezTo>
                  <a:pt x="1573" y="396"/>
                  <a:pt x="1570" y="398"/>
                  <a:pt x="1567" y="400"/>
                </a:cubicBezTo>
                <a:cubicBezTo>
                  <a:pt x="1564" y="403"/>
                  <a:pt x="1562" y="406"/>
                  <a:pt x="1560" y="409"/>
                </a:cubicBezTo>
                <a:cubicBezTo>
                  <a:pt x="1559" y="412"/>
                  <a:pt x="1558" y="415"/>
                  <a:pt x="1557" y="418"/>
                </a:cubicBezTo>
                <a:cubicBezTo>
                  <a:pt x="1556" y="420"/>
                  <a:pt x="1555" y="422"/>
                  <a:pt x="1555" y="424"/>
                </a:cubicBezTo>
                <a:cubicBezTo>
                  <a:pt x="1554" y="426"/>
                  <a:pt x="1554" y="427"/>
                  <a:pt x="1553" y="428"/>
                </a:cubicBezTo>
                <a:cubicBezTo>
                  <a:pt x="1553" y="428"/>
                  <a:pt x="1552" y="429"/>
                  <a:pt x="1552" y="429"/>
                </a:cubicBezTo>
                <a:cubicBezTo>
                  <a:pt x="1551" y="429"/>
                  <a:pt x="1551" y="429"/>
                  <a:pt x="1550" y="429"/>
                </a:cubicBezTo>
                <a:cubicBezTo>
                  <a:pt x="1549" y="428"/>
                  <a:pt x="1549" y="428"/>
                  <a:pt x="1548" y="428"/>
                </a:cubicBezTo>
                <a:cubicBezTo>
                  <a:pt x="1547" y="427"/>
                  <a:pt x="1547" y="426"/>
                  <a:pt x="1546" y="426"/>
                </a:cubicBezTo>
                <a:cubicBezTo>
                  <a:pt x="1545" y="425"/>
                  <a:pt x="1544" y="423"/>
                  <a:pt x="1543" y="423"/>
                </a:cubicBezTo>
                <a:cubicBezTo>
                  <a:pt x="1543" y="422"/>
                  <a:pt x="1543" y="421"/>
                  <a:pt x="1543" y="419"/>
                </a:cubicBezTo>
                <a:cubicBezTo>
                  <a:pt x="1543" y="418"/>
                  <a:pt x="1543" y="416"/>
                  <a:pt x="1544" y="414"/>
                </a:cubicBezTo>
                <a:cubicBezTo>
                  <a:pt x="1545" y="411"/>
                  <a:pt x="1546" y="409"/>
                  <a:pt x="1547" y="406"/>
                </a:cubicBezTo>
                <a:cubicBezTo>
                  <a:pt x="1548" y="403"/>
                  <a:pt x="1550" y="401"/>
                  <a:pt x="1552" y="398"/>
                </a:cubicBezTo>
                <a:cubicBezTo>
                  <a:pt x="1554" y="395"/>
                  <a:pt x="1556" y="392"/>
                  <a:pt x="1559" y="390"/>
                </a:cubicBezTo>
                <a:cubicBezTo>
                  <a:pt x="1563" y="385"/>
                  <a:pt x="1568" y="382"/>
                  <a:pt x="1572" y="379"/>
                </a:cubicBezTo>
                <a:cubicBezTo>
                  <a:pt x="1576" y="377"/>
                  <a:pt x="1581" y="376"/>
                  <a:pt x="1585" y="376"/>
                </a:cubicBezTo>
                <a:cubicBezTo>
                  <a:pt x="1589" y="376"/>
                  <a:pt x="1593" y="377"/>
                  <a:pt x="1597" y="379"/>
                </a:cubicBezTo>
                <a:cubicBezTo>
                  <a:pt x="1601" y="381"/>
                  <a:pt x="1605" y="384"/>
                  <a:pt x="1609" y="388"/>
                </a:cubicBezTo>
                <a:lnTo>
                  <a:pt x="1652" y="432"/>
                </a:lnTo>
                <a:close/>
                <a:moveTo>
                  <a:pt x="1611" y="414"/>
                </a:moveTo>
                <a:lnTo>
                  <a:pt x="1601" y="424"/>
                </a:lnTo>
                <a:cubicBezTo>
                  <a:pt x="1597" y="428"/>
                  <a:pt x="1595" y="431"/>
                  <a:pt x="1593" y="434"/>
                </a:cubicBezTo>
                <a:cubicBezTo>
                  <a:pt x="1591" y="437"/>
                  <a:pt x="1590" y="439"/>
                  <a:pt x="1590" y="442"/>
                </a:cubicBezTo>
                <a:cubicBezTo>
                  <a:pt x="1589" y="445"/>
                  <a:pt x="1589" y="447"/>
                  <a:pt x="1590" y="449"/>
                </a:cubicBezTo>
                <a:cubicBezTo>
                  <a:pt x="1591" y="452"/>
                  <a:pt x="1592" y="454"/>
                  <a:pt x="1594" y="456"/>
                </a:cubicBezTo>
                <a:cubicBezTo>
                  <a:pt x="1597" y="459"/>
                  <a:pt x="1601" y="461"/>
                  <a:pt x="1605" y="461"/>
                </a:cubicBezTo>
                <a:cubicBezTo>
                  <a:pt x="1609" y="460"/>
                  <a:pt x="1613" y="458"/>
                  <a:pt x="1617" y="455"/>
                </a:cubicBezTo>
                <a:cubicBezTo>
                  <a:pt x="1620" y="452"/>
                  <a:pt x="1622" y="448"/>
                  <a:pt x="1623" y="444"/>
                </a:cubicBezTo>
                <a:cubicBezTo>
                  <a:pt x="1625" y="439"/>
                  <a:pt x="1625" y="434"/>
                  <a:pt x="1625" y="428"/>
                </a:cubicBezTo>
                <a:lnTo>
                  <a:pt x="1611" y="414"/>
                </a:lnTo>
                <a:close/>
                <a:moveTo>
                  <a:pt x="1697" y="320"/>
                </a:moveTo>
                <a:cubicBezTo>
                  <a:pt x="1703" y="326"/>
                  <a:pt x="1708" y="331"/>
                  <a:pt x="1711" y="337"/>
                </a:cubicBezTo>
                <a:cubicBezTo>
                  <a:pt x="1714" y="343"/>
                  <a:pt x="1716" y="348"/>
                  <a:pt x="1717" y="354"/>
                </a:cubicBezTo>
                <a:cubicBezTo>
                  <a:pt x="1718" y="359"/>
                  <a:pt x="1717" y="365"/>
                  <a:pt x="1715" y="370"/>
                </a:cubicBezTo>
                <a:cubicBezTo>
                  <a:pt x="1714" y="375"/>
                  <a:pt x="1710" y="380"/>
                  <a:pt x="1706" y="384"/>
                </a:cubicBezTo>
                <a:cubicBezTo>
                  <a:pt x="1704" y="386"/>
                  <a:pt x="1702" y="388"/>
                  <a:pt x="1700" y="389"/>
                </a:cubicBezTo>
                <a:cubicBezTo>
                  <a:pt x="1698" y="390"/>
                  <a:pt x="1696" y="391"/>
                  <a:pt x="1693" y="392"/>
                </a:cubicBezTo>
                <a:cubicBezTo>
                  <a:pt x="1691" y="393"/>
                  <a:pt x="1688" y="393"/>
                  <a:pt x="1686" y="394"/>
                </a:cubicBezTo>
                <a:cubicBezTo>
                  <a:pt x="1683" y="394"/>
                  <a:pt x="1680" y="394"/>
                  <a:pt x="1676" y="394"/>
                </a:cubicBezTo>
                <a:lnTo>
                  <a:pt x="1709" y="427"/>
                </a:lnTo>
                <a:cubicBezTo>
                  <a:pt x="1709" y="427"/>
                  <a:pt x="1709" y="427"/>
                  <a:pt x="1709" y="428"/>
                </a:cubicBezTo>
                <a:cubicBezTo>
                  <a:pt x="1710" y="428"/>
                  <a:pt x="1710" y="429"/>
                  <a:pt x="1709" y="429"/>
                </a:cubicBezTo>
                <a:cubicBezTo>
                  <a:pt x="1709" y="430"/>
                  <a:pt x="1709" y="431"/>
                  <a:pt x="1708" y="432"/>
                </a:cubicBezTo>
                <a:cubicBezTo>
                  <a:pt x="1707" y="433"/>
                  <a:pt x="1706" y="434"/>
                  <a:pt x="1705" y="435"/>
                </a:cubicBezTo>
                <a:cubicBezTo>
                  <a:pt x="1704" y="436"/>
                  <a:pt x="1703" y="437"/>
                  <a:pt x="1702" y="438"/>
                </a:cubicBezTo>
                <a:cubicBezTo>
                  <a:pt x="1701" y="438"/>
                  <a:pt x="1700" y="439"/>
                  <a:pt x="1700" y="439"/>
                </a:cubicBezTo>
                <a:cubicBezTo>
                  <a:pt x="1699" y="439"/>
                  <a:pt x="1699" y="439"/>
                  <a:pt x="1698" y="439"/>
                </a:cubicBezTo>
                <a:cubicBezTo>
                  <a:pt x="1698" y="439"/>
                  <a:pt x="1697" y="439"/>
                  <a:pt x="1697" y="438"/>
                </a:cubicBezTo>
                <a:lnTo>
                  <a:pt x="1607" y="348"/>
                </a:lnTo>
                <a:cubicBezTo>
                  <a:pt x="1606" y="348"/>
                  <a:pt x="1606" y="347"/>
                  <a:pt x="1606" y="347"/>
                </a:cubicBezTo>
                <a:cubicBezTo>
                  <a:pt x="1606" y="346"/>
                  <a:pt x="1606" y="346"/>
                  <a:pt x="1606" y="345"/>
                </a:cubicBezTo>
                <a:cubicBezTo>
                  <a:pt x="1606" y="345"/>
                  <a:pt x="1607" y="344"/>
                  <a:pt x="1607" y="343"/>
                </a:cubicBezTo>
                <a:cubicBezTo>
                  <a:pt x="1608" y="343"/>
                  <a:pt x="1609" y="342"/>
                  <a:pt x="1610" y="341"/>
                </a:cubicBezTo>
                <a:cubicBezTo>
                  <a:pt x="1611" y="340"/>
                  <a:pt x="1611" y="339"/>
                  <a:pt x="1612" y="338"/>
                </a:cubicBezTo>
                <a:cubicBezTo>
                  <a:pt x="1613" y="338"/>
                  <a:pt x="1614" y="337"/>
                  <a:pt x="1614" y="337"/>
                </a:cubicBezTo>
                <a:cubicBezTo>
                  <a:pt x="1615" y="337"/>
                  <a:pt x="1615" y="337"/>
                  <a:pt x="1616" y="337"/>
                </a:cubicBezTo>
                <a:cubicBezTo>
                  <a:pt x="1616" y="337"/>
                  <a:pt x="1617" y="337"/>
                  <a:pt x="1617" y="338"/>
                </a:cubicBezTo>
                <a:lnTo>
                  <a:pt x="1626" y="346"/>
                </a:lnTo>
                <a:cubicBezTo>
                  <a:pt x="1626" y="342"/>
                  <a:pt x="1626" y="339"/>
                  <a:pt x="1626" y="335"/>
                </a:cubicBezTo>
                <a:cubicBezTo>
                  <a:pt x="1627" y="332"/>
                  <a:pt x="1627" y="329"/>
                  <a:pt x="1628" y="326"/>
                </a:cubicBezTo>
                <a:cubicBezTo>
                  <a:pt x="1629" y="323"/>
                  <a:pt x="1630" y="321"/>
                  <a:pt x="1631" y="318"/>
                </a:cubicBezTo>
                <a:cubicBezTo>
                  <a:pt x="1633" y="316"/>
                  <a:pt x="1635" y="314"/>
                  <a:pt x="1637" y="312"/>
                </a:cubicBezTo>
                <a:cubicBezTo>
                  <a:pt x="1642" y="307"/>
                  <a:pt x="1646" y="304"/>
                  <a:pt x="1652" y="302"/>
                </a:cubicBezTo>
                <a:cubicBezTo>
                  <a:pt x="1657" y="301"/>
                  <a:pt x="1662" y="301"/>
                  <a:pt x="1667" y="302"/>
                </a:cubicBezTo>
                <a:cubicBezTo>
                  <a:pt x="1672" y="303"/>
                  <a:pt x="1678" y="305"/>
                  <a:pt x="1683" y="308"/>
                </a:cubicBezTo>
                <a:cubicBezTo>
                  <a:pt x="1688" y="311"/>
                  <a:pt x="1693" y="315"/>
                  <a:pt x="1697" y="320"/>
                </a:cubicBezTo>
                <a:close/>
                <a:moveTo>
                  <a:pt x="1687" y="334"/>
                </a:moveTo>
                <a:cubicBezTo>
                  <a:pt x="1683" y="330"/>
                  <a:pt x="1680" y="327"/>
                  <a:pt x="1676" y="325"/>
                </a:cubicBezTo>
                <a:cubicBezTo>
                  <a:pt x="1673" y="322"/>
                  <a:pt x="1669" y="320"/>
                  <a:pt x="1665" y="319"/>
                </a:cubicBezTo>
                <a:cubicBezTo>
                  <a:pt x="1662" y="318"/>
                  <a:pt x="1658" y="318"/>
                  <a:pt x="1655" y="318"/>
                </a:cubicBezTo>
                <a:cubicBezTo>
                  <a:pt x="1651" y="319"/>
                  <a:pt x="1648" y="321"/>
                  <a:pt x="1645" y="324"/>
                </a:cubicBezTo>
                <a:cubicBezTo>
                  <a:pt x="1643" y="325"/>
                  <a:pt x="1642" y="327"/>
                  <a:pt x="1641" y="329"/>
                </a:cubicBezTo>
                <a:cubicBezTo>
                  <a:pt x="1640" y="331"/>
                  <a:pt x="1639" y="333"/>
                  <a:pt x="1638" y="336"/>
                </a:cubicBezTo>
                <a:cubicBezTo>
                  <a:pt x="1638" y="338"/>
                  <a:pt x="1638" y="341"/>
                  <a:pt x="1638" y="345"/>
                </a:cubicBezTo>
                <a:cubicBezTo>
                  <a:pt x="1637" y="348"/>
                  <a:pt x="1638" y="352"/>
                  <a:pt x="1638" y="356"/>
                </a:cubicBezTo>
                <a:lnTo>
                  <a:pt x="1664" y="382"/>
                </a:lnTo>
                <a:cubicBezTo>
                  <a:pt x="1671" y="382"/>
                  <a:pt x="1677" y="382"/>
                  <a:pt x="1682" y="381"/>
                </a:cubicBezTo>
                <a:cubicBezTo>
                  <a:pt x="1687" y="381"/>
                  <a:pt x="1691" y="379"/>
                  <a:pt x="1695" y="375"/>
                </a:cubicBezTo>
                <a:cubicBezTo>
                  <a:pt x="1698" y="372"/>
                  <a:pt x="1699" y="369"/>
                  <a:pt x="1700" y="365"/>
                </a:cubicBezTo>
                <a:cubicBezTo>
                  <a:pt x="1701" y="362"/>
                  <a:pt x="1701" y="358"/>
                  <a:pt x="1700" y="355"/>
                </a:cubicBezTo>
                <a:cubicBezTo>
                  <a:pt x="1699" y="351"/>
                  <a:pt x="1697" y="347"/>
                  <a:pt x="1695" y="344"/>
                </a:cubicBezTo>
                <a:cubicBezTo>
                  <a:pt x="1692" y="340"/>
                  <a:pt x="1690" y="337"/>
                  <a:pt x="1687" y="334"/>
                </a:cubicBezTo>
                <a:close/>
                <a:moveTo>
                  <a:pt x="1799" y="285"/>
                </a:moveTo>
                <a:cubicBezTo>
                  <a:pt x="1800" y="286"/>
                  <a:pt x="1800" y="286"/>
                  <a:pt x="1800" y="287"/>
                </a:cubicBezTo>
                <a:cubicBezTo>
                  <a:pt x="1800" y="287"/>
                  <a:pt x="1800" y="288"/>
                  <a:pt x="1799" y="289"/>
                </a:cubicBezTo>
                <a:cubicBezTo>
                  <a:pt x="1798" y="290"/>
                  <a:pt x="1798" y="291"/>
                  <a:pt x="1796" y="292"/>
                </a:cubicBezTo>
                <a:cubicBezTo>
                  <a:pt x="1795" y="293"/>
                  <a:pt x="1794" y="294"/>
                  <a:pt x="1793" y="295"/>
                </a:cubicBezTo>
                <a:cubicBezTo>
                  <a:pt x="1792" y="296"/>
                  <a:pt x="1791" y="296"/>
                  <a:pt x="1791" y="296"/>
                </a:cubicBezTo>
                <a:cubicBezTo>
                  <a:pt x="1790" y="296"/>
                  <a:pt x="1790" y="296"/>
                  <a:pt x="1789" y="295"/>
                </a:cubicBezTo>
                <a:lnTo>
                  <a:pt x="1783" y="289"/>
                </a:lnTo>
                <a:cubicBezTo>
                  <a:pt x="1783" y="295"/>
                  <a:pt x="1782" y="300"/>
                  <a:pt x="1780" y="305"/>
                </a:cubicBezTo>
                <a:cubicBezTo>
                  <a:pt x="1778" y="310"/>
                  <a:pt x="1776" y="315"/>
                  <a:pt x="1772" y="319"/>
                </a:cubicBezTo>
                <a:cubicBezTo>
                  <a:pt x="1768" y="322"/>
                  <a:pt x="1765" y="325"/>
                  <a:pt x="1761" y="327"/>
                </a:cubicBezTo>
                <a:cubicBezTo>
                  <a:pt x="1757" y="328"/>
                  <a:pt x="1754" y="330"/>
                  <a:pt x="1750" y="330"/>
                </a:cubicBezTo>
                <a:cubicBezTo>
                  <a:pt x="1747" y="330"/>
                  <a:pt x="1743" y="330"/>
                  <a:pt x="1740" y="328"/>
                </a:cubicBezTo>
                <a:cubicBezTo>
                  <a:pt x="1736" y="327"/>
                  <a:pt x="1733" y="325"/>
                  <a:pt x="1730" y="321"/>
                </a:cubicBezTo>
                <a:cubicBezTo>
                  <a:pt x="1726" y="318"/>
                  <a:pt x="1724" y="314"/>
                  <a:pt x="1722" y="310"/>
                </a:cubicBezTo>
                <a:cubicBezTo>
                  <a:pt x="1721" y="306"/>
                  <a:pt x="1721" y="301"/>
                  <a:pt x="1722" y="297"/>
                </a:cubicBezTo>
                <a:cubicBezTo>
                  <a:pt x="1723" y="292"/>
                  <a:pt x="1725" y="287"/>
                  <a:pt x="1728" y="282"/>
                </a:cubicBezTo>
                <a:cubicBezTo>
                  <a:pt x="1731" y="278"/>
                  <a:pt x="1735" y="273"/>
                  <a:pt x="1740" y="268"/>
                </a:cubicBezTo>
                <a:lnTo>
                  <a:pt x="1749" y="259"/>
                </a:lnTo>
                <a:lnTo>
                  <a:pt x="1744" y="254"/>
                </a:lnTo>
                <a:cubicBezTo>
                  <a:pt x="1742" y="251"/>
                  <a:pt x="1739" y="249"/>
                  <a:pt x="1737" y="248"/>
                </a:cubicBezTo>
                <a:cubicBezTo>
                  <a:pt x="1735" y="246"/>
                  <a:pt x="1732" y="246"/>
                  <a:pt x="1730" y="246"/>
                </a:cubicBezTo>
                <a:cubicBezTo>
                  <a:pt x="1727" y="245"/>
                  <a:pt x="1725" y="246"/>
                  <a:pt x="1722" y="247"/>
                </a:cubicBezTo>
                <a:cubicBezTo>
                  <a:pt x="1720" y="249"/>
                  <a:pt x="1717" y="250"/>
                  <a:pt x="1714" y="253"/>
                </a:cubicBezTo>
                <a:cubicBezTo>
                  <a:pt x="1711" y="256"/>
                  <a:pt x="1709" y="259"/>
                  <a:pt x="1708" y="262"/>
                </a:cubicBezTo>
                <a:cubicBezTo>
                  <a:pt x="1706" y="265"/>
                  <a:pt x="1705" y="268"/>
                  <a:pt x="1704" y="271"/>
                </a:cubicBezTo>
                <a:cubicBezTo>
                  <a:pt x="1703" y="273"/>
                  <a:pt x="1702" y="275"/>
                  <a:pt x="1702" y="277"/>
                </a:cubicBezTo>
                <a:cubicBezTo>
                  <a:pt x="1701" y="279"/>
                  <a:pt x="1701" y="280"/>
                  <a:pt x="1700" y="281"/>
                </a:cubicBezTo>
                <a:cubicBezTo>
                  <a:pt x="1700" y="281"/>
                  <a:pt x="1699" y="281"/>
                  <a:pt x="1699" y="282"/>
                </a:cubicBezTo>
                <a:cubicBezTo>
                  <a:pt x="1698" y="282"/>
                  <a:pt x="1698" y="282"/>
                  <a:pt x="1697" y="281"/>
                </a:cubicBezTo>
                <a:cubicBezTo>
                  <a:pt x="1697" y="281"/>
                  <a:pt x="1696" y="281"/>
                  <a:pt x="1695" y="280"/>
                </a:cubicBezTo>
                <a:cubicBezTo>
                  <a:pt x="1695" y="280"/>
                  <a:pt x="1694" y="279"/>
                  <a:pt x="1693" y="279"/>
                </a:cubicBezTo>
                <a:cubicBezTo>
                  <a:pt x="1692" y="277"/>
                  <a:pt x="1691" y="276"/>
                  <a:pt x="1691" y="276"/>
                </a:cubicBezTo>
                <a:cubicBezTo>
                  <a:pt x="1690" y="275"/>
                  <a:pt x="1690" y="274"/>
                  <a:pt x="1690" y="272"/>
                </a:cubicBezTo>
                <a:cubicBezTo>
                  <a:pt x="1690" y="271"/>
                  <a:pt x="1690" y="269"/>
                  <a:pt x="1691" y="267"/>
                </a:cubicBezTo>
                <a:cubicBezTo>
                  <a:pt x="1692" y="264"/>
                  <a:pt x="1693" y="262"/>
                  <a:pt x="1694" y="259"/>
                </a:cubicBezTo>
                <a:cubicBezTo>
                  <a:pt x="1695" y="256"/>
                  <a:pt x="1697" y="253"/>
                  <a:pt x="1699" y="251"/>
                </a:cubicBezTo>
                <a:cubicBezTo>
                  <a:pt x="1701" y="248"/>
                  <a:pt x="1703" y="245"/>
                  <a:pt x="1706" y="243"/>
                </a:cubicBezTo>
                <a:cubicBezTo>
                  <a:pt x="1710" y="238"/>
                  <a:pt x="1715" y="234"/>
                  <a:pt x="1719" y="232"/>
                </a:cubicBezTo>
                <a:cubicBezTo>
                  <a:pt x="1724" y="230"/>
                  <a:pt x="1728" y="229"/>
                  <a:pt x="1732" y="229"/>
                </a:cubicBezTo>
                <a:cubicBezTo>
                  <a:pt x="1736" y="229"/>
                  <a:pt x="1740" y="230"/>
                  <a:pt x="1744" y="232"/>
                </a:cubicBezTo>
                <a:cubicBezTo>
                  <a:pt x="1748" y="234"/>
                  <a:pt x="1752" y="237"/>
                  <a:pt x="1756" y="241"/>
                </a:cubicBezTo>
                <a:lnTo>
                  <a:pt x="1799" y="285"/>
                </a:lnTo>
                <a:close/>
                <a:moveTo>
                  <a:pt x="1758" y="267"/>
                </a:moveTo>
                <a:lnTo>
                  <a:pt x="1748" y="277"/>
                </a:lnTo>
                <a:cubicBezTo>
                  <a:pt x="1745" y="281"/>
                  <a:pt x="1742" y="284"/>
                  <a:pt x="1740" y="287"/>
                </a:cubicBezTo>
                <a:cubicBezTo>
                  <a:pt x="1738" y="290"/>
                  <a:pt x="1737" y="292"/>
                  <a:pt x="1737" y="295"/>
                </a:cubicBezTo>
                <a:cubicBezTo>
                  <a:pt x="1736" y="298"/>
                  <a:pt x="1736" y="300"/>
                  <a:pt x="1737" y="302"/>
                </a:cubicBezTo>
                <a:cubicBezTo>
                  <a:pt x="1738" y="305"/>
                  <a:pt x="1739" y="307"/>
                  <a:pt x="1741" y="309"/>
                </a:cubicBezTo>
                <a:cubicBezTo>
                  <a:pt x="1744" y="312"/>
                  <a:pt x="1748" y="314"/>
                  <a:pt x="1752" y="314"/>
                </a:cubicBezTo>
                <a:cubicBezTo>
                  <a:pt x="1756" y="313"/>
                  <a:pt x="1760" y="311"/>
                  <a:pt x="1764" y="308"/>
                </a:cubicBezTo>
                <a:cubicBezTo>
                  <a:pt x="1767" y="304"/>
                  <a:pt x="1769" y="301"/>
                  <a:pt x="1771" y="297"/>
                </a:cubicBezTo>
                <a:cubicBezTo>
                  <a:pt x="1772" y="292"/>
                  <a:pt x="1772" y="287"/>
                  <a:pt x="1772" y="281"/>
                </a:cubicBezTo>
                <a:lnTo>
                  <a:pt x="1758" y="267"/>
                </a:lnTo>
                <a:close/>
                <a:moveTo>
                  <a:pt x="1855" y="209"/>
                </a:moveTo>
                <a:cubicBezTo>
                  <a:pt x="1856" y="210"/>
                  <a:pt x="1856" y="211"/>
                  <a:pt x="1857" y="212"/>
                </a:cubicBezTo>
                <a:cubicBezTo>
                  <a:pt x="1858" y="212"/>
                  <a:pt x="1858" y="213"/>
                  <a:pt x="1858" y="213"/>
                </a:cubicBezTo>
                <a:cubicBezTo>
                  <a:pt x="1859" y="214"/>
                  <a:pt x="1859" y="214"/>
                  <a:pt x="1859" y="215"/>
                </a:cubicBezTo>
                <a:cubicBezTo>
                  <a:pt x="1859" y="215"/>
                  <a:pt x="1859" y="216"/>
                  <a:pt x="1859" y="217"/>
                </a:cubicBezTo>
                <a:cubicBezTo>
                  <a:pt x="1859" y="219"/>
                  <a:pt x="1859" y="220"/>
                  <a:pt x="1858" y="223"/>
                </a:cubicBezTo>
                <a:cubicBezTo>
                  <a:pt x="1858" y="225"/>
                  <a:pt x="1857" y="227"/>
                  <a:pt x="1856" y="230"/>
                </a:cubicBezTo>
                <a:cubicBezTo>
                  <a:pt x="1855" y="232"/>
                  <a:pt x="1853" y="235"/>
                  <a:pt x="1852" y="237"/>
                </a:cubicBezTo>
                <a:cubicBezTo>
                  <a:pt x="1850" y="240"/>
                  <a:pt x="1848" y="242"/>
                  <a:pt x="1846" y="245"/>
                </a:cubicBezTo>
                <a:cubicBezTo>
                  <a:pt x="1841" y="249"/>
                  <a:pt x="1836" y="253"/>
                  <a:pt x="1831" y="255"/>
                </a:cubicBezTo>
                <a:cubicBezTo>
                  <a:pt x="1826" y="257"/>
                  <a:pt x="1821" y="257"/>
                  <a:pt x="1815" y="257"/>
                </a:cubicBezTo>
                <a:cubicBezTo>
                  <a:pt x="1810" y="256"/>
                  <a:pt x="1805" y="255"/>
                  <a:pt x="1799" y="252"/>
                </a:cubicBezTo>
                <a:cubicBezTo>
                  <a:pt x="1793" y="249"/>
                  <a:pt x="1788" y="244"/>
                  <a:pt x="1782" y="239"/>
                </a:cubicBezTo>
                <a:cubicBezTo>
                  <a:pt x="1776" y="232"/>
                  <a:pt x="1771" y="226"/>
                  <a:pt x="1768" y="220"/>
                </a:cubicBezTo>
                <a:cubicBezTo>
                  <a:pt x="1765" y="214"/>
                  <a:pt x="1764" y="208"/>
                  <a:pt x="1763" y="202"/>
                </a:cubicBezTo>
                <a:cubicBezTo>
                  <a:pt x="1763" y="197"/>
                  <a:pt x="1764" y="191"/>
                  <a:pt x="1766" y="186"/>
                </a:cubicBezTo>
                <a:cubicBezTo>
                  <a:pt x="1769" y="181"/>
                  <a:pt x="1772" y="177"/>
                  <a:pt x="1776" y="172"/>
                </a:cubicBezTo>
                <a:cubicBezTo>
                  <a:pt x="1778" y="170"/>
                  <a:pt x="1780" y="168"/>
                  <a:pt x="1783" y="167"/>
                </a:cubicBezTo>
                <a:cubicBezTo>
                  <a:pt x="1785" y="165"/>
                  <a:pt x="1787" y="164"/>
                  <a:pt x="1790" y="163"/>
                </a:cubicBezTo>
                <a:cubicBezTo>
                  <a:pt x="1792" y="162"/>
                  <a:pt x="1794" y="161"/>
                  <a:pt x="1796" y="161"/>
                </a:cubicBezTo>
                <a:cubicBezTo>
                  <a:pt x="1798" y="160"/>
                  <a:pt x="1800" y="160"/>
                  <a:pt x="1801" y="160"/>
                </a:cubicBezTo>
                <a:cubicBezTo>
                  <a:pt x="1802" y="160"/>
                  <a:pt x="1803" y="160"/>
                  <a:pt x="1804" y="160"/>
                </a:cubicBezTo>
                <a:cubicBezTo>
                  <a:pt x="1804" y="160"/>
                  <a:pt x="1805" y="161"/>
                  <a:pt x="1805" y="161"/>
                </a:cubicBezTo>
                <a:cubicBezTo>
                  <a:pt x="1806" y="161"/>
                  <a:pt x="1806" y="162"/>
                  <a:pt x="1807" y="162"/>
                </a:cubicBezTo>
                <a:cubicBezTo>
                  <a:pt x="1808" y="163"/>
                  <a:pt x="1808" y="163"/>
                  <a:pt x="1809" y="164"/>
                </a:cubicBezTo>
                <a:cubicBezTo>
                  <a:pt x="1811" y="166"/>
                  <a:pt x="1812" y="168"/>
                  <a:pt x="1813" y="169"/>
                </a:cubicBezTo>
                <a:cubicBezTo>
                  <a:pt x="1813" y="170"/>
                  <a:pt x="1813" y="171"/>
                  <a:pt x="1812" y="172"/>
                </a:cubicBezTo>
                <a:cubicBezTo>
                  <a:pt x="1811" y="172"/>
                  <a:pt x="1810" y="173"/>
                  <a:pt x="1808" y="173"/>
                </a:cubicBezTo>
                <a:cubicBezTo>
                  <a:pt x="1807" y="173"/>
                  <a:pt x="1805" y="173"/>
                  <a:pt x="1802" y="174"/>
                </a:cubicBezTo>
                <a:cubicBezTo>
                  <a:pt x="1800" y="174"/>
                  <a:pt x="1797" y="175"/>
                  <a:pt x="1794" y="176"/>
                </a:cubicBezTo>
                <a:cubicBezTo>
                  <a:pt x="1792" y="178"/>
                  <a:pt x="1789" y="180"/>
                  <a:pt x="1786" y="182"/>
                </a:cubicBezTo>
                <a:cubicBezTo>
                  <a:pt x="1780" y="188"/>
                  <a:pt x="1778" y="195"/>
                  <a:pt x="1780" y="202"/>
                </a:cubicBezTo>
                <a:cubicBezTo>
                  <a:pt x="1781" y="209"/>
                  <a:pt x="1786" y="217"/>
                  <a:pt x="1794" y="226"/>
                </a:cubicBezTo>
                <a:cubicBezTo>
                  <a:pt x="1798" y="230"/>
                  <a:pt x="1802" y="233"/>
                  <a:pt x="1806" y="235"/>
                </a:cubicBezTo>
                <a:cubicBezTo>
                  <a:pt x="1810" y="238"/>
                  <a:pt x="1814" y="239"/>
                  <a:pt x="1817" y="240"/>
                </a:cubicBezTo>
                <a:cubicBezTo>
                  <a:pt x="1821" y="240"/>
                  <a:pt x="1825" y="240"/>
                  <a:pt x="1828" y="239"/>
                </a:cubicBezTo>
                <a:cubicBezTo>
                  <a:pt x="1831" y="238"/>
                  <a:pt x="1834" y="236"/>
                  <a:pt x="1837" y="233"/>
                </a:cubicBezTo>
                <a:cubicBezTo>
                  <a:pt x="1840" y="230"/>
                  <a:pt x="1842" y="227"/>
                  <a:pt x="1843" y="224"/>
                </a:cubicBezTo>
                <a:cubicBezTo>
                  <a:pt x="1844" y="221"/>
                  <a:pt x="1845" y="219"/>
                  <a:pt x="1845" y="216"/>
                </a:cubicBezTo>
                <a:cubicBezTo>
                  <a:pt x="1846" y="214"/>
                  <a:pt x="1846" y="211"/>
                  <a:pt x="1846" y="210"/>
                </a:cubicBezTo>
                <a:cubicBezTo>
                  <a:pt x="1847" y="208"/>
                  <a:pt x="1847" y="206"/>
                  <a:pt x="1848" y="206"/>
                </a:cubicBezTo>
                <a:cubicBezTo>
                  <a:pt x="1848" y="206"/>
                  <a:pt x="1848" y="205"/>
                  <a:pt x="1849" y="205"/>
                </a:cubicBezTo>
                <a:cubicBezTo>
                  <a:pt x="1849" y="205"/>
                  <a:pt x="1850" y="205"/>
                  <a:pt x="1850" y="206"/>
                </a:cubicBezTo>
                <a:cubicBezTo>
                  <a:pt x="1851" y="206"/>
                  <a:pt x="1852" y="206"/>
                  <a:pt x="1852" y="207"/>
                </a:cubicBezTo>
                <a:cubicBezTo>
                  <a:pt x="1853" y="208"/>
                  <a:pt x="1854" y="208"/>
                  <a:pt x="1855" y="209"/>
                </a:cubicBezTo>
                <a:close/>
                <a:moveTo>
                  <a:pt x="1898" y="186"/>
                </a:moveTo>
                <a:cubicBezTo>
                  <a:pt x="1898" y="186"/>
                  <a:pt x="1899" y="187"/>
                  <a:pt x="1899" y="187"/>
                </a:cubicBezTo>
                <a:cubicBezTo>
                  <a:pt x="1899" y="188"/>
                  <a:pt x="1899" y="188"/>
                  <a:pt x="1899" y="189"/>
                </a:cubicBezTo>
                <a:cubicBezTo>
                  <a:pt x="1898" y="189"/>
                  <a:pt x="1898" y="190"/>
                  <a:pt x="1897" y="191"/>
                </a:cubicBezTo>
                <a:cubicBezTo>
                  <a:pt x="1896" y="192"/>
                  <a:pt x="1896" y="193"/>
                  <a:pt x="1894" y="194"/>
                </a:cubicBezTo>
                <a:cubicBezTo>
                  <a:pt x="1893" y="195"/>
                  <a:pt x="1892" y="196"/>
                  <a:pt x="1891" y="197"/>
                </a:cubicBezTo>
                <a:cubicBezTo>
                  <a:pt x="1890" y="198"/>
                  <a:pt x="1890" y="198"/>
                  <a:pt x="1889" y="198"/>
                </a:cubicBezTo>
                <a:cubicBezTo>
                  <a:pt x="1888" y="199"/>
                  <a:pt x="1888" y="199"/>
                  <a:pt x="1887" y="199"/>
                </a:cubicBezTo>
                <a:cubicBezTo>
                  <a:pt x="1887" y="198"/>
                  <a:pt x="1887" y="198"/>
                  <a:pt x="1886" y="198"/>
                </a:cubicBezTo>
                <a:lnTo>
                  <a:pt x="1822" y="133"/>
                </a:lnTo>
                <a:cubicBezTo>
                  <a:pt x="1821" y="133"/>
                  <a:pt x="1821" y="132"/>
                  <a:pt x="1821" y="132"/>
                </a:cubicBezTo>
                <a:cubicBezTo>
                  <a:pt x="1821" y="132"/>
                  <a:pt x="1821" y="131"/>
                  <a:pt x="1821" y="130"/>
                </a:cubicBezTo>
                <a:cubicBezTo>
                  <a:pt x="1821" y="130"/>
                  <a:pt x="1822" y="129"/>
                  <a:pt x="1823" y="128"/>
                </a:cubicBezTo>
                <a:cubicBezTo>
                  <a:pt x="1823" y="127"/>
                  <a:pt x="1824" y="126"/>
                  <a:pt x="1825" y="125"/>
                </a:cubicBezTo>
                <a:cubicBezTo>
                  <a:pt x="1826" y="124"/>
                  <a:pt x="1827" y="123"/>
                  <a:pt x="1828" y="122"/>
                </a:cubicBezTo>
                <a:cubicBezTo>
                  <a:pt x="1829" y="122"/>
                  <a:pt x="1830" y="121"/>
                  <a:pt x="1831" y="121"/>
                </a:cubicBezTo>
                <a:cubicBezTo>
                  <a:pt x="1831" y="121"/>
                  <a:pt x="1832" y="121"/>
                  <a:pt x="1832" y="121"/>
                </a:cubicBezTo>
                <a:cubicBezTo>
                  <a:pt x="1833" y="121"/>
                  <a:pt x="1833" y="121"/>
                  <a:pt x="1833" y="121"/>
                </a:cubicBezTo>
                <a:lnTo>
                  <a:pt x="1898" y="186"/>
                </a:lnTo>
                <a:close/>
                <a:moveTo>
                  <a:pt x="1813" y="98"/>
                </a:moveTo>
                <a:cubicBezTo>
                  <a:pt x="1816" y="101"/>
                  <a:pt x="1817" y="103"/>
                  <a:pt x="1817" y="105"/>
                </a:cubicBezTo>
                <a:cubicBezTo>
                  <a:pt x="1817" y="107"/>
                  <a:pt x="1816" y="110"/>
                  <a:pt x="1813" y="113"/>
                </a:cubicBezTo>
                <a:cubicBezTo>
                  <a:pt x="1810" y="115"/>
                  <a:pt x="1808" y="117"/>
                  <a:pt x="1806" y="117"/>
                </a:cubicBezTo>
                <a:cubicBezTo>
                  <a:pt x="1804" y="117"/>
                  <a:pt x="1801" y="116"/>
                  <a:pt x="1798" y="113"/>
                </a:cubicBezTo>
                <a:cubicBezTo>
                  <a:pt x="1796" y="110"/>
                  <a:pt x="1794" y="108"/>
                  <a:pt x="1794" y="106"/>
                </a:cubicBezTo>
                <a:cubicBezTo>
                  <a:pt x="1794" y="104"/>
                  <a:pt x="1796" y="101"/>
                  <a:pt x="1799" y="98"/>
                </a:cubicBezTo>
                <a:cubicBezTo>
                  <a:pt x="1801" y="96"/>
                  <a:pt x="1804" y="94"/>
                  <a:pt x="1806" y="94"/>
                </a:cubicBezTo>
                <a:cubicBezTo>
                  <a:pt x="1808" y="94"/>
                  <a:pt x="1810" y="95"/>
                  <a:pt x="1813" y="98"/>
                </a:cubicBezTo>
                <a:close/>
                <a:moveTo>
                  <a:pt x="1949" y="126"/>
                </a:moveTo>
                <a:cubicBezTo>
                  <a:pt x="1950" y="127"/>
                  <a:pt x="1951" y="128"/>
                  <a:pt x="1952" y="129"/>
                </a:cubicBezTo>
                <a:cubicBezTo>
                  <a:pt x="1953" y="130"/>
                  <a:pt x="1953" y="131"/>
                  <a:pt x="1953" y="132"/>
                </a:cubicBezTo>
                <a:cubicBezTo>
                  <a:pt x="1953" y="133"/>
                  <a:pt x="1953" y="133"/>
                  <a:pt x="1952" y="135"/>
                </a:cubicBezTo>
                <a:cubicBezTo>
                  <a:pt x="1952" y="136"/>
                  <a:pt x="1951" y="137"/>
                  <a:pt x="1951" y="138"/>
                </a:cubicBezTo>
                <a:cubicBezTo>
                  <a:pt x="1950" y="139"/>
                  <a:pt x="1949" y="140"/>
                  <a:pt x="1948" y="142"/>
                </a:cubicBezTo>
                <a:cubicBezTo>
                  <a:pt x="1947" y="143"/>
                  <a:pt x="1946" y="144"/>
                  <a:pt x="1945" y="145"/>
                </a:cubicBezTo>
                <a:cubicBezTo>
                  <a:pt x="1942" y="149"/>
                  <a:pt x="1938" y="151"/>
                  <a:pt x="1935" y="152"/>
                </a:cubicBezTo>
                <a:cubicBezTo>
                  <a:pt x="1932" y="154"/>
                  <a:pt x="1928" y="155"/>
                  <a:pt x="1925" y="154"/>
                </a:cubicBezTo>
                <a:cubicBezTo>
                  <a:pt x="1922" y="154"/>
                  <a:pt x="1918" y="153"/>
                  <a:pt x="1915" y="151"/>
                </a:cubicBezTo>
                <a:cubicBezTo>
                  <a:pt x="1911" y="149"/>
                  <a:pt x="1908" y="146"/>
                  <a:pt x="1904" y="142"/>
                </a:cubicBezTo>
                <a:lnTo>
                  <a:pt x="1866" y="104"/>
                </a:lnTo>
                <a:lnTo>
                  <a:pt x="1857" y="113"/>
                </a:lnTo>
                <a:cubicBezTo>
                  <a:pt x="1857" y="114"/>
                  <a:pt x="1856" y="114"/>
                  <a:pt x="1854" y="114"/>
                </a:cubicBezTo>
                <a:cubicBezTo>
                  <a:pt x="1853" y="114"/>
                  <a:pt x="1852" y="113"/>
                  <a:pt x="1850" y="111"/>
                </a:cubicBezTo>
                <a:cubicBezTo>
                  <a:pt x="1849" y="110"/>
                  <a:pt x="1848" y="109"/>
                  <a:pt x="1848" y="108"/>
                </a:cubicBezTo>
                <a:cubicBezTo>
                  <a:pt x="1847" y="108"/>
                  <a:pt x="1847" y="107"/>
                  <a:pt x="1847" y="106"/>
                </a:cubicBezTo>
                <a:cubicBezTo>
                  <a:pt x="1847" y="106"/>
                  <a:pt x="1847" y="105"/>
                  <a:pt x="1847" y="105"/>
                </a:cubicBezTo>
                <a:cubicBezTo>
                  <a:pt x="1847" y="104"/>
                  <a:pt x="1847" y="104"/>
                  <a:pt x="1848" y="104"/>
                </a:cubicBezTo>
                <a:lnTo>
                  <a:pt x="1856" y="95"/>
                </a:lnTo>
                <a:lnTo>
                  <a:pt x="1841" y="79"/>
                </a:lnTo>
                <a:cubicBezTo>
                  <a:pt x="1841" y="79"/>
                  <a:pt x="1841" y="78"/>
                  <a:pt x="1840" y="78"/>
                </a:cubicBezTo>
                <a:cubicBezTo>
                  <a:pt x="1840" y="78"/>
                  <a:pt x="1840" y="77"/>
                  <a:pt x="1841" y="76"/>
                </a:cubicBezTo>
                <a:cubicBezTo>
                  <a:pt x="1841" y="76"/>
                  <a:pt x="1841" y="75"/>
                  <a:pt x="1842" y="74"/>
                </a:cubicBezTo>
                <a:cubicBezTo>
                  <a:pt x="1843" y="73"/>
                  <a:pt x="1844" y="72"/>
                  <a:pt x="1845" y="71"/>
                </a:cubicBezTo>
                <a:cubicBezTo>
                  <a:pt x="1846" y="70"/>
                  <a:pt x="1847" y="69"/>
                  <a:pt x="1848" y="68"/>
                </a:cubicBezTo>
                <a:cubicBezTo>
                  <a:pt x="1849" y="68"/>
                  <a:pt x="1849" y="67"/>
                  <a:pt x="1850" y="67"/>
                </a:cubicBezTo>
                <a:cubicBezTo>
                  <a:pt x="1851" y="67"/>
                  <a:pt x="1851" y="67"/>
                  <a:pt x="1852" y="67"/>
                </a:cubicBezTo>
                <a:cubicBezTo>
                  <a:pt x="1852" y="67"/>
                  <a:pt x="1853" y="67"/>
                  <a:pt x="1853" y="67"/>
                </a:cubicBezTo>
                <a:lnTo>
                  <a:pt x="1868" y="83"/>
                </a:lnTo>
                <a:lnTo>
                  <a:pt x="1885" y="66"/>
                </a:lnTo>
                <a:cubicBezTo>
                  <a:pt x="1885" y="66"/>
                  <a:pt x="1886" y="65"/>
                  <a:pt x="1886" y="65"/>
                </a:cubicBezTo>
                <a:cubicBezTo>
                  <a:pt x="1887" y="65"/>
                  <a:pt x="1887" y="65"/>
                  <a:pt x="1888" y="65"/>
                </a:cubicBezTo>
                <a:cubicBezTo>
                  <a:pt x="1888" y="66"/>
                  <a:pt x="1889" y="66"/>
                  <a:pt x="1890" y="67"/>
                </a:cubicBezTo>
                <a:cubicBezTo>
                  <a:pt x="1891" y="67"/>
                  <a:pt x="1891" y="68"/>
                  <a:pt x="1892" y="69"/>
                </a:cubicBezTo>
                <a:cubicBezTo>
                  <a:pt x="1894" y="70"/>
                  <a:pt x="1895" y="72"/>
                  <a:pt x="1895" y="73"/>
                </a:cubicBezTo>
                <a:cubicBezTo>
                  <a:pt x="1896" y="74"/>
                  <a:pt x="1895" y="75"/>
                  <a:pt x="1895" y="76"/>
                </a:cubicBezTo>
                <a:lnTo>
                  <a:pt x="1878" y="93"/>
                </a:lnTo>
                <a:lnTo>
                  <a:pt x="1914" y="129"/>
                </a:lnTo>
                <a:cubicBezTo>
                  <a:pt x="1919" y="133"/>
                  <a:pt x="1923" y="136"/>
                  <a:pt x="1926" y="137"/>
                </a:cubicBezTo>
                <a:cubicBezTo>
                  <a:pt x="1930" y="138"/>
                  <a:pt x="1933" y="136"/>
                  <a:pt x="1937" y="133"/>
                </a:cubicBezTo>
                <a:cubicBezTo>
                  <a:pt x="1938" y="132"/>
                  <a:pt x="1939" y="131"/>
                  <a:pt x="1939" y="130"/>
                </a:cubicBezTo>
                <a:cubicBezTo>
                  <a:pt x="1940" y="129"/>
                  <a:pt x="1941" y="128"/>
                  <a:pt x="1941" y="127"/>
                </a:cubicBezTo>
                <a:cubicBezTo>
                  <a:pt x="1941" y="126"/>
                  <a:pt x="1942" y="125"/>
                  <a:pt x="1942" y="124"/>
                </a:cubicBezTo>
                <a:cubicBezTo>
                  <a:pt x="1942" y="124"/>
                  <a:pt x="1943" y="123"/>
                  <a:pt x="1943" y="123"/>
                </a:cubicBezTo>
                <a:cubicBezTo>
                  <a:pt x="1943" y="123"/>
                  <a:pt x="1944" y="122"/>
                  <a:pt x="1944" y="122"/>
                </a:cubicBezTo>
                <a:cubicBezTo>
                  <a:pt x="1944" y="122"/>
                  <a:pt x="1945" y="122"/>
                  <a:pt x="1945" y="122"/>
                </a:cubicBezTo>
                <a:cubicBezTo>
                  <a:pt x="1946" y="123"/>
                  <a:pt x="1946" y="123"/>
                  <a:pt x="1947" y="123"/>
                </a:cubicBezTo>
                <a:cubicBezTo>
                  <a:pt x="1947" y="124"/>
                  <a:pt x="1948" y="125"/>
                  <a:pt x="1949" y="126"/>
                </a:cubicBezTo>
                <a:close/>
                <a:moveTo>
                  <a:pt x="1997" y="91"/>
                </a:moveTo>
                <a:lnTo>
                  <a:pt x="2012" y="123"/>
                </a:lnTo>
                <a:cubicBezTo>
                  <a:pt x="2012" y="124"/>
                  <a:pt x="2012" y="126"/>
                  <a:pt x="2011" y="127"/>
                </a:cubicBezTo>
                <a:cubicBezTo>
                  <a:pt x="2011" y="129"/>
                  <a:pt x="2009" y="131"/>
                  <a:pt x="2007" y="133"/>
                </a:cubicBezTo>
                <a:cubicBezTo>
                  <a:pt x="2005" y="135"/>
                  <a:pt x="2004" y="135"/>
                  <a:pt x="2003" y="136"/>
                </a:cubicBezTo>
                <a:cubicBezTo>
                  <a:pt x="2003" y="137"/>
                  <a:pt x="2002" y="137"/>
                  <a:pt x="2001" y="137"/>
                </a:cubicBezTo>
                <a:cubicBezTo>
                  <a:pt x="2000" y="137"/>
                  <a:pt x="2000" y="137"/>
                  <a:pt x="1999" y="137"/>
                </a:cubicBezTo>
                <a:cubicBezTo>
                  <a:pt x="1999" y="136"/>
                  <a:pt x="1998" y="136"/>
                  <a:pt x="1998" y="135"/>
                </a:cubicBezTo>
                <a:lnTo>
                  <a:pt x="1984" y="103"/>
                </a:lnTo>
                <a:cubicBezTo>
                  <a:pt x="1984" y="104"/>
                  <a:pt x="1983" y="104"/>
                  <a:pt x="1982" y="104"/>
                </a:cubicBezTo>
                <a:cubicBezTo>
                  <a:pt x="1981" y="104"/>
                  <a:pt x="1981" y="103"/>
                  <a:pt x="1980" y="103"/>
                </a:cubicBezTo>
                <a:lnTo>
                  <a:pt x="1895" y="64"/>
                </a:lnTo>
                <a:cubicBezTo>
                  <a:pt x="1894" y="64"/>
                  <a:pt x="1893" y="63"/>
                  <a:pt x="1892" y="63"/>
                </a:cubicBezTo>
                <a:cubicBezTo>
                  <a:pt x="1892" y="62"/>
                  <a:pt x="1891" y="61"/>
                  <a:pt x="1891" y="61"/>
                </a:cubicBezTo>
                <a:cubicBezTo>
                  <a:pt x="1892" y="60"/>
                  <a:pt x="1892" y="59"/>
                  <a:pt x="1893" y="58"/>
                </a:cubicBezTo>
                <a:cubicBezTo>
                  <a:pt x="1893" y="57"/>
                  <a:pt x="1894" y="56"/>
                  <a:pt x="1896" y="54"/>
                </a:cubicBezTo>
                <a:cubicBezTo>
                  <a:pt x="1897" y="53"/>
                  <a:pt x="1899" y="52"/>
                  <a:pt x="1899" y="51"/>
                </a:cubicBezTo>
                <a:cubicBezTo>
                  <a:pt x="1900" y="50"/>
                  <a:pt x="1901" y="50"/>
                  <a:pt x="1902" y="50"/>
                </a:cubicBezTo>
                <a:cubicBezTo>
                  <a:pt x="1902" y="49"/>
                  <a:pt x="1903" y="49"/>
                  <a:pt x="1904" y="49"/>
                </a:cubicBezTo>
                <a:cubicBezTo>
                  <a:pt x="1904" y="50"/>
                  <a:pt x="1905" y="50"/>
                  <a:pt x="1906" y="50"/>
                </a:cubicBezTo>
                <a:lnTo>
                  <a:pt x="1976" y="84"/>
                </a:lnTo>
                <a:lnTo>
                  <a:pt x="1976" y="83"/>
                </a:lnTo>
                <a:lnTo>
                  <a:pt x="1942" y="13"/>
                </a:lnTo>
                <a:cubicBezTo>
                  <a:pt x="1941" y="12"/>
                  <a:pt x="1941" y="11"/>
                  <a:pt x="1941" y="11"/>
                </a:cubicBezTo>
                <a:cubicBezTo>
                  <a:pt x="1941" y="10"/>
                  <a:pt x="1942" y="9"/>
                  <a:pt x="1942" y="8"/>
                </a:cubicBezTo>
                <a:cubicBezTo>
                  <a:pt x="1943" y="7"/>
                  <a:pt x="1944" y="6"/>
                  <a:pt x="1946" y="4"/>
                </a:cubicBezTo>
                <a:cubicBezTo>
                  <a:pt x="1947" y="3"/>
                  <a:pt x="1948" y="2"/>
                  <a:pt x="1949" y="1"/>
                </a:cubicBezTo>
                <a:cubicBezTo>
                  <a:pt x="1950" y="1"/>
                  <a:pt x="1951" y="0"/>
                  <a:pt x="1952" y="0"/>
                </a:cubicBezTo>
                <a:cubicBezTo>
                  <a:pt x="1953" y="0"/>
                  <a:pt x="1953" y="0"/>
                  <a:pt x="1954" y="1"/>
                </a:cubicBezTo>
                <a:cubicBezTo>
                  <a:pt x="1954" y="1"/>
                  <a:pt x="1955" y="2"/>
                  <a:pt x="1956" y="3"/>
                </a:cubicBezTo>
                <a:lnTo>
                  <a:pt x="1997" y="91"/>
                </a:lnTo>
                <a:close/>
              </a:path>
            </a:pathLst>
          </a:custGeom>
          <a:solidFill>
            <a:srgbClr val="000000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093" name="Freeform 37"/>
          <p:cNvSpPr>
            <a:spLocks noEditPoints="1"/>
          </p:cNvSpPr>
          <p:nvPr/>
        </p:nvSpPr>
        <p:spPr bwMode="auto">
          <a:xfrm>
            <a:off x="1686185" y="3985506"/>
            <a:ext cx="1166813" cy="1143000"/>
          </a:xfrm>
          <a:custGeom>
            <a:avLst/>
            <a:gdLst/>
            <a:ahLst/>
            <a:cxnLst>
              <a:cxn ang="0">
                <a:pos x="100" y="1808"/>
              </a:cxn>
              <a:cxn ang="0">
                <a:pos x="84" y="1733"/>
              </a:cxn>
              <a:cxn ang="0">
                <a:pos x="67" y="1706"/>
              </a:cxn>
              <a:cxn ang="0">
                <a:pos x="215" y="1682"/>
              </a:cxn>
              <a:cxn ang="0">
                <a:pos x="171" y="1655"/>
              </a:cxn>
              <a:cxn ang="0">
                <a:pos x="234" y="1565"/>
              </a:cxn>
              <a:cxn ang="0">
                <a:pos x="187" y="1583"/>
              </a:cxn>
              <a:cxn ang="0">
                <a:pos x="348" y="1543"/>
              </a:cxn>
              <a:cxn ang="0">
                <a:pos x="306" y="1564"/>
              </a:cxn>
              <a:cxn ang="0">
                <a:pos x="430" y="1344"/>
              </a:cxn>
              <a:cxn ang="0">
                <a:pos x="427" y="1481"/>
              </a:cxn>
              <a:cxn ang="0">
                <a:pos x="375" y="1399"/>
              </a:cxn>
              <a:cxn ang="0">
                <a:pos x="429" y="1343"/>
              </a:cxn>
              <a:cxn ang="0">
                <a:pos x="496" y="1331"/>
              </a:cxn>
              <a:cxn ang="0">
                <a:pos x="455" y="1314"/>
              </a:cxn>
              <a:cxn ang="0">
                <a:pos x="613" y="1254"/>
              </a:cxn>
              <a:cxn ang="0">
                <a:pos x="477" y="1231"/>
              </a:cxn>
              <a:cxn ang="0">
                <a:pos x="557" y="1235"/>
              </a:cxn>
              <a:cxn ang="0">
                <a:pos x="656" y="1251"/>
              </a:cxn>
              <a:cxn ang="0">
                <a:pos x="698" y="1189"/>
              </a:cxn>
              <a:cxn ang="0">
                <a:pos x="685" y="1207"/>
              </a:cxn>
              <a:cxn ang="0">
                <a:pos x="692" y="1135"/>
              </a:cxn>
              <a:cxn ang="0">
                <a:pos x="775" y="1115"/>
              </a:cxn>
              <a:cxn ang="0">
                <a:pos x="735" y="1039"/>
              </a:cxn>
              <a:cxn ang="0">
                <a:pos x="738" y="1083"/>
              </a:cxn>
              <a:cxn ang="0">
                <a:pos x="798" y="1019"/>
              </a:cxn>
              <a:cxn ang="0">
                <a:pos x="812" y="931"/>
              </a:cxn>
              <a:cxn ang="0">
                <a:pos x="974" y="932"/>
              </a:cxn>
              <a:cxn ang="0">
                <a:pos x="911" y="893"/>
              </a:cxn>
              <a:cxn ang="0">
                <a:pos x="906" y="874"/>
              </a:cxn>
              <a:cxn ang="0">
                <a:pos x="1027" y="883"/>
              </a:cxn>
              <a:cxn ang="0">
                <a:pos x="933" y="837"/>
              </a:cxn>
              <a:cxn ang="0">
                <a:pos x="960" y="834"/>
              </a:cxn>
              <a:cxn ang="0">
                <a:pos x="1093" y="817"/>
              </a:cxn>
              <a:cxn ang="0">
                <a:pos x="1020" y="780"/>
              </a:cxn>
              <a:cxn ang="0">
                <a:pos x="1058" y="801"/>
              </a:cxn>
              <a:cxn ang="0">
                <a:pos x="1104" y="737"/>
              </a:cxn>
              <a:cxn ang="0">
                <a:pos x="1101" y="700"/>
              </a:cxn>
              <a:cxn ang="0">
                <a:pos x="1213" y="695"/>
              </a:cxn>
              <a:cxn ang="0">
                <a:pos x="1116" y="604"/>
              </a:cxn>
              <a:cxn ang="0">
                <a:pos x="1169" y="607"/>
              </a:cxn>
              <a:cxn ang="0">
                <a:pos x="1213" y="567"/>
              </a:cxn>
              <a:cxn ang="0">
                <a:pos x="1325" y="634"/>
              </a:cxn>
              <a:cxn ang="0">
                <a:pos x="1262" y="509"/>
              </a:cxn>
              <a:cxn ang="0">
                <a:pos x="1404" y="411"/>
              </a:cxn>
              <a:cxn ang="0">
                <a:pos x="1358" y="364"/>
              </a:cxn>
              <a:cxn ang="0">
                <a:pos x="1412" y="359"/>
              </a:cxn>
              <a:cxn ang="0">
                <a:pos x="1479" y="313"/>
              </a:cxn>
              <a:cxn ang="0">
                <a:pos x="1438" y="332"/>
              </a:cxn>
              <a:cxn ang="0">
                <a:pos x="1654" y="249"/>
              </a:cxn>
              <a:cxn ang="0">
                <a:pos x="1611" y="297"/>
              </a:cxn>
              <a:cxn ang="0">
                <a:pos x="1561" y="346"/>
              </a:cxn>
              <a:cxn ang="0">
                <a:pos x="1555" y="226"/>
              </a:cxn>
              <a:cxn ang="0">
                <a:pos x="1606" y="166"/>
              </a:cxn>
              <a:cxn ang="0">
                <a:pos x="1762" y="144"/>
              </a:cxn>
              <a:cxn ang="0">
                <a:pos x="1713" y="194"/>
              </a:cxn>
              <a:cxn ang="0">
                <a:pos x="1708" y="92"/>
              </a:cxn>
              <a:cxn ang="0">
                <a:pos x="1804" y="76"/>
              </a:cxn>
              <a:cxn ang="0">
                <a:pos x="1758" y="98"/>
              </a:cxn>
              <a:cxn ang="0">
                <a:pos x="1748" y="67"/>
              </a:cxn>
              <a:cxn ang="0">
                <a:pos x="1836" y="90"/>
              </a:cxn>
            </a:cxnLst>
            <a:rect l="0" t="0" r="r" b="b"/>
            <a:pathLst>
              <a:path w="1852" h="1815">
                <a:moveTo>
                  <a:pt x="151" y="1753"/>
                </a:moveTo>
                <a:cubicBezTo>
                  <a:pt x="151" y="1753"/>
                  <a:pt x="151" y="1753"/>
                  <a:pt x="151" y="1754"/>
                </a:cubicBezTo>
                <a:cubicBezTo>
                  <a:pt x="152" y="1754"/>
                  <a:pt x="152" y="1755"/>
                  <a:pt x="151" y="1755"/>
                </a:cubicBezTo>
                <a:cubicBezTo>
                  <a:pt x="151" y="1756"/>
                  <a:pt x="150" y="1757"/>
                  <a:pt x="150" y="1758"/>
                </a:cubicBezTo>
                <a:cubicBezTo>
                  <a:pt x="149" y="1759"/>
                  <a:pt x="148" y="1760"/>
                  <a:pt x="146" y="1762"/>
                </a:cubicBezTo>
                <a:cubicBezTo>
                  <a:pt x="145" y="1763"/>
                  <a:pt x="144" y="1764"/>
                  <a:pt x="143" y="1764"/>
                </a:cubicBezTo>
                <a:cubicBezTo>
                  <a:pt x="142" y="1765"/>
                  <a:pt x="141" y="1766"/>
                  <a:pt x="141" y="1766"/>
                </a:cubicBezTo>
                <a:cubicBezTo>
                  <a:pt x="140" y="1766"/>
                  <a:pt x="139" y="1766"/>
                  <a:pt x="139" y="1766"/>
                </a:cubicBezTo>
                <a:cubicBezTo>
                  <a:pt x="138" y="1766"/>
                  <a:pt x="137" y="1766"/>
                  <a:pt x="137" y="1765"/>
                </a:cubicBezTo>
                <a:lnTo>
                  <a:pt x="106" y="1752"/>
                </a:lnTo>
                <a:cubicBezTo>
                  <a:pt x="103" y="1750"/>
                  <a:pt x="99" y="1749"/>
                  <a:pt x="96" y="1748"/>
                </a:cubicBezTo>
                <a:cubicBezTo>
                  <a:pt x="93" y="1747"/>
                  <a:pt x="90" y="1747"/>
                  <a:pt x="87" y="1747"/>
                </a:cubicBezTo>
                <a:cubicBezTo>
                  <a:pt x="84" y="1747"/>
                  <a:pt x="81" y="1747"/>
                  <a:pt x="78" y="1748"/>
                </a:cubicBezTo>
                <a:cubicBezTo>
                  <a:pt x="75" y="1750"/>
                  <a:pt x="73" y="1752"/>
                  <a:pt x="70" y="1754"/>
                </a:cubicBezTo>
                <a:lnTo>
                  <a:pt x="61" y="1763"/>
                </a:lnTo>
                <a:lnTo>
                  <a:pt x="101" y="1802"/>
                </a:lnTo>
                <a:cubicBezTo>
                  <a:pt x="101" y="1803"/>
                  <a:pt x="102" y="1803"/>
                  <a:pt x="102" y="1804"/>
                </a:cubicBezTo>
                <a:cubicBezTo>
                  <a:pt x="102" y="1804"/>
                  <a:pt x="102" y="1805"/>
                  <a:pt x="101" y="1805"/>
                </a:cubicBezTo>
                <a:cubicBezTo>
                  <a:pt x="101" y="1806"/>
                  <a:pt x="101" y="1807"/>
                  <a:pt x="100" y="1808"/>
                </a:cubicBezTo>
                <a:cubicBezTo>
                  <a:pt x="99" y="1808"/>
                  <a:pt x="98" y="1810"/>
                  <a:pt x="97" y="1811"/>
                </a:cubicBezTo>
                <a:cubicBezTo>
                  <a:pt x="96" y="1812"/>
                  <a:pt x="95" y="1813"/>
                  <a:pt x="94" y="1814"/>
                </a:cubicBezTo>
                <a:cubicBezTo>
                  <a:pt x="93" y="1814"/>
                  <a:pt x="92" y="1815"/>
                  <a:pt x="92" y="1815"/>
                </a:cubicBezTo>
                <a:cubicBezTo>
                  <a:pt x="91" y="1815"/>
                  <a:pt x="90" y="1815"/>
                  <a:pt x="90" y="1815"/>
                </a:cubicBezTo>
                <a:cubicBezTo>
                  <a:pt x="90" y="1815"/>
                  <a:pt x="89" y="1815"/>
                  <a:pt x="89" y="1815"/>
                </a:cubicBezTo>
                <a:lnTo>
                  <a:pt x="3" y="1729"/>
                </a:lnTo>
                <a:cubicBezTo>
                  <a:pt x="1" y="1727"/>
                  <a:pt x="0" y="1725"/>
                  <a:pt x="0" y="1723"/>
                </a:cubicBezTo>
                <a:cubicBezTo>
                  <a:pt x="0" y="1721"/>
                  <a:pt x="1" y="1720"/>
                  <a:pt x="2" y="1719"/>
                </a:cubicBezTo>
                <a:lnTo>
                  <a:pt x="22" y="1699"/>
                </a:lnTo>
                <a:cubicBezTo>
                  <a:pt x="24" y="1697"/>
                  <a:pt x="26" y="1695"/>
                  <a:pt x="28" y="1694"/>
                </a:cubicBezTo>
                <a:cubicBezTo>
                  <a:pt x="30" y="1692"/>
                  <a:pt x="31" y="1691"/>
                  <a:pt x="33" y="1690"/>
                </a:cubicBezTo>
                <a:cubicBezTo>
                  <a:pt x="37" y="1687"/>
                  <a:pt x="41" y="1685"/>
                  <a:pt x="45" y="1683"/>
                </a:cubicBezTo>
                <a:cubicBezTo>
                  <a:pt x="49" y="1682"/>
                  <a:pt x="53" y="1681"/>
                  <a:pt x="57" y="1681"/>
                </a:cubicBezTo>
                <a:cubicBezTo>
                  <a:pt x="61" y="1681"/>
                  <a:pt x="65" y="1682"/>
                  <a:pt x="68" y="1684"/>
                </a:cubicBezTo>
                <a:cubicBezTo>
                  <a:pt x="72" y="1686"/>
                  <a:pt x="75" y="1688"/>
                  <a:pt x="79" y="1692"/>
                </a:cubicBezTo>
                <a:cubicBezTo>
                  <a:pt x="82" y="1695"/>
                  <a:pt x="84" y="1698"/>
                  <a:pt x="86" y="1701"/>
                </a:cubicBezTo>
                <a:cubicBezTo>
                  <a:pt x="87" y="1704"/>
                  <a:pt x="88" y="1708"/>
                  <a:pt x="89" y="1711"/>
                </a:cubicBezTo>
                <a:cubicBezTo>
                  <a:pt x="89" y="1715"/>
                  <a:pt x="89" y="1718"/>
                  <a:pt x="88" y="1722"/>
                </a:cubicBezTo>
                <a:cubicBezTo>
                  <a:pt x="87" y="1726"/>
                  <a:pt x="86" y="1729"/>
                  <a:pt x="84" y="1733"/>
                </a:cubicBezTo>
                <a:cubicBezTo>
                  <a:pt x="86" y="1732"/>
                  <a:pt x="88" y="1731"/>
                  <a:pt x="91" y="1731"/>
                </a:cubicBezTo>
                <a:cubicBezTo>
                  <a:pt x="93" y="1731"/>
                  <a:pt x="95" y="1731"/>
                  <a:pt x="98" y="1731"/>
                </a:cubicBezTo>
                <a:cubicBezTo>
                  <a:pt x="100" y="1732"/>
                  <a:pt x="103" y="1732"/>
                  <a:pt x="106" y="1733"/>
                </a:cubicBezTo>
                <a:cubicBezTo>
                  <a:pt x="109" y="1734"/>
                  <a:pt x="112" y="1735"/>
                  <a:pt x="115" y="1737"/>
                </a:cubicBezTo>
                <a:lnTo>
                  <a:pt x="144" y="1749"/>
                </a:lnTo>
                <a:cubicBezTo>
                  <a:pt x="146" y="1750"/>
                  <a:pt x="148" y="1751"/>
                  <a:pt x="149" y="1751"/>
                </a:cubicBezTo>
                <a:cubicBezTo>
                  <a:pt x="150" y="1752"/>
                  <a:pt x="150" y="1752"/>
                  <a:pt x="151" y="1753"/>
                </a:cubicBezTo>
                <a:close/>
                <a:moveTo>
                  <a:pt x="67" y="1706"/>
                </a:moveTo>
                <a:cubicBezTo>
                  <a:pt x="63" y="1702"/>
                  <a:pt x="59" y="1700"/>
                  <a:pt x="55" y="1699"/>
                </a:cubicBezTo>
                <a:cubicBezTo>
                  <a:pt x="51" y="1698"/>
                  <a:pt x="46" y="1699"/>
                  <a:pt x="42" y="1702"/>
                </a:cubicBezTo>
                <a:cubicBezTo>
                  <a:pt x="40" y="1703"/>
                  <a:pt x="38" y="1704"/>
                  <a:pt x="37" y="1705"/>
                </a:cubicBezTo>
                <a:cubicBezTo>
                  <a:pt x="35" y="1707"/>
                  <a:pt x="33" y="1709"/>
                  <a:pt x="31" y="1711"/>
                </a:cubicBezTo>
                <a:lnTo>
                  <a:pt x="20" y="1721"/>
                </a:lnTo>
                <a:lnTo>
                  <a:pt x="51" y="1753"/>
                </a:lnTo>
                <a:lnTo>
                  <a:pt x="64" y="1741"/>
                </a:lnTo>
                <a:cubicBezTo>
                  <a:pt x="67" y="1737"/>
                  <a:pt x="69" y="1734"/>
                  <a:pt x="71" y="1731"/>
                </a:cubicBezTo>
                <a:cubicBezTo>
                  <a:pt x="72" y="1728"/>
                  <a:pt x="73" y="1725"/>
                  <a:pt x="73" y="1722"/>
                </a:cubicBezTo>
                <a:cubicBezTo>
                  <a:pt x="74" y="1719"/>
                  <a:pt x="73" y="1716"/>
                  <a:pt x="72" y="1713"/>
                </a:cubicBezTo>
                <a:cubicBezTo>
                  <a:pt x="71" y="1711"/>
                  <a:pt x="69" y="1708"/>
                  <a:pt x="67" y="1706"/>
                </a:cubicBezTo>
                <a:close/>
                <a:moveTo>
                  <a:pt x="187" y="1647"/>
                </a:moveTo>
                <a:cubicBezTo>
                  <a:pt x="189" y="1648"/>
                  <a:pt x="189" y="1650"/>
                  <a:pt x="189" y="1652"/>
                </a:cubicBezTo>
                <a:cubicBezTo>
                  <a:pt x="189" y="1654"/>
                  <a:pt x="188" y="1655"/>
                  <a:pt x="187" y="1656"/>
                </a:cubicBezTo>
                <a:lnTo>
                  <a:pt x="145" y="1699"/>
                </a:lnTo>
                <a:cubicBezTo>
                  <a:pt x="148" y="1702"/>
                  <a:pt x="152" y="1705"/>
                  <a:pt x="155" y="1708"/>
                </a:cubicBezTo>
                <a:cubicBezTo>
                  <a:pt x="159" y="1710"/>
                  <a:pt x="163" y="1711"/>
                  <a:pt x="166" y="1711"/>
                </a:cubicBezTo>
                <a:cubicBezTo>
                  <a:pt x="170" y="1712"/>
                  <a:pt x="174" y="1711"/>
                  <a:pt x="178" y="1709"/>
                </a:cubicBezTo>
                <a:cubicBezTo>
                  <a:pt x="182" y="1708"/>
                  <a:pt x="185" y="1705"/>
                  <a:pt x="189" y="1701"/>
                </a:cubicBezTo>
                <a:cubicBezTo>
                  <a:pt x="192" y="1698"/>
                  <a:pt x="195" y="1695"/>
                  <a:pt x="197" y="1692"/>
                </a:cubicBezTo>
                <a:cubicBezTo>
                  <a:pt x="199" y="1689"/>
                  <a:pt x="200" y="1687"/>
                  <a:pt x="201" y="1684"/>
                </a:cubicBezTo>
                <a:cubicBezTo>
                  <a:pt x="202" y="1682"/>
                  <a:pt x="203" y="1680"/>
                  <a:pt x="204" y="1678"/>
                </a:cubicBezTo>
                <a:cubicBezTo>
                  <a:pt x="205" y="1677"/>
                  <a:pt x="205" y="1676"/>
                  <a:pt x="206" y="1675"/>
                </a:cubicBezTo>
                <a:cubicBezTo>
                  <a:pt x="206" y="1675"/>
                  <a:pt x="206" y="1674"/>
                  <a:pt x="207" y="1674"/>
                </a:cubicBezTo>
                <a:cubicBezTo>
                  <a:pt x="207" y="1674"/>
                  <a:pt x="208" y="1674"/>
                  <a:pt x="208" y="1674"/>
                </a:cubicBezTo>
                <a:cubicBezTo>
                  <a:pt x="209" y="1675"/>
                  <a:pt x="209" y="1675"/>
                  <a:pt x="210" y="1676"/>
                </a:cubicBezTo>
                <a:cubicBezTo>
                  <a:pt x="211" y="1676"/>
                  <a:pt x="211" y="1677"/>
                  <a:pt x="212" y="1678"/>
                </a:cubicBezTo>
                <a:cubicBezTo>
                  <a:pt x="213" y="1678"/>
                  <a:pt x="213" y="1679"/>
                  <a:pt x="214" y="1679"/>
                </a:cubicBezTo>
                <a:cubicBezTo>
                  <a:pt x="214" y="1680"/>
                  <a:pt x="215" y="1680"/>
                  <a:pt x="215" y="1681"/>
                </a:cubicBezTo>
                <a:cubicBezTo>
                  <a:pt x="215" y="1681"/>
                  <a:pt x="215" y="1682"/>
                  <a:pt x="215" y="1682"/>
                </a:cubicBezTo>
                <a:cubicBezTo>
                  <a:pt x="216" y="1683"/>
                  <a:pt x="216" y="1683"/>
                  <a:pt x="216" y="1684"/>
                </a:cubicBezTo>
                <a:cubicBezTo>
                  <a:pt x="216" y="1684"/>
                  <a:pt x="215" y="1685"/>
                  <a:pt x="215" y="1687"/>
                </a:cubicBezTo>
                <a:cubicBezTo>
                  <a:pt x="214" y="1689"/>
                  <a:pt x="213" y="1691"/>
                  <a:pt x="211" y="1694"/>
                </a:cubicBezTo>
                <a:cubicBezTo>
                  <a:pt x="210" y="1697"/>
                  <a:pt x="208" y="1699"/>
                  <a:pt x="206" y="1703"/>
                </a:cubicBezTo>
                <a:cubicBezTo>
                  <a:pt x="203" y="1706"/>
                  <a:pt x="201" y="1709"/>
                  <a:pt x="198" y="1712"/>
                </a:cubicBezTo>
                <a:cubicBezTo>
                  <a:pt x="192" y="1717"/>
                  <a:pt x="187" y="1721"/>
                  <a:pt x="182" y="1724"/>
                </a:cubicBezTo>
                <a:cubicBezTo>
                  <a:pt x="176" y="1726"/>
                  <a:pt x="171" y="1727"/>
                  <a:pt x="165" y="1727"/>
                </a:cubicBezTo>
                <a:cubicBezTo>
                  <a:pt x="159" y="1727"/>
                  <a:pt x="154" y="1725"/>
                  <a:pt x="148" y="1722"/>
                </a:cubicBezTo>
                <a:cubicBezTo>
                  <a:pt x="142" y="1719"/>
                  <a:pt x="136" y="1715"/>
                  <a:pt x="130" y="1709"/>
                </a:cubicBezTo>
                <a:cubicBezTo>
                  <a:pt x="125" y="1704"/>
                  <a:pt x="120" y="1698"/>
                  <a:pt x="117" y="1692"/>
                </a:cubicBezTo>
                <a:cubicBezTo>
                  <a:pt x="114" y="1686"/>
                  <a:pt x="113" y="1680"/>
                  <a:pt x="112" y="1674"/>
                </a:cubicBezTo>
                <a:cubicBezTo>
                  <a:pt x="112" y="1669"/>
                  <a:pt x="113" y="1663"/>
                  <a:pt x="115" y="1658"/>
                </a:cubicBezTo>
                <a:cubicBezTo>
                  <a:pt x="117" y="1652"/>
                  <a:pt x="121" y="1647"/>
                  <a:pt x="125" y="1642"/>
                </a:cubicBezTo>
                <a:cubicBezTo>
                  <a:pt x="131" y="1637"/>
                  <a:pt x="136" y="1634"/>
                  <a:pt x="141" y="1632"/>
                </a:cubicBezTo>
                <a:cubicBezTo>
                  <a:pt x="146" y="1630"/>
                  <a:pt x="151" y="1629"/>
                  <a:pt x="156" y="1629"/>
                </a:cubicBezTo>
                <a:cubicBezTo>
                  <a:pt x="161" y="1630"/>
                  <a:pt x="166" y="1631"/>
                  <a:pt x="171" y="1634"/>
                </a:cubicBezTo>
                <a:cubicBezTo>
                  <a:pt x="176" y="1637"/>
                  <a:pt x="180" y="1640"/>
                  <a:pt x="184" y="1644"/>
                </a:cubicBezTo>
                <a:lnTo>
                  <a:pt x="187" y="1647"/>
                </a:lnTo>
                <a:close/>
                <a:moveTo>
                  <a:pt x="171" y="1655"/>
                </a:moveTo>
                <a:cubicBezTo>
                  <a:pt x="165" y="1649"/>
                  <a:pt x="159" y="1645"/>
                  <a:pt x="152" y="1644"/>
                </a:cubicBezTo>
                <a:cubicBezTo>
                  <a:pt x="146" y="1644"/>
                  <a:pt x="140" y="1646"/>
                  <a:pt x="134" y="1652"/>
                </a:cubicBezTo>
                <a:cubicBezTo>
                  <a:pt x="131" y="1655"/>
                  <a:pt x="129" y="1658"/>
                  <a:pt x="128" y="1661"/>
                </a:cubicBezTo>
                <a:cubicBezTo>
                  <a:pt x="127" y="1665"/>
                  <a:pt x="127" y="1668"/>
                  <a:pt x="127" y="1671"/>
                </a:cubicBezTo>
                <a:cubicBezTo>
                  <a:pt x="127" y="1675"/>
                  <a:pt x="128" y="1678"/>
                  <a:pt x="130" y="1681"/>
                </a:cubicBezTo>
                <a:cubicBezTo>
                  <a:pt x="131" y="1685"/>
                  <a:pt x="133" y="1687"/>
                  <a:pt x="136" y="1690"/>
                </a:cubicBezTo>
                <a:lnTo>
                  <a:pt x="171" y="1655"/>
                </a:lnTo>
                <a:close/>
                <a:moveTo>
                  <a:pt x="301" y="1602"/>
                </a:moveTo>
                <a:cubicBezTo>
                  <a:pt x="302" y="1602"/>
                  <a:pt x="302" y="1603"/>
                  <a:pt x="302" y="1603"/>
                </a:cubicBezTo>
                <a:cubicBezTo>
                  <a:pt x="302" y="1604"/>
                  <a:pt x="302" y="1604"/>
                  <a:pt x="302" y="1605"/>
                </a:cubicBezTo>
                <a:cubicBezTo>
                  <a:pt x="302" y="1605"/>
                  <a:pt x="301" y="1606"/>
                  <a:pt x="301" y="1607"/>
                </a:cubicBezTo>
                <a:cubicBezTo>
                  <a:pt x="300" y="1608"/>
                  <a:pt x="299" y="1609"/>
                  <a:pt x="298" y="1610"/>
                </a:cubicBezTo>
                <a:cubicBezTo>
                  <a:pt x="297" y="1611"/>
                  <a:pt x="296" y="1612"/>
                  <a:pt x="295" y="1613"/>
                </a:cubicBezTo>
                <a:cubicBezTo>
                  <a:pt x="294" y="1614"/>
                  <a:pt x="293" y="1614"/>
                  <a:pt x="292" y="1614"/>
                </a:cubicBezTo>
                <a:cubicBezTo>
                  <a:pt x="292" y="1614"/>
                  <a:pt x="291" y="1615"/>
                  <a:pt x="291" y="1615"/>
                </a:cubicBezTo>
                <a:cubicBezTo>
                  <a:pt x="290" y="1614"/>
                  <a:pt x="290" y="1614"/>
                  <a:pt x="290" y="1614"/>
                </a:cubicBezTo>
                <a:lnTo>
                  <a:pt x="252" y="1576"/>
                </a:lnTo>
                <a:cubicBezTo>
                  <a:pt x="248" y="1572"/>
                  <a:pt x="245" y="1570"/>
                  <a:pt x="242" y="1568"/>
                </a:cubicBezTo>
                <a:cubicBezTo>
                  <a:pt x="239" y="1566"/>
                  <a:pt x="236" y="1565"/>
                  <a:pt x="234" y="1565"/>
                </a:cubicBezTo>
                <a:cubicBezTo>
                  <a:pt x="231" y="1564"/>
                  <a:pt x="228" y="1564"/>
                  <a:pt x="226" y="1565"/>
                </a:cubicBezTo>
                <a:cubicBezTo>
                  <a:pt x="223" y="1566"/>
                  <a:pt x="221" y="1568"/>
                  <a:pt x="218" y="1570"/>
                </a:cubicBezTo>
                <a:cubicBezTo>
                  <a:pt x="215" y="1573"/>
                  <a:pt x="213" y="1577"/>
                  <a:pt x="213" y="1582"/>
                </a:cubicBezTo>
                <a:cubicBezTo>
                  <a:pt x="212" y="1587"/>
                  <a:pt x="212" y="1593"/>
                  <a:pt x="212" y="1601"/>
                </a:cubicBezTo>
                <a:lnTo>
                  <a:pt x="258" y="1646"/>
                </a:lnTo>
                <a:cubicBezTo>
                  <a:pt x="258" y="1646"/>
                  <a:pt x="258" y="1647"/>
                  <a:pt x="258" y="1647"/>
                </a:cubicBezTo>
                <a:cubicBezTo>
                  <a:pt x="258" y="1647"/>
                  <a:pt x="258" y="1648"/>
                  <a:pt x="258" y="1649"/>
                </a:cubicBezTo>
                <a:cubicBezTo>
                  <a:pt x="258" y="1649"/>
                  <a:pt x="257" y="1650"/>
                  <a:pt x="257" y="1651"/>
                </a:cubicBezTo>
                <a:cubicBezTo>
                  <a:pt x="256" y="1652"/>
                  <a:pt x="255" y="1653"/>
                  <a:pt x="254" y="1654"/>
                </a:cubicBezTo>
                <a:cubicBezTo>
                  <a:pt x="253" y="1655"/>
                  <a:pt x="252" y="1656"/>
                  <a:pt x="251" y="1657"/>
                </a:cubicBezTo>
                <a:cubicBezTo>
                  <a:pt x="250" y="1657"/>
                  <a:pt x="249" y="1658"/>
                  <a:pt x="249" y="1658"/>
                </a:cubicBezTo>
                <a:cubicBezTo>
                  <a:pt x="248" y="1658"/>
                  <a:pt x="247" y="1658"/>
                  <a:pt x="247" y="1658"/>
                </a:cubicBezTo>
                <a:cubicBezTo>
                  <a:pt x="247" y="1658"/>
                  <a:pt x="246" y="1658"/>
                  <a:pt x="246" y="1658"/>
                </a:cubicBezTo>
                <a:lnTo>
                  <a:pt x="181" y="1593"/>
                </a:lnTo>
                <a:cubicBezTo>
                  <a:pt x="181" y="1593"/>
                  <a:pt x="181" y="1592"/>
                  <a:pt x="180" y="1592"/>
                </a:cubicBezTo>
                <a:cubicBezTo>
                  <a:pt x="180" y="1591"/>
                  <a:pt x="180" y="1591"/>
                  <a:pt x="181" y="1590"/>
                </a:cubicBezTo>
                <a:cubicBezTo>
                  <a:pt x="181" y="1590"/>
                  <a:pt x="181" y="1589"/>
                  <a:pt x="182" y="1588"/>
                </a:cubicBezTo>
                <a:cubicBezTo>
                  <a:pt x="182" y="1587"/>
                  <a:pt x="183" y="1586"/>
                  <a:pt x="184" y="1585"/>
                </a:cubicBezTo>
                <a:cubicBezTo>
                  <a:pt x="185" y="1584"/>
                  <a:pt x="186" y="1583"/>
                  <a:pt x="187" y="1583"/>
                </a:cubicBezTo>
                <a:cubicBezTo>
                  <a:pt x="188" y="1582"/>
                  <a:pt x="188" y="1582"/>
                  <a:pt x="189" y="1582"/>
                </a:cubicBezTo>
                <a:cubicBezTo>
                  <a:pt x="190" y="1582"/>
                  <a:pt x="190" y="1581"/>
                  <a:pt x="191" y="1582"/>
                </a:cubicBezTo>
                <a:cubicBezTo>
                  <a:pt x="191" y="1582"/>
                  <a:pt x="191" y="1582"/>
                  <a:pt x="192" y="1582"/>
                </a:cubicBezTo>
                <a:lnTo>
                  <a:pt x="200" y="1591"/>
                </a:lnTo>
                <a:cubicBezTo>
                  <a:pt x="200" y="1583"/>
                  <a:pt x="201" y="1577"/>
                  <a:pt x="202" y="1571"/>
                </a:cubicBezTo>
                <a:cubicBezTo>
                  <a:pt x="204" y="1566"/>
                  <a:pt x="207" y="1561"/>
                  <a:pt x="210" y="1557"/>
                </a:cubicBezTo>
                <a:cubicBezTo>
                  <a:pt x="215" y="1553"/>
                  <a:pt x="219" y="1550"/>
                  <a:pt x="224" y="1549"/>
                </a:cubicBezTo>
                <a:cubicBezTo>
                  <a:pt x="228" y="1547"/>
                  <a:pt x="232" y="1547"/>
                  <a:pt x="237" y="1547"/>
                </a:cubicBezTo>
                <a:cubicBezTo>
                  <a:pt x="241" y="1548"/>
                  <a:pt x="245" y="1549"/>
                  <a:pt x="249" y="1552"/>
                </a:cubicBezTo>
                <a:cubicBezTo>
                  <a:pt x="253" y="1554"/>
                  <a:pt x="257" y="1558"/>
                  <a:pt x="262" y="1563"/>
                </a:cubicBezTo>
                <a:lnTo>
                  <a:pt x="301" y="1602"/>
                </a:lnTo>
                <a:close/>
                <a:moveTo>
                  <a:pt x="345" y="1488"/>
                </a:moveTo>
                <a:cubicBezTo>
                  <a:pt x="347" y="1490"/>
                  <a:pt x="348" y="1492"/>
                  <a:pt x="348" y="1494"/>
                </a:cubicBezTo>
                <a:cubicBezTo>
                  <a:pt x="347" y="1495"/>
                  <a:pt x="347" y="1497"/>
                  <a:pt x="346" y="1498"/>
                </a:cubicBezTo>
                <a:lnTo>
                  <a:pt x="303" y="1541"/>
                </a:lnTo>
                <a:cubicBezTo>
                  <a:pt x="307" y="1544"/>
                  <a:pt x="310" y="1547"/>
                  <a:pt x="314" y="1549"/>
                </a:cubicBezTo>
                <a:cubicBezTo>
                  <a:pt x="317" y="1551"/>
                  <a:pt x="321" y="1553"/>
                  <a:pt x="325" y="1553"/>
                </a:cubicBezTo>
                <a:cubicBezTo>
                  <a:pt x="329" y="1553"/>
                  <a:pt x="332" y="1553"/>
                  <a:pt x="336" y="1551"/>
                </a:cubicBezTo>
                <a:cubicBezTo>
                  <a:pt x="340" y="1549"/>
                  <a:pt x="344" y="1547"/>
                  <a:pt x="348" y="1543"/>
                </a:cubicBezTo>
                <a:cubicBezTo>
                  <a:pt x="351" y="1540"/>
                  <a:pt x="353" y="1537"/>
                  <a:pt x="355" y="1534"/>
                </a:cubicBezTo>
                <a:cubicBezTo>
                  <a:pt x="357" y="1531"/>
                  <a:pt x="359" y="1528"/>
                  <a:pt x="360" y="1526"/>
                </a:cubicBezTo>
                <a:cubicBezTo>
                  <a:pt x="361" y="1524"/>
                  <a:pt x="362" y="1522"/>
                  <a:pt x="362" y="1520"/>
                </a:cubicBezTo>
                <a:cubicBezTo>
                  <a:pt x="363" y="1518"/>
                  <a:pt x="364" y="1517"/>
                  <a:pt x="364" y="1517"/>
                </a:cubicBezTo>
                <a:cubicBezTo>
                  <a:pt x="364" y="1516"/>
                  <a:pt x="365" y="1516"/>
                  <a:pt x="365" y="1516"/>
                </a:cubicBezTo>
                <a:cubicBezTo>
                  <a:pt x="366" y="1516"/>
                  <a:pt x="366" y="1516"/>
                  <a:pt x="367" y="1516"/>
                </a:cubicBezTo>
                <a:cubicBezTo>
                  <a:pt x="367" y="1516"/>
                  <a:pt x="368" y="1517"/>
                  <a:pt x="368" y="1517"/>
                </a:cubicBezTo>
                <a:cubicBezTo>
                  <a:pt x="369" y="1518"/>
                  <a:pt x="370" y="1518"/>
                  <a:pt x="371" y="1519"/>
                </a:cubicBezTo>
                <a:cubicBezTo>
                  <a:pt x="371" y="1520"/>
                  <a:pt x="372" y="1520"/>
                  <a:pt x="372" y="1521"/>
                </a:cubicBezTo>
                <a:cubicBezTo>
                  <a:pt x="373" y="1521"/>
                  <a:pt x="373" y="1522"/>
                  <a:pt x="373" y="1522"/>
                </a:cubicBezTo>
                <a:cubicBezTo>
                  <a:pt x="374" y="1523"/>
                  <a:pt x="374" y="1523"/>
                  <a:pt x="374" y="1524"/>
                </a:cubicBezTo>
                <a:cubicBezTo>
                  <a:pt x="374" y="1524"/>
                  <a:pt x="374" y="1525"/>
                  <a:pt x="374" y="1525"/>
                </a:cubicBezTo>
                <a:cubicBezTo>
                  <a:pt x="374" y="1526"/>
                  <a:pt x="374" y="1527"/>
                  <a:pt x="373" y="1529"/>
                </a:cubicBezTo>
                <a:cubicBezTo>
                  <a:pt x="372" y="1531"/>
                  <a:pt x="371" y="1533"/>
                  <a:pt x="370" y="1536"/>
                </a:cubicBezTo>
                <a:cubicBezTo>
                  <a:pt x="368" y="1538"/>
                  <a:pt x="366" y="1541"/>
                  <a:pt x="364" y="1544"/>
                </a:cubicBezTo>
                <a:cubicBezTo>
                  <a:pt x="362" y="1547"/>
                  <a:pt x="359" y="1551"/>
                  <a:pt x="356" y="1554"/>
                </a:cubicBezTo>
                <a:cubicBezTo>
                  <a:pt x="351" y="1559"/>
                  <a:pt x="345" y="1563"/>
                  <a:pt x="340" y="1565"/>
                </a:cubicBezTo>
                <a:cubicBezTo>
                  <a:pt x="334" y="1568"/>
                  <a:pt x="329" y="1569"/>
                  <a:pt x="323" y="1569"/>
                </a:cubicBezTo>
                <a:cubicBezTo>
                  <a:pt x="318" y="1569"/>
                  <a:pt x="312" y="1567"/>
                  <a:pt x="306" y="1564"/>
                </a:cubicBezTo>
                <a:cubicBezTo>
                  <a:pt x="300" y="1561"/>
                  <a:pt x="294" y="1557"/>
                  <a:pt x="289" y="1551"/>
                </a:cubicBezTo>
                <a:cubicBezTo>
                  <a:pt x="283" y="1545"/>
                  <a:pt x="279" y="1539"/>
                  <a:pt x="276" y="1534"/>
                </a:cubicBezTo>
                <a:cubicBezTo>
                  <a:pt x="273" y="1528"/>
                  <a:pt x="271" y="1522"/>
                  <a:pt x="271" y="1516"/>
                </a:cubicBezTo>
                <a:cubicBezTo>
                  <a:pt x="270" y="1510"/>
                  <a:pt x="271" y="1505"/>
                  <a:pt x="273" y="1499"/>
                </a:cubicBezTo>
                <a:cubicBezTo>
                  <a:pt x="276" y="1494"/>
                  <a:pt x="279" y="1489"/>
                  <a:pt x="284" y="1484"/>
                </a:cubicBezTo>
                <a:cubicBezTo>
                  <a:pt x="289" y="1479"/>
                  <a:pt x="294" y="1475"/>
                  <a:pt x="299" y="1473"/>
                </a:cubicBezTo>
                <a:cubicBezTo>
                  <a:pt x="304" y="1471"/>
                  <a:pt x="310" y="1471"/>
                  <a:pt x="315" y="1471"/>
                </a:cubicBezTo>
                <a:cubicBezTo>
                  <a:pt x="320" y="1472"/>
                  <a:pt x="325" y="1473"/>
                  <a:pt x="329" y="1476"/>
                </a:cubicBezTo>
                <a:cubicBezTo>
                  <a:pt x="334" y="1478"/>
                  <a:pt x="339" y="1482"/>
                  <a:pt x="343" y="1486"/>
                </a:cubicBezTo>
                <a:lnTo>
                  <a:pt x="345" y="1488"/>
                </a:lnTo>
                <a:close/>
                <a:moveTo>
                  <a:pt x="330" y="1497"/>
                </a:moveTo>
                <a:cubicBezTo>
                  <a:pt x="324" y="1490"/>
                  <a:pt x="317" y="1487"/>
                  <a:pt x="311" y="1486"/>
                </a:cubicBezTo>
                <a:cubicBezTo>
                  <a:pt x="304" y="1485"/>
                  <a:pt x="298" y="1488"/>
                  <a:pt x="292" y="1494"/>
                </a:cubicBezTo>
                <a:cubicBezTo>
                  <a:pt x="290" y="1497"/>
                  <a:pt x="288" y="1500"/>
                  <a:pt x="286" y="1503"/>
                </a:cubicBezTo>
                <a:cubicBezTo>
                  <a:pt x="285" y="1506"/>
                  <a:pt x="285" y="1510"/>
                  <a:pt x="285" y="1513"/>
                </a:cubicBezTo>
                <a:cubicBezTo>
                  <a:pt x="286" y="1516"/>
                  <a:pt x="287" y="1520"/>
                  <a:pt x="288" y="1523"/>
                </a:cubicBezTo>
                <a:cubicBezTo>
                  <a:pt x="290" y="1526"/>
                  <a:pt x="292" y="1529"/>
                  <a:pt x="294" y="1532"/>
                </a:cubicBezTo>
                <a:lnTo>
                  <a:pt x="330" y="1497"/>
                </a:lnTo>
                <a:close/>
                <a:moveTo>
                  <a:pt x="430" y="1344"/>
                </a:moveTo>
                <a:cubicBezTo>
                  <a:pt x="430" y="1344"/>
                  <a:pt x="431" y="1345"/>
                  <a:pt x="431" y="1345"/>
                </a:cubicBezTo>
                <a:cubicBezTo>
                  <a:pt x="431" y="1346"/>
                  <a:pt x="432" y="1347"/>
                  <a:pt x="432" y="1348"/>
                </a:cubicBezTo>
                <a:lnTo>
                  <a:pt x="475" y="1428"/>
                </a:lnTo>
                <a:cubicBezTo>
                  <a:pt x="475" y="1429"/>
                  <a:pt x="475" y="1429"/>
                  <a:pt x="475" y="1430"/>
                </a:cubicBezTo>
                <a:cubicBezTo>
                  <a:pt x="475" y="1431"/>
                  <a:pt x="475" y="1431"/>
                  <a:pt x="475" y="1432"/>
                </a:cubicBezTo>
                <a:cubicBezTo>
                  <a:pt x="474" y="1433"/>
                  <a:pt x="474" y="1434"/>
                  <a:pt x="473" y="1435"/>
                </a:cubicBezTo>
                <a:cubicBezTo>
                  <a:pt x="472" y="1436"/>
                  <a:pt x="471" y="1437"/>
                  <a:pt x="469" y="1439"/>
                </a:cubicBezTo>
                <a:cubicBezTo>
                  <a:pt x="468" y="1440"/>
                  <a:pt x="467" y="1441"/>
                  <a:pt x="465" y="1442"/>
                </a:cubicBezTo>
                <a:cubicBezTo>
                  <a:pt x="464" y="1443"/>
                  <a:pt x="463" y="1444"/>
                  <a:pt x="463" y="1444"/>
                </a:cubicBezTo>
                <a:cubicBezTo>
                  <a:pt x="462" y="1445"/>
                  <a:pt x="461" y="1445"/>
                  <a:pt x="460" y="1445"/>
                </a:cubicBezTo>
                <a:cubicBezTo>
                  <a:pt x="460" y="1445"/>
                  <a:pt x="459" y="1444"/>
                  <a:pt x="459" y="1444"/>
                </a:cubicBezTo>
                <a:lnTo>
                  <a:pt x="398" y="1411"/>
                </a:lnTo>
                <a:lnTo>
                  <a:pt x="397" y="1410"/>
                </a:lnTo>
                <a:lnTo>
                  <a:pt x="398" y="1411"/>
                </a:lnTo>
                <a:lnTo>
                  <a:pt x="432" y="1471"/>
                </a:lnTo>
                <a:cubicBezTo>
                  <a:pt x="433" y="1471"/>
                  <a:pt x="433" y="1472"/>
                  <a:pt x="433" y="1472"/>
                </a:cubicBezTo>
                <a:cubicBezTo>
                  <a:pt x="433" y="1473"/>
                  <a:pt x="433" y="1474"/>
                  <a:pt x="432" y="1475"/>
                </a:cubicBezTo>
                <a:cubicBezTo>
                  <a:pt x="432" y="1475"/>
                  <a:pt x="431" y="1476"/>
                  <a:pt x="430" y="1477"/>
                </a:cubicBezTo>
                <a:cubicBezTo>
                  <a:pt x="429" y="1479"/>
                  <a:pt x="428" y="1480"/>
                  <a:pt x="427" y="1481"/>
                </a:cubicBezTo>
                <a:cubicBezTo>
                  <a:pt x="425" y="1483"/>
                  <a:pt x="424" y="1484"/>
                  <a:pt x="423" y="1485"/>
                </a:cubicBezTo>
                <a:cubicBezTo>
                  <a:pt x="422" y="1486"/>
                  <a:pt x="421" y="1486"/>
                  <a:pt x="420" y="1487"/>
                </a:cubicBezTo>
                <a:cubicBezTo>
                  <a:pt x="419" y="1487"/>
                  <a:pt x="419" y="1487"/>
                  <a:pt x="418" y="1487"/>
                </a:cubicBezTo>
                <a:cubicBezTo>
                  <a:pt x="417" y="1487"/>
                  <a:pt x="417" y="1487"/>
                  <a:pt x="416" y="1487"/>
                </a:cubicBezTo>
                <a:lnTo>
                  <a:pt x="336" y="1444"/>
                </a:lnTo>
                <a:cubicBezTo>
                  <a:pt x="335" y="1444"/>
                  <a:pt x="334" y="1443"/>
                  <a:pt x="334" y="1443"/>
                </a:cubicBezTo>
                <a:cubicBezTo>
                  <a:pt x="333" y="1442"/>
                  <a:pt x="333" y="1442"/>
                  <a:pt x="332" y="1442"/>
                </a:cubicBezTo>
                <a:cubicBezTo>
                  <a:pt x="332" y="1441"/>
                  <a:pt x="332" y="1441"/>
                  <a:pt x="331" y="1440"/>
                </a:cubicBezTo>
                <a:cubicBezTo>
                  <a:pt x="331" y="1440"/>
                  <a:pt x="332" y="1439"/>
                  <a:pt x="332" y="1439"/>
                </a:cubicBezTo>
                <a:cubicBezTo>
                  <a:pt x="332" y="1438"/>
                  <a:pt x="333" y="1437"/>
                  <a:pt x="333" y="1437"/>
                </a:cubicBezTo>
                <a:cubicBezTo>
                  <a:pt x="334" y="1436"/>
                  <a:pt x="335" y="1435"/>
                  <a:pt x="336" y="1434"/>
                </a:cubicBezTo>
                <a:cubicBezTo>
                  <a:pt x="337" y="1432"/>
                  <a:pt x="338" y="1431"/>
                  <a:pt x="339" y="1431"/>
                </a:cubicBezTo>
                <a:cubicBezTo>
                  <a:pt x="340" y="1430"/>
                  <a:pt x="341" y="1429"/>
                  <a:pt x="342" y="1429"/>
                </a:cubicBezTo>
                <a:cubicBezTo>
                  <a:pt x="342" y="1429"/>
                  <a:pt x="343" y="1429"/>
                  <a:pt x="343" y="1429"/>
                </a:cubicBezTo>
                <a:cubicBezTo>
                  <a:pt x="344" y="1429"/>
                  <a:pt x="344" y="1429"/>
                  <a:pt x="345" y="1429"/>
                </a:cubicBezTo>
                <a:lnTo>
                  <a:pt x="414" y="1467"/>
                </a:lnTo>
                <a:lnTo>
                  <a:pt x="415" y="1468"/>
                </a:lnTo>
                <a:lnTo>
                  <a:pt x="414" y="1467"/>
                </a:lnTo>
                <a:lnTo>
                  <a:pt x="375" y="1399"/>
                </a:lnTo>
                <a:cubicBezTo>
                  <a:pt x="375" y="1399"/>
                  <a:pt x="374" y="1398"/>
                  <a:pt x="374" y="1398"/>
                </a:cubicBezTo>
                <a:cubicBezTo>
                  <a:pt x="374" y="1397"/>
                  <a:pt x="374" y="1397"/>
                  <a:pt x="375" y="1396"/>
                </a:cubicBezTo>
                <a:cubicBezTo>
                  <a:pt x="375" y="1395"/>
                  <a:pt x="375" y="1395"/>
                  <a:pt x="376" y="1394"/>
                </a:cubicBezTo>
                <a:cubicBezTo>
                  <a:pt x="377" y="1393"/>
                  <a:pt x="378" y="1392"/>
                  <a:pt x="379" y="1391"/>
                </a:cubicBezTo>
                <a:cubicBezTo>
                  <a:pt x="380" y="1390"/>
                  <a:pt x="381" y="1389"/>
                  <a:pt x="382" y="1388"/>
                </a:cubicBezTo>
                <a:cubicBezTo>
                  <a:pt x="383" y="1387"/>
                  <a:pt x="383" y="1387"/>
                  <a:pt x="384" y="1387"/>
                </a:cubicBezTo>
                <a:cubicBezTo>
                  <a:pt x="384" y="1386"/>
                  <a:pt x="385" y="1386"/>
                  <a:pt x="386" y="1386"/>
                </a:cubicBezTo>
                <a:cubicBezTo>
                  <a:pt x="386" y="1387"/>
                  <a:pt x="386" y="1387"/>
                  <a:pt x="387" y="1387"/>
                </a:cubicBezTo>
                <a:lnTo>
                  <a:pt x="456" y="1425"/>
                </a:lnTo>
                <a:lnTo>
                  <a:pt x="457" y="1426"/>
                </a:lnTo>
                <a:lnTo>
                  <a:pt x="456" y="1425"/>
                </a:lnTo>
                <a:lnTo>
                  <a:pt x="418" y="1356"/>
                </a:lnTo>
                <a:cubicBezTo>
                  <a:pt x="418" y="1356"/>
                  <a:pt x="418" y="1355"/>
                  <a:pt x="417" y="1355"/>
                </a:cubicBezTo>
                <a:cubicBezTo>
                  <a:pt x="417" y="1354"/>
                  <a:pt x="417" y="1353"/>
                  <a:pt x="418" y="1353"/>
                </a:cubicBezTo>
                <a:cubicBezTo>
                  <a:pt x="418" y="1352"/>
                  <a:pt x="419" y="1352"/>
                  <a:pt x="419" y="1351"/>
                </a:cubicBezTo>
                <a:cubicBezTo>
                  <a:pt x="420" y="1350"/>
                  <a:pt x="421" y="1349"/>
                  <a:pt x="422" y="1347"/>
                </a:cubicBezTo>
                <a:cubicBezTo>
                  <a:pt x="423" y="1346"/>
                  <a:pt x="424" y="1345"/>
                  <a:pt x="425" y="1345"/>
                </a:cubicBezTo>
                <a:cubicBezTo>
                  <a:pt x="426" y="1344"/>
                  <a:pt x="426" y="1344"/>
                  <a:pt x="427" y="1344"/>
                </a:cubicBezTo>
                <a:cubicBezTo>
                  <a:pt x="428" y="1343"/>
                  <a:pt x="428" y="1343"/>
                  <a:pt x="429" y="1343"/>
                </a:cubicBezTo>
                <a:cubicBezTo>
                  <a:pt x="429" y="1343"/>
                  <a:pt x="429" y="1344"/>
                  <a:pt x="430" y="1344"/>
                </a:cubicBezTo>
                <a:close/>
                <a:moveTo>
                  <a:pt x="555" y="1349"/>
                </a:moveTo>
                <a:cubicBezTo>
                  <a:pt x="555" y="1349"/>
                  <a:pt x="556" y="1350"/>
                  <a:pt x="555" y="1351"/>
                </a:cubicBezTo>
                <a:cubicBezTo>
                  <a:pt x="555" y="1351"/>
                  <a:pt x="555" y="1352"/>
                  <a:pt x="555" y="1353"/>
                </a:cubicBezTo>
                <a:cubicBezTo>
                  <a:pt x="554" y="1354"/>
                  <a:pt x="553" y="1355"/>
                  <a:pt x="552" y="1356"/>
                </a:cubicBezTo>
                <a:cubicBezTo>
                  <a:pt x="551" y="1357"/>
                  <a:pt x="550" y="1358"/>
                  <a:pt x="549" y="1359"/>
                </a:cubicBezTo>
                <a:cubicBezTo>
                  <a:pt x="548" y="1359"/>
                  <a:pt x="547" y="1360"/>
                  <a:pt x="546" y="1360"/>
                </a:cubicBezTo>
                <a:cubicBezTo>
                  <a:pt x="546" y="1360"/>
                  <a:pt x="545" y="1360"/>
                  <a:pt x="545" y="1359"/>
                </a:cubicBezTo>
                <a:lnTo>
                  <a:pt x="538" y="1353"/>
                </a:lnTo>
                <a:cubicBezTo>
                  <a:pt x="538" y="1358"/>
                  <a:pt x="537" y="1364"/>
                  <a:pt x="536" y="1369"/>
                </a:cubicBezTo>
                <a:cubicBezTo>
                  <a:pt x="534" y="1374"/>
                  <a:pt x="531" y="1379"/>
                  <a:pt x="527" y="1383"/>
                </a:cubicBezTo>
                <a:cubicBezTo>
                  <a:pt x="524" y="1386"/>
                  <a:pt x="520" y="1389"/>
                  <a:pt x="517" y="1390"/>
                </a:cubicBezTo>
                <a:cubicBezTo>
                  <a:pt x="513" y="1392"/>
                  <a:pt x="509" y="1393"/>
                  <a:pt x="506" y="1394"/>
                </a:cubicBezTo>
                <a:cubicBezTo>
                  <a:pt x="502" y="1394"/>
                  <a:pt x="499" y="1393"/>
                  <a:pt x="495" y="1392"/>
                </a:cubicBezTo>
                <a:cubicBezTo>
                  <a:pt x="492" y="1391"/>
                  <a:pt x="488" y="1388"/>
                  <a:pt x="485" y="1385"/>
                </a:cubicBezTo>
                <a:cubicBezTo>
                  <a:pt x="481" y="1382"/>
                  <a:pt x="479" y="1378"/>
                  <a:pt x="478" y="1374"/>
                </a:cubicBezTo>
                <a:cubicBezTo>
                  <a:pt x="477" y="1369"/>
                  <a:pt x="477" y="1365"/>
                  <a:pt x="478" y="1360"/>
                </a:cubicBezTo>
                <a:cubicBezTo>
                  <a:pt x="479" y="1356"/>
                  <a:pt x="481" y="1351"/>
                  <a:pt x="484" y="1346"/>
                </a:cubicBezTo>
                <a:cubicBezTo>
                  <a:pt x="487" y="1341"/>
                  <a:pt x="491" y="1336"/>
                  <a:pt x="496" y="1331"/>
                </a:cubicBezTo>
                <a:lnTo>
                  <a:pt x="505" y="1323"/>
                </a:lnTo>
                <a:lnTo>
                  <a:pt x="500" y="1317"/>
                </a:lnTo>
                <a:cubicBezTo>
                  <a:pt x="497" y="1315"/>
                  <a:pt x="495" y="1313"/>
                  <a:pt x="493" y="1312"/>
                </a:cubicBezTo>
                <a:cubicBezTo>
                  <a:pt x="490" y="1310"/>
                  <a:pt x="488" y="1310"/>
                  <a:pt x="485" y="1309"/>
                </a:cubicBezTo>
                <a:cubicBezTo>
                  <a:pt x="483" y="1309"/>
                  <a:pt x="480" y="1310"/>
                  <a:pt x="478" y="1311"/>
                </a:cubicBezTo>
                <a:cubicBezTo>
                  <a:pt x="475" y="1312"/>
                  <a:pt x="473" y="1314"/>
                  <a:pt x="470" y="1317"/>
                </a:cubicBezTo>
                <a:cubicBezTo>
                  <a:pt x="467" y="1320"/>
                  <a:pt x="465" y="1323"/>
                  <a:pt x="463" y="1326"/>
                </a:cubicBezTo>
                <a:cubicBezTo>
                  <a:pt x="461" y="1329"/>
                  <a:pt x="460" y="1332"/>
                  <a:pt x="459" y="1334"/>
                </a:cubicBezTo>
                <a:cubicBezTo>
                  <a:pt x="458" y="1337"/>
                  <a:pt x="458" y="1339"/>
                  <a:pt x="457" y="1341"/>
                </a:cubicBezTo>
                <a:cubicBezTo>
                  <a:pt x="457" y="1343"/>
                  <a:pt x="456" y="1344"/>
                  <a:pt x="456" y="1345"/>
                </a:cubicBezTo>
                <a:cubicBezTo>
                  <a:pt x="455" y="1345"/>
                  <a:pt x="455" y="1345"/>
                  <a:pt x="454" y="1345"/>
                </a:cubicBezTo>
                <a:cubicBezTo>
                  <a:pt x="454" y="1346"/>
                  <a:pt x="453" y="1345"/>
                  <a:pt x="453" y="1345"/>
                </a:cubicBezTo>
                <a:cubicBezTo>
                  <a:pt x="452" y="1345"/>
                  <a:pt x="451" y="1345"/>
                  <a:pt x="451" y="1344"/>
                </a:cubicBezTo>
                <a:cubicBezTo>
                  <a:pt x="450" y="1344"/>
                  <a:pt x="449" y="1343"/>
                  <a:pt x="449" y="1342"/>
                </a:cubicBezTo>
                <a:cubicBezTo>
                  <a:pt x="447" y="1341"/>
                  <a:pt x="447" y="1340"/>
                  <a:pt x="446" y="1339"/>
                </a:cubicBezTo>
                <a:cubicBezTo>
                  <a:pt x="446" y="1339"/>
                  <a:pt x="445" y="1337"/>
                  <a:pt x="445" y="1336"/>
                </a:cubicBezTo>
                <a:cubicBezTo>
                  <a:pt x="445" y="1335"/>
                  <a:pt x="446" y="1333"/>
                  <a:pt x="446" y="1331"/>
                </a:cubicBezTo>
                <a:cubicBezTo>
                  <a:pt x="447" y="1328"/>
                  <a:pt x="448" y="1326"/>
                  <a:pt x="450" y="1323"/>
                </a:cubicBezTo>
                <a:cubicBezTo>
                  <a:pt x="451" y="1320"/>
                  <a:pt x="453" y="1317"/>
                  <a:pt x="455" y="1314"/>
                </a:cubicBezTo>
                <a:cubicBezTo>
                  <a:pt x="457" y="1312"/>
                  <a:pt x="459" y="1309"/>
                  <a:pt x="461" y="1306"/>
                </a:cubicBezTo>
                <a:cubicBezTo>
                  <a:pt x="466" y="1302"/>
                  <a:pt x="470" y="1298"/>
                  <a:pt x="475" y="1296"/>
                </a:cubicBezTo>
                <a:cubicBezTo>
                  <a:pt x="479" y="1294"/>
                  <a:pt x="483" y="1293"/>
                  <a:pt x="487" y="1293"/>
                </a:cubicBezTo>
                <a:cubicBezTo>
                  <a:pt x="491" y="1293"/>
                  <a:pt x="495" y="1294"/>
                  <a:pt x="499" y="1296"/>
                </a:cubicBezTo>
                <a:cubicBezTo>
                  <a:pt x="503" y="1298"/>
                  <a:pt x="507" y="1301"/>
                  <a:pt x="511" y="1305"/>
                </a:cubicBezTo>
                <a:lnTo>
                  <a:pt x="555" y="1349"/>
                </a:lnTo>
                <a:close/>
                <a:moveTo>
                  <a:pt x="513" y="1331"/>
                </a:moveTo>
                <a:lnTo>
                  <a:pt x="503" y="1341"/>
                </a:lnTo>
                <a:cubicBezTo>
                  <a:pt x="500" y="1344"/>
                  <a:pt x="498" y="1348"/>
                  <a:pt x="496" y="1350"/>
                </a:cubicBezTo>
                <a:cubicBezTo>
                  <a:pt x="494" y="1353"/>
                  <a:pt x="493" y="1356"/>
                  <a:pt x="492" y="1359"/>
                </a:cubicBezTo>
                <a:cubicBezTo>
                  <a:pt x="492" y="1362"/>
                  <a:pt x="492" y="1364"/>
                  <a:pt x="493" y="1366"/>
                </a:cubicBezTo>
                <a:cubicBezTo>
                  <a:pt x="493" y="1368"/>
                  <a:pt x="495" y="1371"/>
                  <a:pt x="497" y="1373"/>
                </a:cubicBezTo>
                <a:cubicBezTo>
                  <a:pt x="500" y="1376"/>
                  <a:pt x="504" y="1378"/>
                  <a:pt x="508" y="1377"/>
                </a:cubicBezTo>
                <a:cubicBezTo>
                  <a:pt x="512" y="1377"/>
                  <a:pt x="516" y="1375"/>
                  <a:pt x="520" y="1371"/>
                </a:cubicBezTo>
                <a:cubicBezTo>
                  <a:pt x="523" y="1368"/>
                  <a:pt x="525" y="1365"/>
                  <a:pt x="526" y="1360"/>
                </a:cubicBezTo>
                <a:cubicBezTo>
                  <a:pt x="527" y="1356"/>
                  <a:pt x="528" y="1351"/>
                  <a:pt x="527" y="1345"/>
                </a:cubicBezTo>
                <a:lnTo>
                  <a:pt x="513" y="1331"/>
                </a:lnTo>
                <a:close/>
                <a:moveTo>
                  <a:pt x="600" y="1237"/>
                </a:moveTo>
                <a:cubicBezTo>
                  <a:pt x="606" y="1242"/>
                  <a:pt x="610" y="1248"/>
                  <a:pt x="613" y="1254"/>
                </a:cubicBezTo>
                <a:cubicBezTo>
                  <a:pt x="617" y="1260"/>
                  <a:pt x="619" y="1265"/>
                  <a:pt x="620" y="1271"/>
                </a:cubicBezTo>
                <a:cubicBezTo>
                  <a:pt x="620" y="1276"/>
                  <a:pt x="620" y="1282"/>
                  <a:pt x="618" y="1287"/>
                </a:cubicBezTo>
                <a:cubicBezTo>
                  <a:pt x="616" y="1292"/>
                  <a:pt x="613" y="1297"/>
                  <a:pt x="609" y="1301"/>
                </a:cubicBezTo>
                <a:cubicBezTo>
                  <a:pt x="607" y="1303"/>
                  <a:pt x="605" y="1305"/>
                  <a:pt x="602" y="1306"/>
                </a:cubicBezTo>
                <a:cubicBezTo>
                  <a:pt x="600" y="1307"/>
                  <a:pt x="598" y="1309"/>
                  <a:pt x="595" y="1309"/>
                </a:cubicBezTo>
                <a:cubicBezTo>
                  <a:pt x="593" y="1310"/>
                  <a:pt x="590" y="1311"/>
                  <a:pt x="587" y="1311"/>
                </a:cubicBezTo>
                <a:cubicBezTo>
                  <a:pt x="584" y="1311"/>
                  <a:pt x="580" y="1311"/>
                  <a:pt x="576" y="1311"/>
                </a:cubicBezTo>
                <a:lnTo>
                  <a:pt x="584" y="1319"/>
                </a:lnTo>
                <a:cubicBezTo>
                  <a:pt x="585" y="1319"/>
                  <a:pt x="585" y="1320"/>
                  <a:pt x="585" y="1320"/>
                </a:cubicBezTo>
                <a:cubicBezTo>
                  <a:pt x="585" y="1321"/>
                  <a:pt x="585" y="1321"/>
                  <a:pt x="585" y="1322"/>
                </a:cubicBezTo>
                <a:cubicBezTo>
                  <a:pt x="585" y="1323"/>
                  <a:pt x="584" y="1323"/>
                  <a:pt x="584" y="1324"/>
                </a:cubicBezTo>
                <a:cubicBezTo>
                  <a:pt x="583" y="1325"/>
                  <a:pt x="582" y="1326"/>
                  <a:pt x="581" y="1327"/>
                </a:cubicBezTo>
                <a:cubicBezTo>
                  <a:pt x="580" y="1328"/>
                  <a:pt x="579" y="1328"/>
                  <a:pt x="579" y="1329"/>
                </a:cubicBezTo>
                <a:cubicBezTo>
                  <a:pt x="578" y="1329"/>
                  <a:pt x="577" y="1330"/>
                  <a:pt x="577" y="1330"/>
                </a:cubicBezTo>
                <a:cubicBezTo>
                  <a:pt x="576" y="1330"/>
                  <a:pt x="576" y="1330"/>
                  <a:pt x="575" y="1330"/>
                </a:cubicBezTo>
                <a:cubicBezTo>
                  <a:pt x="575" y="1330"/>
                  <a:pt x="574" y="1330"/>
                  <a:pt x="574" y="1330"/>
                </a:cubicBezTo>
                <a:lnTo>
                  <a:pt x="478" y="1234"/>
                </a:lnTo>
                <a:cubicBezTo>
                  <a:pt x="478" y="1233"/>
                  <a:pt x="477" y="1233"/>
                  <a:pt x="477" y="1232"/>
                </a:cubicBezTo>
                <a:cubicBezTo>
                  <a:pt x="477" y="1232"/>
                  <a:pt x="477" y="1231"/>
                  <a:pt x="477" y="1231"/>
                </a:cubicBezTo>
                <a:cubicBezTo>
                  <a:pt x="478" y="1230"/>
                  <a:pt x="478" y="1229"/>
                  <a:pt x="479" y="1228"/>
                </a:cubicBezTo>
                <a:cubicBezTo>
                  <a:pt x="479" y="1228"/>
                  <a:pt x="480" y="1227"/>
                  <a:pt x="482" y="1225"/>
                </a:cubicBezTo>
                <a:cubicBezTo>
                  <a:pt x="483" y="1224"/>
                  <a:pt x="484" y="1223"/>
                  <a:pt x="485" y="1223"/>
                </a:cubicBezTo>
                <a:cubicBezTo>
                  <a:pt x="485" y="1222"/>
                  <a:pt x="486" y="1221"/>
                  <a:pt x="487" y="1221"/>
                </a:cubicBezTo>
                <a:cubicBezTo>
                  <a:pt x="487" y="1221"/>
                  <a:pt x="488" y="1221"/>
                  <a:pt x="489" y="1221"/>
                </a:cubicBezTo>
                <a:cubicBezTo>
                  <a:pt x="489" y="1221"/>
                  <a:pt x="489" y="1221"/>
                  <a:pt x="490" y="1222"/>
                </a:cubicBezTo>
                <a:lnTo>
                  <a:pt x="529" y="1260"/>
                </a:lnTo>
                <a:cubicBezTo>
                  <a:pt x="528" y="1257"/>
                  <a:pt x="529" y="1253"/>
                  <a:pt x="529" y="1250"/>
                </a:cubicBezTo>
                <a:cubicBezTo>
                  <a:pt x="530" y="1247"/>
                  <a:pt x="530" y="1244"/>
                  <a:pt x="531" y="1241"/>
                </a:cubicBezTo>
                <a:cubicBezTo>
                  <a:pt x="532" y="1239"/>
                  <a:pt x="533" y="1236"/>
                  <a:pt x="534" y="1234"/>
                </a:cubicBezTo>
                <a:cubicBezTo>
                  <a:pt x="536" y="1232"/>
                  <a:pt x="537" y="1230"/>
                  <a:pt x="539" y="1228"/>
                </a:cubicBezTo>
                <a:cubicBezTo>
                  <a:pt x="544" y="1224"/>
                  <a:pt x="549" y="1221"/>
                  <a:pt x="554" y="1219"/>
                </a:cubicBezTo>
                <a:cubicBezTo>
                  <a:pt x="559" y="1218"/>
                  <a:pt x="565" y="1217"/>
                  <a:pt x="570" y="1219"/>
                </a:cubicBezTo>
                <a:cubicBezTo>
                  <a:pt x="575" y="1220"/>
                  <a:pt x="580" y="1222"/>
                  <a:pt x="585" y="1225"/>
                </a:cubicBezTo>
                <a:cubicBezTo>
                  <a:pt x="591" y="1228"/>
                  <a:pt x="595" y="1232"/>
                  <a:pt x="600" y="1237"/>
                </a:cubicBezTo>
                <a:close/>
                <a:moveTo>
                  <a:pt x="589" y="1251"/>
                </a:moveTo>
                <a:cubicBezTo>
                  <a:pt x="586" y="1247"/>
                  <a:pt x="582" y="1244"/>
                  <a:pt x="579" y="1242"/>
                </a:cubicBezTo>
                <a:cubicBezTo>
                  <a:pt x="575" y="1239"/>
                  <a:pt x="572" y="1237"/>
                  <a:pt x="568" y="1236"/>
                </a:cubicBezTo>
                <a:cubicBezTo>
                  <a:pt x="564" y="1235"/>
                  <a:pt x="561" y="1235"/>
                  <a:pt x="557" y="1235"/>
                </a:cubicBezTo>
                <a:cubicBezTo>
                  <a:pt x="554" y="1236"/>
                  <a:pt x="550" y="1238"/>
                  <a:pt x="547" y="1241"/>
                </a:cubicBezTo>
                <a:cubicBezTo>
                  <a:pt x="546" y="1242"/>
                  <a:pt x="544" y="1244"/>
                  <a:pt x="543" y="1246"/>
                </a:cubicBezTo>
                <a:cubicBezTo>
                  <a:pt x="542" y="1248"/>
                  <a:pt x="542" y="1250"/>
                  <a:pt x="541" y="1253"/>
                </a:cubicBezTo>
                <a:cubicBezTo>
                  <a:pt x="540" y="1255"/>
                  <a:pt x="540" y="1258"/>
                  <a:pt x="540" y="1261"/>
                </a:cubicBezTo>
                <a:cubicBezTo>
                  <a:pt x="540" y="1265"/>
                  <a:pt x="540" y="1268"/>
                  <a:pt x="541" y="1273"/>
                </a:cubicBezTo>
                <a:lnTo>
                  <a:pt x="566" y="1298"/>
                </a:lnTo>
                <a:cubicBezTo>
                  <a:pt x="574" y="1299"/>
                  <a:pt x="580" y="1299"/>
                  <a:pt x="585" y="1298"/>
                </a:cubicBezTo>
                <a:cubicBezTo>
                  <a:pt x="590" y="1297"/>
                  <a:pt x="594" y="1295"/>
                  <a:pt x="597" y="1292"/>
                </a:cubicBezTo>
                <a:cubicBezTo>
                  <a:pt x="600" y="1289"/>
                  <a:pt x="602" y="1286"/>
                  <a:pt x="603" y="1282"/>
                </a:cubicBezTo>
                <a:cubicBezTo>
                  <a:pt x="604" y="1279"/>
                  <a:pt x="603" y="1275"/>
                  <a:pt x="602" y="1271"/>
                </a:cubicBezTo>
                <a:cubicBezTo>
                  <a:pt x="601" y="1268"/>
                  <a:pt x="600" y="1264"/>
                  <a:pt x="597" y="1260"/>
                </a:cubicBezTo>
                <a:cubicBezTo>
                  <a:pt x="595" y="1257"/>
                  <a:pt x="592" y="1254"/>
                  <a:pt x="589" y="1251"/>
                </a:cubicBezTo>
                <a:close/>
                <a:moveTo>
                  <a:pt x="665" y="1238"/>
                </a:moveTo>
                <a:cubicBezTo>
                  <a:pt x="665" y="1239"/>
                  <a:pt x="666" y="1239"/>
                  <a:pt x="666" y="1240"/>
                </a:cubicBezTo>
                <a:cubicBezTo>
                  <a:pt x="666" y="1240"/>
                  <a:pt x="666" y="1241"/>
                  <a:pt x="665" y="1241"/>
                </a:cubicBezTo>
                <a:cubicBezTo>
                  <a:pt x="665" y="1242"/>
                  <a:pt x="665" y="1243"/>
                  <a:pt x="664" y="1244"/>
                </a:cubicBezTo>
                <a:cubicBezTo>
                  <a:pt x="663" y="1244"/>
                  <a:pt x="662" y="1245"/>
                  <a:pt x="661" y="1247"/>
                </a:cubicBezTo>
                <a:cubicBezTo>
                  <a:pt x="660" y="1248"/>
                  <a:pt x="659" y="1249"/>
                  <a:pt x="658" y="1249"/>
                </a:cubicBezTo>
                <a:cubicBezTo>
                  <a:pt x="657" y="1250"/>
                  <a:pt x="657" y="1251"/>
                  <a:pt x="656" y="1251"/>
                </a:cubicBezTo>
                <a:cubicBezTo>
                  <a:pt x="655" y="1251"/>
                  <a:pt x="655" y="1251"/>
                  <a:pt x="654" y="1251"/>
                </a:cubicBezTo>
                <a:cubicBezTo>
                  <a:pt x="654" y="1251"/>
                  <a:pt x="653" y="1251"/>
                  <a:pt x="653" y="1250"/>
                </a:cubicBezTo>
                <a:lnTo>
                  <a:pt x="557" y="1154"/>
                </a:lnTo>
                <a:cubicBezTo>
                  <a:pt x="557" y="1154"/>
                  <a:pt x="557" y="1154"/>
                  <a:pt x="556" y="1153"/>
                </a:cubicBezTo>
                <a:cubicBezTo>
                  <a:pt x="556" y="1153"/>
                  <a:pt x="556" y="1152"/>
                  <a:pt x="557" y="1151"/>
                </a:cubicBezTo>
                <a:cubicBezTo>
                  <a:pt x="557" y="1151"/>
                  <a:pt x="557" y="1150"/>
                  <a:pt x="558" y="1149"/>
                </a:cubicBezTo>
                <a:cubicBezTo>
                  <a:pt x="559" y="1148"/>
                  <a:pt x="560" y="1147"/>
                  <a:pt x="561" y="1146"/>
                </a:cubicBezTo>
                <a:cubicBezTo>
                  <a:pt x="562" y="1145"/>
                  <a:pt x="563" y="1144"/>
                  <a:pt x="564" y="1143"/>
                </a:cubicBezTo>
                <a:cubicBezTo>
                  <a:pt x="565" y="1143"/>
                  <a:pt x="565" y="1142"/>
                  <a:pt x="566" y="1142"/>
                </a:cubicBezTo>
                <a:cubicBezTo>
                  <a:pt x="567" y="1142"/>
                  <a:pt x="567" y="1142"/>
                  <a:pt x="568" y="1142"/>
                </a:cubicBezTo>
                <a:cubicBezTo>
                  <a:pt x="568" y="1142"/>
                  <a:pt x="569" y="1142"/>
                  <a:pt x="569" y="1143"/>
                </a:cubicBezTo>
                <a:lnTo>
                  <a:pt x="665" y="1238"/>
                </a:lnTo>
                <a:close/>
                <a:moveTo>
                  <a:pt x="707" y="1126"/>
                </a:moveTo>
                <a:cubicBezTo>
                  <a:pt x="709" y="1128"/>
                  <a:pt x="710" y="1130"/>
                  <a:pt x="710" y="1132"/>
                </a:cubicBezTo>
                <a:cubicBezTo>
                  <a:pt x="709" y="1133"/>
                  <a:pt x="709" y="1135"/>
                  <a:pt x="708" y="1136"/>
                </a:cubicBezTo>
                <a:lnTo>
                  <a:pt x="665" y="1178"/>
                </a:lnTo>
                <a:cubicBezTo>
                  <a:pt x="669" y="1182"/>
                  <a:pt x="672" y="1185"/>
                  <a:pt x="676" y="1187"/>
                </a:cubicBezTo>
                <a:cubicBezTo>
                  <a:pt x="679" y="1189"/>
                  <a:pt x="683" y="1190"/>
                  <a:pt x="687" y="1191"/>
                </a:cubicBezTo>
                <a:cubicBezTo>
                  <a:pt x="691" y="1191"/>
                  <a:pt x="694" y="1191"/>
                  <a:pt x="698" y="1189"/>
                </a:cubicBezTo>
                <a:cubicBezTo>
                  <a:pt x="702" y="1187"/>
                  <a:pt x="706" y="1185"/>
                  <a:pt x="710" y="1181"/>
                </a:cubicBezTo>
                <a:cubicBezTo>
                  <a:pt x="713" y="1178"/>
                  <a:pt x="715" y="1175"/>
                  <a:pt x="717" y="1172"/>
                </a:cubicBezTo>
                <a:cubicBezTo>
                  <a:pt x="719" y="1169"/>
                  <a:pt x="721" y="1166"/>
                  <a:pt x="722" y="1164"/>
                </a:cubicBezTo>
                <a:cubicBezTo>
                  <a:pt x="723" y="1162"/>
                  <a:pt x="724" y="1160"/>
                  <a:pt x="724" y="1158"/>
                </a:cubicBezTo>
                <a:cubicBezTo>
                  <a:pt x="725" y="1156"/>
                  <a:pt x="726" y="1155"/>
                  <a:pt x="726" y="1155"/>
                </a:cubicBezTo>
                <a:cubicBezTo>
                  <a:pt x="726" y="1154"/>
                  <a:pt x="727" y="1154"/>
                  <a:pt x="727" y="1154"/>
                </a:cubicBezTo>
                <a:cubicBezTo>
                  <a:pt x="728" y="1154"/>
                  <a:pt x="728" y="1154"/>
                  <a:pt x="729" y="1154"/>
                </a:cubicBezTo>
                <a:cubicBezTo>
                  <a:pt x="729" y="1154"/>
                  <a:pt x="730" y="1155"/>
                  <a:pt x="730" y="1155"/>
                </a:cubicBezTo>
                <a:cubicBezTo>
                  <a:pt x="731" y="1156"/>
                  <a:pt x="732" y="1156"/>
                  <a:pt x="733" y="1157"/>
                </a:cubicBezTo>
                <a:cubicBezTo>
                  <a:pt x="733" y="1158"/>
                  <a:pt x="734" y="1158"/>
                  <a:pt x="734" y="1159"/>
                </a:cubicBezTo>
                <a:cubicBezTo>
                  <a:pt x="735" y="1159"/>
                  <a:pt x="735" y="1160"/>
                  <a:pt x="735" y="1160"/>
                </a:cubicBezTo>
                <a:cubicBezTo>
                  <a:pt x="736" y="1161"/>
                  <a:pt x="736" y="1161"/>
                  <a:pt x="736" y="1162"/>
                </a:cubicBezTo>
                <a:cubicBezTo>
                  <a:pt x="736" y="1162"/>
                  <a:pt x="736" y="1163"/>
                  <a:pt x="736" y="1163"/>
                </a:cubicBezTo>
                <a:cubicBezTo>
                  <a:pt x="736" y="1164"/>
                  <a:pt x="736" y="1165"/>
                  <a:pt x="735" y="1167"/>
                </a:cubicBezTo>
                <a:cubicBezTo>
                  <a:pt x="734" y="1169"/>
                  <a:pt x="733" y="1171"/>
                  <a:pt x="732" y="1174"/>
                </a:cubicBezTo>
                <a:cubicBezTo>
                  <a:pt x="730" y="1176"/>
                  <a:pt x="728" y="1179"/>
                  <a:pt x="726" y="1182"/>
                </a:cubicBezTo>
                <a:cubicBezTo>
                  <a:pt x="724" y="1185"/>
                  <a:pt x="721" y="1188"/>
                  <a:pt x="718" y="1192"/>
                </a:cubicBezTo>
                <a:cubicBezTo>
                  <a:pt x="713" y="1197"/>
                  <a:pt x="707" y="1201"/>
                  <a:pt x="702" y="1203"/>
                </a:cubicBezTo>
                <a:cubicBezTo>
                  <a:pt x="697" y="1206"/>
                  <a:pt x="691" y="1207"/>
                  <a:pt x="685" y="1207"/>
                </a:cubicBezTo>
                <a:cubicBezTo>
                  <a:pt x="680" y="1207"/>
                  <a:pt x="674" y="1205"/>
                  <a:pt x="668" y="1202"/>
                </a:cubicBezTo>
                <a:cubicBezTo>
                  <a:pt x="662" y="1199"/>
                  <a:pt x="657" y="1195"/>
                  <a:pt x="651" y="1189"/>
                </a:cubicBezTo>
                <a:cubicBezTo>
                  <a:pt x="645" y="1183"/>
                  <a:pt x="641" y="1177"/>
                  <a:pt x="638" y="1172"/>
                </a:cubicBezTo>
                <a:cubicBezTo>
                  <a:pt x="635" y="1166"/>
                  <a:pt x="633" y="1160"/>
                  <a:pt x="633" y="1154"/>
                </a:cubicBezTo>
                <a:cubicBezTo>
                  <a:pt x="632" y="1148"/>
                  <a:pt x="633" y="1143"/>
                  <a:pt x="635" y="1137"/>
                </a:cubicBezTo>
                <a:cubicBezTo>
                  <a:pt x="638" y="1132"/>
                  <a:pt x="641" y="1127"/>
                  <a:pt x="646" y="1122"/>
                </a:cubicBezTo>
                <a:cubicBezTo>
                  <a:pt x="651" y="1117"/>
                  <a:pt x="656" y="1113"/>
                  <a:pt x="661" y="1111"/>
                </a:cubicBezTo>
                <a:cubicBezTo>
                  <a:pt x="666" y="1109"/>
                  <a:pt x="672" y="1109"/>
                  <a:pt x="677" y="1109"/>
                </a:cubicBezTo>
                <a:cubicBezTo>
                  <a:pt x="682" y="1110"/>
                  <a:pt x="687" y="1111"/>
                  <a:pt x="691" y="1114"/>
                </a:cubicBezTo>
                <a:cubicBezTo>
                  <a:pt x="696" y="1116"/>
                  <a:pt x="701" y="1120"/>
                  <a:pt x="705" y="1124"/>
                </a:cubicBezTo>
                <a:lnTo>
                  <a:pt x="707" y="1126"/>
                </a:lnTo>
                <a:close/>
                <a:moveTo>
                  <a:pt x="692" y="1135"/>
                </a:moveTo>
                <a:cubicBezTo>
                  <a:pt x="686" y="1128"/>
                  <a:pt x="679" y="1125"/>
                  <a:pt x="673" y="1124"/>
                </a:cubicBezTo>
                <a:cubicBezTo>
                  <a:pt x="666" y="1123"/>
                  <a:pt x="660" y="1126"/>
                  <a:pt x="655" y="1132"/>
                </a:cubicBezTo>
                <a:cubicBezTo>
                  <a:pt x="652" y="1135"/>
                  <a:pt x="650" y="1138"/>
                  <a:pt x="648" y="1141"/>
                </a:cubicBezTo>
                <a:cubicBezTo>
                  <a:pt x="647" y="1144"/>
                  <a:pt x="647" y="1148"/>
                  <a:pt x="647" y="1151"/>
                </a:cubicBezTo>
                <a:cubicBezTo>
                  <a:pt x="648" y="1154"/>
                  <a:pt x="649" y="1158"/>
                  <a:pt x="650" y="1161"/>
                </a:cubicBezTo>
                <a:cubicBezTo>
                  <a:pt x="652" y="1164"/>
                  <a:pt x="654" y="1167"/>
                  <a:pt x="656" y="1170"/>
                </a:cubicBezTo>
                <a:lnTo>
                  <a:pt x="692" y="1135"/>
                </a:lnTo>
                <a:close/>
                <a:moveTo>
                  <a:pt x="789" y="1079"/>
                </a:moveTo>
                <a:cubicBezTo>
                  <a:pt x="793" y="1082"/>
                  <a:pt x="795" y="1086"/>
                  <a:pt x="796" y="1090"/>
                </a:cubicBezTo>
                <a:cubicBezTo>
                  <a:pt x="798" y="1093"/>
                  <a:pt x="798" y="1097"/>
                  <a:pt x="798" y="1101"/>
                </a:cubicBezTo>
                <a:cubicBezTo>
                  <a:pt x="797" y="1105"/>
                  <a:pt x="796" y="1109"/>
                  <a:pt x="794" y="1113"/>
                </a:cubicBezTo>
                <a:cubicBezTo>
                  <a:pt x="791" y="1118"/>
                  <a:pt x="788" y="1121"/>
                  <a:pt x="785" y="1125"/>
                </a:cubicBezTo>
                <a:cubicBezTo>
                  <a:pt x="782" y="1127"/>
                  <a:pt x="780" y="1129"/>
                  <a:pt x="777" y="1131"/>
                </a:cubicBezTo>
                <a:cubicBezTo>
                  <a:pt x="775" y="1133"/>
                  <a:pt x="773" y="1134"/>
                  <a:pt x="771" y="1135"/>
                </a:cubicBezTo>
                <a:cubicBezTo>
                  <a:pt x="768" y="1137"/>
                  <a:pt x="766" y="1137"/>
                  <a:pt x="765" y="1138"/>
                </a:cubicBezTo>
                <a:cubicBezTo>
                  <a:pt x="763" y="1138"/>
                  <a:pt x="761" y="1139"/>
                  <a:pt x="760" y="1139"/>
                </a:cubicBezTo>
                <a:cubicBezTo>
                  <a:pt x="759" y="1139"/>
                  <a:pt x="758" y="1139"/>
                  <a:pt x="757" y="1138"/>
                </a:cubicBezTo>
                <a:cubicBezTo>
                  <a:pt x="756" y="1137"/>
                  <a:pt x="755" y="1136"/>
                  <a:pt x="753" y="1135"/>
                </a:cubicBezTo>
                <a:cubicBezTo>
                  <a:pt x="753" y="1134"/>
                  <a:pt x="752" y="1133"/>
                  <a:pt x="751" y="1132"/>
                </a:cubicBezTo>
                <a:cubicBezTo>
                  <a:pt x="751" y="1132"/>
                  <a:pt x="750" y="1131"/>
                  <a:pt x="750" y="1130"/>
                </a:cubicBezTo>
                <a:cubicBezTo>
                  <a:pt x="750" y="1130"/>
                  <a:pt x="750" y="1129"/>
                  <a:pt x="750" y="1129"/>
                </a:cubicBezTo>
                <a:cubicBezTo>
                  <a:pt x="750" y="1129"/>
                  <a:pt x="750" y="1128"/>
                  <a:pt x="751" y="1128"/>
                </a:cubicBezTo>
                <a:cubicBezTo>
                  <a:pt x="751" y="1127"/>
                  <a:pt x="752" y="1127"/>
                  <a:pt x="754" y="1126"/>
                </a:cubicBezTo>
                <a:cubicBezTo>
                  <a:pt x="756" y="1126"/>
                  <a:pt x="758" y="1126"/>
                  <a:pt x="760" y="1125"/>
                </a:cubicBezTo>
                <a:cubicBezTo>
                  <a:pt x="762" y="1124"/>
                  <a:pt x="765" y="1123"/>
                  <a:pt x="767" y="1122"/>
                </a:cubicBezTo>
                <a:cubicBezTo>
                  <a:pt x="770" y="1120"/>
                  <a:pt x="773" y="1118"/>
                  <a:pt x="775" y="1115"/>
                </a:cubicBezTo>
                <a:cubicBezTo>
                  <a:pt x="777" y="1113"/>
                  <a:pt x="779" y="1111"/>
                  <a:pt x="780" y="1109"/>
                </a:cubicBezTo>
                <a:cubicBezTo>
                  <a:pt x="781" y="1107"/>
                  <a:pt x="782" y="1105"/>
                  <a:pt x="782" y="1103"/>
                </a:cubicBezTo>
                <a:cubicBezTo>
                  <a:pt x="783" y="1101"/>
                  <a:pt x="783" y="1099"/>
                  <a:pt x="782" y="1097"/>
                </a:cubicBezTo>
                <a:cubicBezTo>
                  <a:pt x="781" y="1095"/>
                  <a:pt x="780" y="1093"/>
                  <a:pt x="778" y="1092"/>
                </a:cubicBezTo>
                <a:cubicBezTo>
                  <a:pt x="777" y="1090"/>
                  <a:pt x="775" y="1089"/>
                  <a:pt x="772" y="1088"/>
                </a:cubicBezTo>
                <a:cubicBezTo>
                  <a:pt x="770" y="1088"/>
                  <a:pt x="768" y="1088"/>
                  <a:pt x="765" y="1089"/>
                </a:cubicBezTo>
                <a:cubicBezTo>
                  <a:pt x="763" y="1089"/>
                  <a:pt x="760" y="1090"/>
                  <a:pt x="758" y="1091"/>
                </a:cubicBezTo>
                <a:cubicBezTo>
                  <a:pt x="755" y="1093"/>
                  <a:pt x="752" y="1094"/>
                  <a:pt x="749" y="1095"/>
                </a:cubicBezTo>
                <a:cubicBezTo>
                  <a:pt x="747" y="1096"/>
                  <a:pt x="744" y="1097"/>
                  <a:pt x="741" y="1098"/>
                </a:cubicBezTo>
                <a:cubicBezTo>
                  <a:pt x="738" y="1099"/>
                  <a:pt x="735" y="1100"/>
                  <a:pt x="732" y="1100"/>
                </a:cubicBezTo>
                <a:cubicBezTo>
                  <a:pt x="729" y="1100"/>
                  <a:pt x="726" y="1099"/>
                  <a:pt x="723" y="1098"/>
                </a:cubicBezTo>
                <a:cubicBezTo>
                  <a:pt x="720" y="1097"/>
                  <a:pt x="717" y="1095"/>
                  <a:pt x="714" y="1092"/>
                </a:cubicBezTo>
                <a:cubicBezTo>
                  <a:pt x="711" y="1090"/>
                  <a:pt x="709" y="1087"/>
                  <a:pt x="708" y="1083"/>
                </a:cubicBezTo>
                <a:cubicBezTo>
                  <a:pt x="707" y="1080"/>
                  <a:pt x="706" y="1077"/>
                  <a:pt x="706" y="1073"/>
                </a:cubicBezTo>
                <a:cubicBezTo>
                  <a:pt x="707" y="1069"/>
                  <a:pt x="708" y="1065"/>
                  <a:pt x="710" y="1061"/>
                </a:cubicBezTo>
                <a:cubicBezTo>
                  <a:pt x="711" y="1057"/>
                  <a:pt x="714" y="1053"/>
                  <a:pt x="718" y="1049"/>
                </a:cubicBezTo>
                <a:cubicBezTo>
                  <a:pt x="720" y="1048"/>
                  <a:pt x="722" y="1046"/>
                  <a:pt x="724" y="1045"/>
                </a:cubicBezTo>
                <a:cubicBezTo>
                  <a:pt x="726" y="1043"/>
                  <a:pt x="728" y="1042"/>
                  <a:pt x="730" y="1041"/>
                </a:cubicBezTo>
                <a:cubicBezTo>
                  <a:pt x="731" y="1040"/>
                  <a:pt x="733" y="1039"/>
                  <a:pt x="735" y="1039"/>
                </a:cubicBezTo>
                <a:cubicBezTo>
                  <a:pt x="736" y="1038"/>
                  <a:pt x="737" y="1038"/>
                  <a:pt x="738" y="1038"/>
                </a:cubicBezTo>
                <a:cubicBezTo>
                  <a:pt x="739" y="1038"/>
                  <a:pt x="740" y="1038"/>
                  <a:pt x="740" y="1038"/>
                </a:cubicBezTo>
                <a:cubicBezTo>
                  <a:pt x="741" y="1038"/>
                  <a:pt x="741" y="1038"/>
                  <a:pt x="742" y="1039"/>
                </a:cubicBezTo>
                <a:cubicBezTo>
                  <a:pt x="742" y="1039"/>
                  <a:pt x="742" y="1039"/>
                  <a:pt x="743" y="1040"/>
                </a:cubicBezTo>
                <a:cubicBezTo>
                  <a:pt x="744" y="1040"/>
                  <a:pt x="744" y="1041"/>
                  <a:pt x="745" y="1042"/>
                </a:cubicBezTo>
                <a:cubicBezTo>
                  <a:pt x="746" y="1042"/>
                  <a:pt x="747" y="1043"/>
                  <a:pt x="747" y="1044"/>
                </a:cubicBezTo>
                <a:cubicBezTo>
                  <a:pt x="748" y="1044"/>
                  <a:pt x="748" y="1045"/>
                  <a:pt x="748" y="1046"/>
                </a:cubicBezTo>
                <a:cubicBezTo>
                  <a:pt x="748" y="1046"/>
                  <a:pt x="749" y="1047"/>
                  <a:pt x="748" y="1047"/>
                </a:cubicBezTo>
                <a:cubicBezTo>
                  <a:pt x="748" y="1047"/>
                  <a:pt x="748" y="1048"/>
                  <a:pt x="748" y="1048"/>
                </a:cubicBezTo>
                <a:cubicBezTo>
                  <a:pt x="747" y="1049"/>
                  <a:pt x="747" y="1049"/>
                  <a:pt x="745" y="1049"/>
                </a:cubicBezTo>
                <a:cubicBezTo>
                  <a:pt x="744" y="1049"/>
                  <a:pt x="742" y="1050"/>
                  <a:pt x="740" y="1051"/>
                </a:cubicBezTo>
                <a:cubicBezTo>
                  <a:pt x="739" y="1051"/>
                  <a:pt x="736" y="1052"/>
                  <a:pt x="734" y="1053"/>
                </a:cubicBezTo>
                <a:cubicBezTo>
                  <a:pt x="732" y="1055"/>
                  <a:pt x="730" y="1056"/>
                  <a:pt x="727" y="1059"/>
                </a:cubicBezTo>
                <a:cubicBezTo>
                  <a:pt x="725" y="1061"/>
                  <a:pt x="724" y="1063"/>
                  <a:pt x="723" y="1065"/>
                </a:cubicBezTo>
                <a:cubicBezTo>
                  <a:pt x="722" y="1067"/>
                  <a:pt x="721" y="1069"/>
                  <a:pt x="721" y="1070"/>
                </a:cubicBezTo>
                <a:cubicBezTo>
                  <a:pt x="721" y="1072"/>
                  <a:pt x="721" y="1074"/>
                  <a:pt x="722" y="1076"/>
                </a:cubicBezTo>
                <a:cubicBezTo>
                  <a:pt x="722" y="1077"/>
                  <a:pt x="723" y="1079"/>
                  <a:pt x="725" y="1080"/>
                </a:cubicBezTo>
                <a:cubicBezTo>
                  <a:pt x="727" y="1082"/>
                  <a:pt x="729" y="1083"/>
                  <a:pt x="731" y="1083"/>
                </a:cubicBezTo>
                <a:cubicBezTo>
                  <a:pt x="733" y="1084"/>
                  <a:pt x="735" y="1084"/>
                  <a:pt x="738" y="1083"/>
                </a:cubicBezTo>
                <a:cubicBezTo>
                  <a:pt x="740" y="1082"/>
                  <a:pt x="743" y="1082"/>
                  <a:pt x="746" y="1080"/>
                </a:cubicBezTo>
                <a:cubicBezTo>
                  <a:pt x="748" y="1079"/>
                  <a:pt x="751" y="1078"/>
                  <a:pt x="754" y="1077"/>
                </a:cubicBezTo>
                <a:cubicBezTo>
                  <a:pt x="757" y="1075"/>
                  <a:pt x="760" y="1074"/>
                  <a:pt x="763" y="1073"/>
                </a:cubicBezTo>
                <a:cubicBezTo>
                  <a:pt x="766" y="1072"/>
                  <a:pt x="769" y="1072"/>
                  <a:pt x="772" y="1072"/>
                </a:cubicBezTo>
                <a:cubicBezTo>
                  <a:pt x="775" y="1072"/>
                  <a:pt x="778" y="1072"/>
                  <a:pt x="781" y="1073"/>
                </a:cubicBezTo>
                <a:cubicBezTo>
                  <a:pt x="784" y="1074"/>
                  <a:pt x="786" y="1076"/>
                  <a:pt x="789" y="1079"/>
                </a:cubicBezTo>
                <a:close/>
                <a:moveTo>
                  <a:pt x="897" y="983"/>
                </a:moveTo>
                <a:cubicBezTo>
                  <a:pt x="898" y="984"/>
                  <a:pt x="899" y="985"/>
                  <a:pt x="899" y="985"/>
                </a:cubicBezTo>
                <a:cubicBezTo>
                  <a:pt x="900" y="986"/>
                  <a:pt x="900" y="987"/>
                  <a:pt x="901" y="987"/>
                </a:cubicBezTo>
                <a:cubicBezTo>
                  <a:pt x="901" y="988"/>
                  <a:pt x="901" y="988"/>
                  <a:pt x="901" y="989"/>
                </a:cubicBezTo>
                <a:cubicBezTo>
                  <a:pt x="902" y="989"/>
                  <a:pt x="902" y="990"/>
                  <a:pt x="902" y="991"/>
                </a:cubicBezTo>
                <a:cubicBezTo>
                  <a:pt x="902" y="992"/>
                  <a:pt x="901" y="994"/>
                  <a:pt x="901" y="996"/>
                </a:cubicBezTo>
                <a:cubicBezTo>
                  <a:pt x="900" y="999"/>
                  <a:pt x="899" y="1002"/>
                  <a:pt x="898" y="1005"/>
                </a:cubicBezTo>
                <a:cubicBezTo>
                  <a:pt x="897" y="1008"/>
                  <a:pt x="895" y="1011"/>
                  <a:pt x="892" y="1015"/>
                </a:cubicBezTo>
                <a:cubicBezTo>
                  <a:pt x="890" y="1019"/>
                  <a:pt x="887" y="1022"/>
                  <a:pt x="884" y="1026"/>
                </a:cubicBezTo>
                <a:cubicBezTo>
                  <a:pt x="878" y="1032"/>
                  <a:pt x="871" y="1036"/>
                  <a:pt x="864" y="1039"/>
                </a:cubicBezTo>
                <a:cubicBezTo>
                  <a:pt x="858" y="1042"/>
                  <a:pt x="850" y="1043"/>
                  <a:pt x="843" y="1042"/>
                </a:cubicBezTo>
                <a:cubicBezTo>
                  <a:pt x="836" y="1042"/>
                  <a:pt x="828" y="1040"/>
                  <a:pt x="821" y="1036"/>
                </a:cubicBezTo>
                <a:cubicBezTo>
                  <a:pt x="813" y="1032"/>
                  <a:pt x="805" y="1026"/>
                  <a:pt x="798" y="1019"/>
                </a:cubicBezTo>
                <a:cubicBezTo>
                  <a:pt x="790" y="1011"/>
                  <a:pt x="784" y="1003"/>
                  <a:pt x="780" y="995"/>
                </a:cubicBezTo>
                <a:cubicBezTo>
                  <a:pt x="776" y="987"/>
                  <a:pt x="774" y="979"/>
                  <a:pt x="773" y="971"/>
                </a:cubicBezTo>
                <a:cubicBezTo>
                  <a:pt x="773" y="964"/>
                  <a:pt x="774" y="956"/>
                  <a:pt x="777" y="949"/>
                </a:cubicBezTo>
                <a:cubicBezTo>
                  <a:pt x="779" y="942"/>
                  <a:pt x="784" y="935"/>
                  <a:pt x="790" y="929"/>
                </a:cubicBezTo>
                <a:cubicBezTo>
                  <a:pt x="793" y="926"/>
                  <a:pt x="796" y="924"/>
                  <a:pt x="799" y="922"/>
                </a:cubicBezTo>
                <a:cubicBezTo>
                  <a:pt x="802" y="920"/>
                  <a:pt x="805" y="918"/>
                  <a:pt x="808" y="917"/>
                </a:cubicBezTo>
                <a:cubicBezTo>
                  <a:pt x="810" y="915"/>
                  <a:pt x="813" y="914"/>
                  <a:pt x="816" y="914"/>
                </a:cubicBezTo>
                <a:cubicBezTo>
                  <a:pt x="819" y="913"/>
                  <a:pt x="821" y="913"/>
                  <a:pt x="822" y="913"/>
                </a:cubicBezTo>
                <a:cubicBezTo>
                  <a:pt x="823" y="913"/>
                  <a:pt x="824" y="913"/>
                  <a:pt x="825" y="913"/>
                </a:cubicBezTo>
                <a:cubicBezTo>
                  <a:pt x="825" y="913"/>
                  <a:pt x="826" y="913"/>
                  <a:pt x="826" y="914"/>
                </a:cubicBezTo>
                <a:cubicBezTo>
                  <a:pt x="827" y="914"/>
                  <a:pt x="827" y="914"/>
                  <a:pt x="828" y="915"/>
                </a:cubicBezTo>
                <a:cubicBezTo>
                  <a:pt x="829" y="915"/>
                  <a:pt x="830" y="916"/>
                  <a:pt x="830" y="917"/>
                </a:cubicBezTo>
                <a:cubicBezTo>
                  <a:pt x="831" y="918"/>
                  <a:pt x="832" y="919"/>
                  <a:pt x="833" y="920"/>
                </a:cubicBezTo>
                <a:cubicBezTo>
                  <a:pt x="833" y="920"/>
                  <a:pt x="834" y="921"/>
                  <a:pt x="834" y="922"/>
                </a:cubicBezTo>
                <a:cubicBezTo>
                  <a:pt x="834" y="922"/>
                  <a:pt x="834" y="923"/>
                  <a:pt x="834" y="923"/>
                </a:cubicBezTo>
                <a:cubicBezTo>
                  <a:pt x="834" y="924"/>
                  <a:pt x="834" y="924"/>
                  <a:pt x="834" y="925"/>
                </a:cubicBezTo>
                <a:cubicBezTo>
                  <a:pt x="833" y="925"/>
                  <a:pt x="832" y="926"/>
                  <a:pt x="829" y="926"/>
                </a:cubicBezTo>
                <a:cubicBezTo>
                  <a:pt x="827" y="926"/>
                  <a:pt x="825" y="927"/>
                  <a:pt x="822" y="928"/>
                </a:cubicBezTo>
                <a:cubicBezTo>
                  <a:pt x="819" y="928"/>
                  <a:pt x="815" y="930"/>
                  <a:pt x="812" y="931"/>
                </a:cubicBezTo>
                <a:cubicBezTo>
                  <a:pt x="808" y="933"/>
                  <a:pt x="804" y="936"/>
                  <a:pt x="801" y="940"/>
                </a:cubicBezTo>
                <a:cubicBezTo>
                  <a:pt x="796" y="944"/>
                  <a:pt x="793" y="949"/>
                  <a:pt x="792" y="954"/>
                </a:cubicBezTo>
                <a:cubicBezTo>
                  <a:pt x="790" y="959"/>
                  <a:pt x="790" y="964"/>
                  <a:pt x="790" y="970"/>
                </a:cubicBezTo>
                <a:cubicBezTo>
                  <a:pt x="791" y="975"/>
                  <a:pt x="793" y="981"/>
                  <a:pt x="796" y="987"/>
                </a:cubicBezTo>
                <a:cubicBezTo>
                  <a:pt x="800" y="993"/>
                  <a:pt x="804" y="999"/>
                  <a:pt x="810" y="1005"/>
                </a:cubicBezTo>
                <a:cubicBezTo>
                  <a:pt x="816" y="1011"/>
                  <a:pt x="822" y="1015"/>
                  <a:pt x="828" y="1018"/>
                </a:cubicBezTo>
                <a:cubicBezTo>
                  <a:pt x="834" y="1022"/>
                  <a:pt x="839" y="1024"/>
                  <a:pt x="845" y="1024"/>
                </a:cubicBezTo>
                <a:cubicBezTo>
                  <a:pt x="850" y="1025"/>
                  <a:pt x="855" y="1024"/>
                  <a:pt x="860" y="1022"/>
                </a:cubicBezTo>
                <a:cubicBezTo>
                  <a:pt x="865" y="1021"/>
                  <a:pt x="870" y="1017"/>
                  <a:pt x="874" y="1013"/>
                </a:cubicBezTo>
                <a:cubicBezTo>
                  <a:pt x="878" y="1009"/>
                  <a:pt x="881" y="1006"/>
                  <a:pt x="883" y="1002"/>
                </a:cubicBezTo>
                <a:cubicBezTo>
                  <a:pt x="885" y="998"/>
                  <a:pt x="886" y="995"/>
                  <a:pt x="887" y="992"/>
                </a:cubicBezTo>
                <a:cubicBezTo>
                  <a:pt x="888" y="989"/>
                  <a:pt x="888" y="986"/>
                  <a:pt x="889" y="984"/>
                </a:cubicBezTo>
                <a:cubicBezTo>
                  <a:pt x="889" y="982"/>
                  <a:pt x="889" y="980"/>
                  <a:pt x="890" y="980"/>
                </a:cubicBezTo>
                <a:cubicBezTo>
                  <a:pt x="890" y="979"/>
                  <a:pt x="891" y="979"/>
                  <a:pt x="891" y="979"/>
                </a:cubicBezTo>
                <a:cubicBezTo>
                  <a:pt x="892" y="979"/>
                  <a:pt x="892" y="979"/>
                  <a:pt x="893" y="979"/>
                </a:cubicBezTo>
                <a:cubicBezTo>
                  <a:pt x="893" y="980"/>
                  <a:pt x="894" y="980"/>
                  <a:pt x="895" y="981"/>
                </a:cubicBezTo>
                <a:cubicBezTo>
                  <a:pt x="895" y="981"/>
                  <a:pt x="896" y="982"/>
                  <a:pt x="897" y="983"/>
                </a:cubicBezTo>
                <a:close/>
                <a:moveTo>
                  <a:pt x="973" y="930"/>
                </a:moveTo>
                <a:cubicBezTo>
                  <a:pt x="974" y="931"/>
                  <a:pt x="974" y="931"/>
                  <a:pt x="974" y="932"/>
                </a:cubicBezTo>
                <a:cubicBezTo>
                  <a:pt x="974" y="933"/>
                  <a:pt x="974" y="933"/>
                  <a:pt x="973" y="934"/>
                </a:cubicBezTo>
                <a:cubicBezTo>
                  <a:pt x="973" y="935"/>
                  <a:pt x="972" y="936"/>
                  <a:pt x="970" y="937"/>
                </a:cubicBezTo>
                <a:cubicBezTo>
                  <a:pt x="969" y="939"/>
                  <a:pt x="968" y="940"/>
                  <a:pt x="967" y="940"/>
                </a:cubicBezTo>
                <a:cubicBezTo>
                  <a:pt x="966" y="941"/>
                  <a:pt x="966" y="941"/>
                  <a:pt x="965" y="941"/>
                </a:cubicBezTo>
                <a:cubicBezTo>
                  <a:pt x="964" y="941"/>
                  <a:pt x="964" y="941"/>
                  <a:pt x="963" y="940"/>
                </a:cubicBezTo>
                <a:lnTo>
                  <a:pt x="957" y="934"/>
                </a:lnTo>
                <a:cubicBezTo>
                  <a:pt x="957" y="940"/>
                  <a:pt x="956" y="945"/>
                  <a:pt x="954" y="950"/>
                </a:cubicBezTo>
                <a:cubicBezTo>
                  <a:pt x="953" y="956"/>
                  <a:pt x="950" y="960"/>
                  <a:pt x="946" y="964"/>
                </a:cubicBezTo>
                <a:cubicBezTo>
                  <a:pt x="942" y="967"/>
                  <a:pt x="939" y="970"/>
                  <a:pt x="935" y="972"/>
                </a:cubicBezTo>
                <a:cubicBezTo>
                  <a:pt x="932" y="974"/>
                  <a:pt x="928" y="975"/>
                  <a:pt x="924" y="975"/>
                </a:cubicBezTo>
                <a:cubicBezTo>
                  <a:pt x="921" y="975"/>
                  <a:pt x="917" y="975"/>
                  <a:pt x="914" y="973"/>
                </a:cubicBezTo>
                <a:cubicBezTo>
                  <a:pt x="910" y="972"/>
                  <a:pt x="907" y="970"/>
                  <a:pt x="904" y="967"/>
                </a:cubicBezTo>
                <a:cubicBezTo>
                  <a:pt x="900" y="963"/>
                  <a:pt x="898" y="959"/>
                  <a:pt x="896" y="955"/>
                </a:cubicBezTo>
                <a:cubicBezTo>
                  <a:pt x="895" y="951"/>
                  <a:pt x="895" y="946"/>
                  <a:pt x="896" y="942"/>
                </a:cubicBezTo>
                <a:cubicBezTo>
                  <a:pt x="897" y="937"/>
                  <a:pt x="899" y="933"/>
                  <a:pt x="902" y="928"/>
                </a:cubicBezTo>
                <a:cubicBezTo>
                  <a:pt x="906" y="923"/>
                  <a:pt x="910" y="918"/>
                  <a:pt x="915" y="913"/>
                </a:cubicBezTo>
                <a:lnTo>
                  <a:pt x="924" y="904"/>
                </a:lnTo>
                <a:lnTo>
                  <a:pt x="919" y="899"/>
                </a:lnTo>
                <a:cubicBezTo>
                  <a:pt x="916" y="896"/>
                  <a:pt x="914" y="894"/>
                  <a:pt x="911" y="893"/>
                </a:cubicBezTo>
                <a:cubicBezTo>
                  <a:pt x="909" y="892"/>
                  <a:pt x="906" y="891"/>
                  <a:pt x="904" y="891"/>
                </a:cubicBezTo>
                <a:cubicBezTo>
                  <a:pt x="901" y="891"/>
                  <a:pt x="899" y="891"/>
                  <a:pt x="896" y="893"/>
                </a:cubicBezTo>
                <a:cubicBezTo>
                  <a:pt x="894" y="894"/>
                  <a:pt x="891" y="896"/>
                  <a:pt x="888" y="898"/>
                </a:cubicBezTo>
                <a:cubicBezTo>
                  <a:pt x="886" y="901"/>
                  <a:pt x="883" y="904"/>
                  <a:pt x="882" y="907"/>
                </a:cubicBezTo>
                <a:cubicBezTo>
                  <a:pt x="880" y="910"/>
                  <a:pt x="879" y="913"/>
                  <a:pt x="878" y="916"/>
                </a:cubicBezTo>
                <a:cubicBezTo>
                  <a:pt x="877" y="918"/>
                  <a:pt x="876" y="921"/>
                  <a:pt x="876" y="922"/>
                </a:cubicBezTo>
                <a:cubicBezTo>
                  <a:pt x="875" y="924"/>
                  <a:pt x="875" y="926"/>
                  <a:pt x="874" y="926"/>
                </a:cubicBezTo>
                <a:cubicBezTo>
                  <a:pt x="874" y="926"/>
                  <a:pt x="873" y="927"/>
                  <a:pt x="873" y="927"/>
                </a:cubicBezTo>
                <a:cubicBezTo>
                  <a:pt x="872" y="927"/>
                  <a:pt x="872" y="927"/>
                  <a:pt x="871" y="927"/>
                </a:cubicBezTo>
                <a:cubicBezTo>
                  <a:pt x="871" y="927"/>
                  <a:pt x="870" y="926"/>
                  <a:pt x="869" y="926"/>
                </a:cubicBezTo>
                <a:cubicBezTo>
                  <a:pt x="869" y="925"/>
                  <a:pt x="868" y="925"/>
                  <a:pt x="867" y="924"/>
                </a:cubicBezTo>
                <a:cubicBezTo>
                  <a:pt x="866" y="923"/>
                  <a:pt x="865" y="922"/>
                  <a:pt x="865" y="921"/>
                </a:cubicBezTo>
                <a:cubicBezTo>
                  <a:pt x="864" y="920"/>
                  <a:pt x="864" y="919"/>
                  <a:pt x="864" y="918"/>
                </a:cubicBezTo>
                <a:cubicBezTo>
                  <a:pt x="864" y="916"/>
                  <a:pt x="864" y="914"/>
                  <a:pt x="865" y="912"/>
                </a:cubicBezTo>
                <a:cubicBezTo>
                  <a:pt x="866" y="910"/>
                  <a:pt x="867" y="907"/>
                  <a:pt x="868" y="904"/>
                </a:cubicBezTo>
                <a:cubicBezTo>
                  <a:pt x="870" y="902"/>
                  <a:pt x="871" y="899"/>
                  <a:pt x="873" y="896"/>
                </a:cubicBezTo>
                <a:cubicBezTo>
                  <a:pt x="875" y="893"/>
                  <a:pt x="877" y="890"/>
                  <a:pt x="880" y="888"/>
                </a:cubicBezTo>
                <a:cubicBezTo>
                  <a:pt x="885" y="883"/>
                  <a:pt x="889" y="880"/>
                  <a:pt x="893" y="877"/>
                </a:cubicBezTo>
                <a:cubicBezTo>
                  <a:pt x="898" y="875"/>
                  <a:pt x="902" y="874"/>
                  <a:pt x="906" y="874"/>
                </a:cubicBezTo>
                <a:cubicBezTo>
                  <a:pt x="910" y="874"/>
                  <a:pt x="914" y="875"/>
                  <a:pt x="918" y="877"/>
                </a:cubicBezTo>
                <a:cubicBezTo>
                  <a:pt x="922" y="880"/>
                  <a:pt x="926" y="883"/>
                  <a:pt x="930" y="887"/>
                </a:cubicBezTo>
                <a:lnTo>
                  <a:pt x="973" y="930"/>
                </a:lnTo>
                <a:close/>
                <a:moveTo>
                  <a:pt x="932" y="912"/>
                </a:moveTo>
                <a:lnTo>
                  <a:pt x="922" y="923"/>
                </a:lnTo>
                <a:cubicBezTo>
                  <a:pt x="919" y="926"/>
                  <a:pt x="916" y="929"/>
                  <a:pt x="914" y="932"/>
                </a:cubicBezTo>
                <a:cubicBezTo>
                  <a:pt x="912" y="935"/>
                  <a:pt x="911" y="938"/>
                  <a:pt x="911" y="940"/>
                </a:cubicBezTo>
                <a:cubicBezTo>
                  <a:pt x="910" y="943"/>
                  <a:pt x="910" y="945"/>
                  <a:pt x="911" y="948"/>
                </a:cubicBezTo>
                <a:cubicBezTo>
                  <a:pt x="912" y="950"/>
                  <a:pt x="913" y="952"/>
                  <a:pt x="915" y="954"/>
                </a:cubicBezTo>
                <a:cubicBezTo>
                  <a:pt x="919" y="957"/>
                  <a:pt x="922" y="959"/>
                  <a:pt x="926" y="959"/>
                </a:cubicBezTo>
                <a:cubicBezTo>
                  <a:pt x="931" y="959"/>
                  <a:pt x="935" y="957"/>
                  <a:pt x="938" y="953"/>
                </a:cubicBezTo>
                <a:cubicBezTo>
                  <a:pt x="942" y="950"/>
                  <a:pt x="944" y="946"/>
                  <a:pt x="945" y="942"/>
                </a:cubicBezTo>
                <a:cubicBezTo>
                  <a:pt x="946" y="938"/>
                  <a:pt x="946" y="932"/>
                  <a:pt x="946" y="926"/>
                </a:cubicBezTo>
                <a:lnTo>
                  <a:pt x="932" y="912"/>
                </a:lnTo>
                <a:close/>
                <a:moveTo>
                  <a:pt x="1019" y="818"/>
                </a:moveTo>
                <a:cubicBezTo>
                  <a:pt x="1024" y="824"/>
                  <a:pt x="1029" y="829"/>
                  <a:pt x="1032" y="835"/>
                </a:cubicBezTo>
                <a:cubicBezTo>
                  <a:pt x="1035" y="841"/>
                  <a:pt x="1037" y="847"/>
                  <a:pt x="1038" y="852"/>
                </a:cubicBezTo>
                <a:cubicBezTo>
                  <a:pt x="1039" y="858"/>
                  <a:pt x="1038" y="863"/>
                  <a:pt x="1037" y="868"/>
                </a:cubicBezTo>
                <a:cubicBezTo>
                  <a:pt x="1035" y="873"/>
                  <a:pt x="1032" y="878"/>
                  <a:pt x="1027" y="883"/>
                </a:cubicBezTo>
                <a:cubicBezTo>
                  <a:pt x="1025" y="885"/>
                  <a:pt x="1023" y="886"/>
                  <a:pt x="1021" y="887"/>
                </a:cubicBezTo>
                <a:cubicBezTo>
                  <a:pt x="1019" y="889"/>
                  <a:pt x="1017" y="890"/>
                  <a:pt x="1015" y="890"/>
                </a:cubicBezTo>
                <a:cubicBezTo>
                  <a:pt x="1012" y="891"/>
                  <a:pt x="1010" y="892"/>
                  <a:pt x="1007" y="892"/>
                </a:cubicBezTo>
                <a:cubicBezTo>
                  <a:pt x="1004" y="892"/>
                  <a:pt x="1001" y="892"/>
                  <a:pt x="998" y="892"/>
                </a:cubicBezTo>
                <a:lnTo>
                  <a:pt x="1030" y="925"/>
                </a:lnTo>
                <a:cubicBezTo>
                  <a:pt x="1030" y="925"/>
                  <a:pt x="1031" y="926"/>
                  <a:pt x="1031" y="926"/>
                </a:cubicBezTo>
                <a:cubicBezTo>
                  <a:pt x="1031" y="926"/>
                  <a:pt x="1031" y="927"/>
                  <a:pt x="1030" y="928"/>
                </a:cubicBezTo>
                <a:cubicBezTo>
                  <a:pt x="1030" y="928"/>
                  <a:pt x="1030" y="929"/>
                  <a:pt x="1029" y="930"/>
                </a:cubicBezTo>
                <a:cubicBezTo>
                  <a:pt x="1028" y="931"/>
                  <a:pt x="1028" y="932"/>
                  <a:pt x="1026" y="933"/>
                </a:cubicBezTo>
                <a:cubicBezTo>
                  <a:pt x="1025" y="934"/>
                  <a:pt x="1024" y="935"/>
                  <a:pt x="1023" y="936"/>
                </a:cubicBezTo>
                <a:cubicBezTo>
                  <a:pt x="1022" y="936"/>
                  <a:pt x="1022" y="937"/>
                  <a:pt x="1021" y="937"/>
                </a:cubicBezTo>
                <a:cubicBezTo>
                  <a:pt x="1020" y="937"/>
                  <a:pt x="1020" y="937"/>
                  <a:pt x="1019" y="937"/>
                </a:cubicBezTo>
                <a:cubicBezTo>
                  <a:pt x="1019" y="937"/>
                  <a:pt x="1019" y="937"/>
                  <a:pt x="1018" y="937"/>
                </a:cubicBezTo>
                <a:lnTo>
                  <a:pt x="928" y="846"/>
                </a:lnTo>
                <a:cubicBezTo>
                  <a:pt x="927" y="846"/>
                  <a:pt x="927" y="845"/>
                  <a:pt x="927" y="845"/>
                </a:cubicBezTo>
                <a:cubicBezTo>
                  <a:pt x="927" y="845"/>
                  <a:pt x="927" y="844"/>
                  <a:pt x="927" y="843"/>
                </a:cubicBezTo>
                <a:cubicBezTo>
                  <a:pt x="927" y="843"/>
                  <a:pt x="928" y="842"/>
                  <a:pt x="928" y="841"/>
                </a:cubicBezTo>
                <a:cubicBezTo>
                  <a:pt x="929" y="841"/>
                  <a:pt x="930" y="840"/>
                  <a:pt x="931" y="839"/>
                </a:cubicBezTo>
                <a:cubicBezTo>
                  <a:pt x="932" y="838"/>
                  <a:pt x="933" y="837"/>
                  <a:pt x="933" y="837"/>
                </a:cubicBezTo>
                <a:cubicBezTo>
                  <a:pt x="934" y="836"/>
                  <a:pt x="935" y="836"/>
                  <a:pt x="935" y="835"/>
                </a:cubicBezTo>
                <a:cubicBezTo>
                  <a:pt x="936" y="835"/>
                  <a:pt x="937" y="835"/>
                  <a:pt x="937" y="835"/>
                </a:cubicBezTo>
                <a:cubicBezTo>
                  <a:pt x="937" y="835"/>
                  <a:pt x="938" y="835"/>
                  <a:pt x="938" y="836"/>
                </a:cubicBezTo>
                <a:lnTo>
                  <a:pt x="947" y="845"/>
                </a:lnTo>
                <a:cubicBezTo>
                  <a:pt x="947" y="841"/>
                  <a:pt x="947" y="837"/>
                  <a:pt x="947" y="834"/>
                </a:cubicBezTo>
                <a:cubicBezTo>
                  <a:pt x="948" y="830"/>
                  <a:pt x="948" y="827"/>
                  <a:pt x="949" y="824"/>
                </a:cubicBezTo>
                <a:cubicBezTo>
                  <a:pt x="950" y="822"/>
                  <a:pt x="951" y="819"/>
                  <a:pt x="953" y="817"/>
                </a:cubicBezTo>
                <a:cubicBezTo>
                  <a:pt x="954" y="814"/>
                  <a:pt x="956" y="812"/>
                  <a:pt x="958" y="810"/>
                </a:cubicBezTo>
                <a:cubicBezTo>
                  <a:pt x="963" y="805"/>
                  <a:pt x="968" y="802"/>
                  <a:pt x="973" y="800"/>
                </a:cubicBezTo>
                <a:cubicBezTo>
                  <a:pt x="978" y="799"/>
                  <a:pt x="983" y="799"/>
                  <a:pt x="988" y="800"/>
                </a:cubicBezTo>
                <a:cubicBezTo>
                  <a:pt x="994" y="801"/>
                  <a:pt x="999" y="803"/>
                  <a:pt x="1004" y="806"/>
                </a:cubicBezTo>
                <a:cubicBezTo>
                  <a:pt x="1009" y="809"/>
                  <a:pt x="1014" y="813"/>
                  <a:pt x="1019" y="818"/>
                </a:cubicBezTo>
                <a:close/>
                <a:moveTo>
                  <a:pt x="1008" y="832"/>
                </a:moveTo>
                <a:cubicBezTo>
                  <a:pt x="1004" y="828"/>
                  <a:pt x="1001" y="826"/>
                  <a:pt x="997" y="823"/>
                </a:cubicBezTo>
                <a:cubicBezTo>
                  <a:pt x="994" y="820"/>
                  <a:pt x="990" y="818"/>
                  <a:pt x="987" y="817"/>
                </a:cubicBezTo>
                <a:cubicBezTo>
                  <a:pt x="983" y="816"/>
                  <a:pt x="979" y="816"/>
                  <a:pt x="976" y="817"/>
                </a:cubicBezTo>
                <a:cubicBezTo>
                  <a:pt x="972" y="817"/>
                  <a:pt x="969" y="819"/>
                  <a:pt x="966" y="822"/>
                </a:cubicBezTo>
                <a:cubicBezTo>
                  <a:pt x="964" y="824"/>
                  <a:pt x="963" y="825"/>
                  <a:pt x="962" y="827"/>
                </a:cubicBezTo>
                <a:cubicBezTo>
                  <a:pt x="961" y="829"/>
                  <a:pt x="960" y="832"/>
                  <a:pt x="960" y="834"/>
                </a:cubicBezTo>
                <a:cubicBezTo>
                  <a:pt x="959" y="837"/>
                  <a:pt x="959" y="839"/>
                  <a:pt x="959" y="843"/>
                </a:cubicBezTo>
                <a:cubicBezTo>
                  <a:pt x="959" y="846"/>
                  <a:pt x="959" y="850"/>
                  <a:pt x="959" y="854"/>
                </a:cubicBezTo>
                <a:lnTo>
                  <a:pt x="985" y="880"/>
                </a:lnTo>
                <a:cubicBezTo>
                  <a:pt x="992" y="880"/>
                  <a:pt x="998" y="880"/>
                  <a:pt x="1003" y="880"/>
                </a:cubicBezTo>
                <a:cubicBezTo>
                  <a:pt x="1009" y="879"/>
                  <a:pt x="1013" y="877"/>
                  <a:pt x="1016" y="873"/>
                </a:cubicBezTo>
                <a:cubicBezTo>
                  <a:pt x="1019" y="870"/>
                  <a:pt x="1021" y="867"/>
                  <a:pt x="1021" y="864"/>
                </a:cubicBezTo>
                <a:cubicBezTo>
                  <a:pt x="1022" y="860"/>
                  <a:pt x="1022" y="856"/>
                  <a:pt x="1021" y="853"/>
                </a:cubicBezTo>
                <a:cubicBezTo>
                  <a:pt x="1020" y="849"/>
                  <a:pt x="1018" y="845"/>
                  <a:pt x="1016" y="842"/>
                </a:cubicBezTo>
                <a:cubicBezTo>
                  <a:pt x="1013" y="838"/>
                  <a:pt x="1011" y="835"/>
                  <a:pt x="1008" y="832"/>
                </a:cubicBezTo>
                <a:close/>
                <a:moveTo>
                  <a:pt x="1120" y="783"/>
                </a:moveTo>
                <a:cubicBezTo>
                  <a:pt x="1121" y="784"/>
                  <a:pt x="1121" y="784"/>
                  <a:pt x="1121" y="785"/>
                </a:cubicBezTo>
                <a:cubicBezTo>
                  <a:pt x="1121" y="786"/>
                  <a:pt x="1121" y="786"/>
                  <a:pt x="1120" y="787"/>
                </a:cubicBezTo>
                <a:cubicBezTo>
                  <a:pt x="1120" y="788"/>
                  <a:pt x="1119" y="789"/>
                  <a:pt x="1118" y="790"/>
                </a:cubicBezTo>
                <a:cubicBezTo>
                  <a:pt x="1116" y="792"/>
                  <a:pt x="1115" y="793"/>
                  <a:pt x="1114" y="793"/>
                </a:cubicBezTo>
                <a:cubicBezTo>
                  <a:pt x="1113" y="794"/>
                  <a:pt x="1113" y="794"/>
                  <a:pt x="1112" y="794"/>
                </a:cubicBezTo>
                <a:cubicBezTo>
                  <a:pt x="1111" y="794"/>
                  <a:pt x="1111" y="794"/>
                  <a:pt x="1110" y="793"/>
                </a:cubicBezTo>
                <a:lnTo>
                  <a:pt x="1104" y="787"/>
                </a:lnTo>
                <a:cubicBezTo>
                  <a:pt x="1104" y="793"/>
                  <a:pt x="1103" y="798"/>
                  <a:pt x="1101" y="803"/>
                </a:cubicBezTo>
                <a:cubicBezTo>
                  <a:pt x="1100" y="808"/>
                  <a:pt x="1097" y="813"/>
                  <a:pt x="1093" y="817"/>
                </a:cubicBezTo>
                <a:cubicBezTo>
                  <a:pt x="1089" y="820"/>
                  <a:pt x="1086" y="823"/>
                  <a:pt x="1082" y="825"/>
                </a:cubicBezTo>
                <a:cubicBezTo>
                  <a:pt x="1079" y="827"/>
                  <a:pt x="1075" y="828"/>
                  <a:pt x="1071" y="828"/>
                </a:cubicBezTo>
                <a:cubicBezTo>
                  <a:pt x="1068" y="828"/>
                  <a:pt x="1064" y="828"/>
                  <a:pt x="1061" y="826"/>
                </a:cubicBezTo>
                <a:cubicBezTo>
                  <a:pt x="1057" y="825"/>
                  <a:pt x="1054" y="823"/>
                  <a:pt x="1051" y="820"/>
                </a:cubicBezTo>
                <a:cubicBezTo>
                  <a:pt x="1047" y="816"/>
                  <a:pt x="1045" y="812"/>
                  <a:pt x="1044" y="808"/>
                </a:cubicBezTo>
                <a:cubicBezTo>
                  <a:pt x="1042" y="804"/>
                  <a:pt x="1042" y="799"/>
                  <a:pt x="1043" y="795"/>
                </a:cubicBezTo>
                <a:cubicBezTo>
                  <a:pt x="1044" y="790"/>
                  <a:pt x="1046" y="786"/>
                  <a:pt x="1049" y="781"/>
                </a:cubicBezTo>
                <a:cubicBezTo>
                  <a:pt x="1053" y="776"/>
                  <a:pt x="1057" y="771"/>
                  <a:pt x="1062" y="766"/>
                </a:cubicBezTo>
                <a:lnTo>
                  <a:pt x="1071" y="757"/>
                </a:lnTo>
                <a:lnTo>
                  <a:pt x="1066" y="752"/>
                </a:lnTo>
                <a:cubicBezTo>
                  <a:pt x="1063" y="749"/>
                  <a:pt x="1061" y="747"/>
                  <a:pt x="1058" y="746"/>
                </a:cubicBezTo>
                <a:cubicBezTo>
                  <a:pt x="1056" y="745"/>
                  <a:pt x="1053" y="744"/>
                  <a:pt x="1051" y="744"/>
                </a:cubicBezTo>
                <a:cubicBezTo>
                  <a:pt x="1048" y="744"/>
                  <a:pt x="1046" y="744"/>
                  <a:pt x="1043" y="745"/>
                </a:cubicBezTo>
                <a:cubicBezTo>
                  <a:pt x="1041" y="747"/>
                  <a:pt x="1038" y="749"/>
                  <a:pt x="1036" y="751"/>
                </a:cubicBezTo>
                <a:cubicBezTo>
                  <a:pt x="1033" y="754"/>
                  <a:pt x="1030" y="757"/>
                  <a:pt x="1029" y="760"/>
                </a:cubicBezTo>
                <a:cubicBezTo>
                  <a:pt x="1027" y="763"/>
                  <a:pt x="1026" y="766"/>
                  <a:pt x="1025" y="769"/>
                </a:cubicBezTo>
                <a:cubicBezTo>
                  <a:pt x="1024" y="771"/>
                  <a:pt x="1023" y="773"/>
                  <a:pt x="1023" y="775"/>
                </a:cubicBezTo>
                <a:cubicBezTo>
                  <a:pt x="1022" y="777"/>
                  <a:pt x="1022" y="778"/>
                  <a:pt x="1021" y="779"/>
                </a:cubicBezTo>
                <a:cubicBezTo>
                  <a:pt x="1021" y="779"/>
                  <a:pt x="1020" y="780"/>
                  <a:pt x="1020" y="780"/>
                </a:cubicBezTo>
                <a:cubicBezTo>
                  <a:pt x="1020" y="780"/>
                  <a:pt x="1019" y="780"/>
                  <a:pt x="1018" y="780"/>
                </a:cubicBezTo>
                <a:cubicBezTo>
                  <a:pt x="1018" y="779"/>
                  <a:pt x="1017" y="779"/>
                  <a:pt x="1016" y="779"/>
                </a:cubicBezTo>
                <a:cubicBezTo>
                  <a:pt x="1016" y="778"/>
                  <a:pt x="1015" y="778"/>
                  <a:pt x="1014" y="777"/>
                </a:cubicBezTo>
                <a:cubicBezTo>
                  <a:pt x="1013" y="776"/>
                  <a:pt x="1012" y="775"/>
                  <a:pt x="1012" y="774"/>
                </a:cubicBezTo>
                <a:cubicBezTo>
                  <a:pt x="1011" y="773"/>
                  <a:pt x="1011" y="772"/>
                  <a:pt x="1011" y="771"/>
                </a:cubicBezTo>
                <a:cubicBezTo>
                  <a:pt x="1011" y="769"/>
                  <a:pt x="1011" y="767"/>
                  <a:pt x="1012" y="765"/>
                </a:cubicBezTo>
                <a:cubicBezTo>
                  <a:pt x="1013" y="763"/>
                  <a:pt x="1014" y="760"/>
                  <a:pt x="1015" y="757"/>
                </a:cubicBezTo>
                <a:cubicBezTo>
                  <a:pt x="1017" y="754"/>
                  <a:pt x="1018" y="752"/>
                  <a:pt x="1020" y="749"/>
                </a:cubicBezTo>
                <a:cubicBezTo>
                  <a:pt x="1022" y="746"/>
                  <a:pt x="1025" y="743"/>
                  <a:pt x="1027" y="741"/>
                </a:cubicBezTo>
                <a:cubicBezTo>
                  <a:pt x="1032" y="736"/>
                  <a:pt x="1036" y="733"/>
                  <a:pt x="1040" y="730"/>
                </a:cubicBezTo>
                <a:cubicBezTo>
                  <a:pt x="1045" y="728"/>
                  <a:pt x="1049" y="727"/>
                  <a:pt x="1053" y="727"/>
                </a:cubicBezTo>
                <a:cubicBezTo>
                  <a:pt x="1057" y="727"/>
                  <a:pt x="1061" y="728"/>
                  <a:pt x="1065" y="730"/>
                </a:cubicBezTo>
                <a:cubicBezTo>
                  <a:pt x="1069" y="732"/>
                  <a:pt x="1073" y="735"/>
                  <a:pt x="1077" y="740"/>
                </a:cubicBezTo>
                <a:lnTo>
                  <a:pt x="1120" y="783"/>
                </a:lnTo>
                <a:close/>
                <a:moveTo>
                  <a:pt x="1079" y="765"/>
                </a:moveTo>
                <a:lnTo>
                  <a:pt x="1069" y="775"/>
                </a:lnTo>
                <a:cubicBezTo>
                  <a:pt x="1066" y="779"/>
                  <a:pt x="1063" y="782"/>
                  <a:pt x="1061" y="785"/>
                </a:cubicBezTo>
                <a:cubicBezTo>
                  <a:pt x="1060" y="788"/>
                  <a:pt x="1058" y="791"/>
                  <a:pt x="1058" y="793"/>
                </a:cubicBezTo>
                <a:cubicBezTo>
                  <a:pt x="1057" y="796"/>
                  <a:pt x="1057" y="798"/>
                  <a:pt x="1058" y="801"/>
                </a:cubicBezTo>
                <a:cubicBezTo>
                  <a:pt x="1059" y="803"/>
                  <a:pt x="1060" y="805"/>
                  <a:pt x="1062" y="807"/>
                </a:cubicBezTo>
                <a:cubicBezTo>
                  <a:pt x="1066" y="810"/>
                  <a:pt x="1069" y="812"/>
                  <a:pt x="1074" y="812"/>
                </a:cubicBezTo>
                <a:cubicBezTo>
                  <a:pt x="1078" y="812"/>
                  <a:pt x="1082" y="810"/>
                  <a:pt x="1085" y="806"/>
                </a:cubicBezTo>
                <a:cubicBezTo>
                  <a:pt x="1089" y="803"/>
                  <a:pt x="1091" y="799"/>
                  <a:pt x="1092" y="795"/>
                </a:cubicBezTo>
                <a:cubicBezTo>
                  <a:pt x="1093" y="790"/>
                  <a:pt x="1093" y="785"/>
                  <a:pt x="1093" y="779"/>
                </a:cubicBezTo>
                <a:lnTo>
                  <a:pt x="1079" y="765"/>
                </a:lnTo>
                <a:close/>
                <a:moveTo>
                  <a:pt x="1176" y="708"/>
                </a:moveTo>
                <a:cubicBezTo>
                  <a:pt x="1177" y="708"/>
                  <a:pt x="1178" y="709"/>
                  <a:pt x="1178" y="710"/>
                </a:cubicBezTo>
                <a:cubicBezTo>
                  <a:pt x="1179" y="710"/>
                  <a:pt x="1179" y="711"/>
                  <a:pt x="1180" y="711"/>
                </a:cubicBezTo>
                <a:cubicBezTo>
                  <a:pt x="1180" y="712"/>
                  <a:pt x="1180" y="713"/>
                  <a:pt x="1180" y="713"/>
                </a:cubicBezTo>
                <a:cubicBezTo>
                  <a:pt x="1180" y="713"/>
                  <a:pt x="1180" y="714"/>
                  <a:pt x="1180" y="716"/>
                </a:cubicBezTo>
                <a:cubicBezTo>
                  <a:pt x="1180" y="717"/>
                  <a:pt x="1180" y="718"/>
                  <a:pt x="1180" y="721"/>
                </a:cubicBezTo>
                <a:cubicBezTo>
                  <a:pt x="1179" y="723"/>
                  <a:pt x="1178" y="726"/>
                  <a:pt x="1177" y="728"/>
                </a:cubicBezTo>
                <a:cubicBezTo>
                  <a:pt x="1176" y="730"/>
                  <a:pt x="1175" y="733"/>
                  <a:pt x="1173" y="736"/>
                </a:cubicBezTo>
                <a:cubicBezTo>
                  <a:pt x="1171" y="738"/>
                  <a:pt x="1169" y="740"/>
                  <a:pt x="1167" y="743"/>
                </a:cubicBezTo>
                <a:cubicBezTo>
                  <a:pt x="1162" y="747"/>
                  <a:pt x="1157" y="751"/>
                  <a:pt x="1152" y="753"/>
                </a:cubicBezTo>
                <a:cubicBezTo>
                  <a:pt x="1147" y="755"/>
                  <a:pt x="1142" y="756"/>
                  <a:pt x="1137" y="755"/>
                </a:cubicBezTo>
                <a:cubicBezTo>
                  <a:pt x="1131" y="755"/>
                  <a:pt x="1126" y="753"/>
                  <a:pt x="1120" y="750"/>
                </a:cubicBezTo>
                <a:cubicBezTo>
                  <a:pt x="1115" y="747"/>
                  <a:pt x="1109" y="742"/>
                  <a:pt x="1104" y="737"/>
                </a:cubicBezTo>
                <a:cubicBezTo>
                  <a:pt x="1097" y="730"/>
                  <a:pt x="1092" y="724"/>
                  <a:pt x="1089" y="718"/>
                </a:cubicBezTo>
                <a:cubicBezTo>
                  <a:pt x="1086" y="712"/>
                  <a:pt x="1085" y="706"/>
                  <a:pt x="1085" y="700"/>
                </a:cubicBezTo>
                <a:cubicBezTo>
                  <a:pt x="1084" y="695"/>
                  <a:pt x="1085" y="689"/>
                  <a:pt x="1088" y="684"/>
                </a:cubicBezTo>
                <a:cubicBezTo>
                  <a:pt x="1090" y="679"/>
                  <a:pt x="1093" y="675"/>
                  <a:pt x="1097" y="670"/>
                </a:cubicBezTo>
                <a:cubicBezTo>
                  <a:pt x="1099" y="668"/>
                  <a:pt x="1102" y="667"/>
                  <a:pt x="1104" y="665"/>
                </a:cubicBezTo>
                <a:cubicBezTo>
                  <a:pt x="1106" y="663"/>
                  <a:pt x="1109" y="662"/>
                  <a:pt x="1111" y="661"/>
                </a:cubicBezTo>
                <a:cubicBezTo>
                  <a:pt x="1113" y="660"/>
                  <a:pt x="1115" y="659"/>
                  <a:pt x="1117" y="659"/>
                </a:cubicBezTo>
                <a:cubicBezTo>
                  <a:pt x="1119" y="659"/>
                  <a:pt x="1121" y="658"/>
                  <a:pt x="1122" y="658"/>
                </a:cubicBezTo>
                <a:cubicBezTo>
                  <a:pt x="1123" y="658"/>
                  <a:pt x="1124" y="658"/>
                  <a:pt x="1125" y="658"/>
                </a:cubicBezTo>
                <a:cubicBezTo>
                  <a:pt x="1125" y="659"/>
                  <a:pt x="1126" y="659"/>
                  <a:pt x="1126" y="659"/>
                </a:cubicBezTo>
                <a:cubicBezTo>
                  <a:pt x="1127" y="659"/>
                  <a:pt x="1128" y="660"/>
                  <a:pt x="1128" y="660"/>
                </a:cubicBezTo>
                <a:cubicBezTo>
                  <a:pt x="1129" y="661"/>
                  <a:pt x="1130" y="662"/>
                  <a:pt x="1131" y="662"/>
                </a:cubicBezTo>
                <a:cubicBezTo>
                  <a:pt x="1132" y="664"/>
                  <a:pt x="1133" y="666"/>
                  <a:pt x="1134" y="667"/>
                </a:cubicBezTo>
                <a:cubicBezTo>
                  <a:pt x="1134" y="668"/>
                  <a:pt x="1134" y="669"/>
                  <a:pt x="1133" y="670"/>
                </a:cubicBezTo>
                <a:cubicBezTo>
                  <a:pt x="1133" y="670"/>
                  <a:pt x="1131" y="671"/>
                  <a:pt x="1130" y="671"/>
                </a:cubicBezTo>
                <a:cubicBezTo>
                  <a:pt x="1128" y="671"/>
                  <a:pt x="1126" y="671"/>
                  <a:pt x="1123" y="672"/>
                </a:cubicBezTo>
                <a:cubicBezTo>
                  <a:pt x="1121" y="672"/>
                  <a:pt x="1118" y="673"/>
                  <a:pt x="1116" y="675"/>
                </a:cubicBezTo>
                <a:cubicBezTo>
                  <a:pt x="1113" y="676"/>
                  <a:pt x="1110" y="678"/>
                  <a:pt x="1107" y="681"/>
                </a:cubicBezTo>
                <a:cubicBezTo>
                  <a:pt x="1102" y="686"/>
                  <a:pt x="1099" y="693"/>
                  <a:pt x="1101" y="700"/>
                </a:cubicBezTo>
                <a:cubicBezTo>
                  <a:pt x="1102" y="708"/>
                  <a:pt x="1107" y="716"/>
                  <a:pt x="1115" y="724"/>
                </a:cubicBezTo>
                <a:cubicBezTo>
                  <a:pt x="1119" y="728"/>
                  <a:pt x="1123" y="731"/>
                  <a:pt x="1127" y="734"/>
                </a:cubicBezTo>
                <a:cubicBezTo>
                  <a:pt x="1131" y="736"/>
                  <a:pt x="1135" y="737"/>
                  <a:pt x="1139" y="738"/>
                </a:cubicBezTo>
                <a:cubicBezTo>
                  <a:pt x="1142" y="739"/>
                  <a:pt x="1146" y="738"/>
                  <a:pt x="1149" y="737"/>
                </a:cubicBezTo>
                <a:cubicBezTo>
                  <a:pt x="1152" y="736"/>
                  <a:pt x="1155" y="734"/>
                  <a:pt x="1158" y="731"/>
                </a:cubicBezTo>
                <a:cubicBezTo>
                  <a:pt x="1161" y="728"/>
                  <a:pt x="1163" y="725"/>
                  <a:pt x="1164" y="722"/>
                </a:cubicBezTo>
                <a:cubicBezTo>
                  <a:pt x="1165" y="720"/>
                  <a:pt x="1166" y="717"/>
                  <a:pt x="1167" y="714"/>
                </a:cubicBezTo>
                <a:cubicBezTo>
                  <a:pt x="1167" y="712"/>
                  <a:pt x="1167" y="710"/>
                  <a:pt x="1168" y="708"/>
                </a:cubicBezTo>
                <a:cubicBezTo>
                  <a:pt x="1168" y="706"/>
                  <a:pt x="1168" y="705"/>
                  <a:pt x="1169" y="704"/>
                </a:cubicBezTo>
                <a:cubicBezTo>
                  <a:pt x="1169" y="704"/>
                  <a:pt x="1170" y="703"/>
                  <a:pt x="1170" y="703"/>
                </a:cubicBezTo>
                <a:cubicBezTo>
                  <a:pt x="1170" y="703"/>
                  <a:pt x="1171" y="704"/>
                  <a:pt x="1172" y="704"/>
                </a:cubicBezTo>
                <a:cubicBezTo>
                  <a:pt x="1172" y="704"/>
                  <a:pt x="1173" y="705"/>
                  <a:pt x="1174" y="705"/>
                </a:cubicBezTo>
                <a:cubicBezTo>
                  <a:pt x="1174" y="706"/>
                  <a:pt x="1175" y="707"/>
                  <a:pt x="1176" y="708"/>
                </a:cubicBezTo>
                <a:close/>
                <a:moveTo>
                  <a:pt x="1219" y="684"/>
                </a:moveTo>
                <a:cubicBezTo>
                  <a:pt x="1220" y="684"/>
                  <a:pt x="1220" y="685"/>
                  <a:pt x="1220" y="685"/>
                </a:cubicBezTo>
                <a:cubicBezTo>
                  <a:pt x="1220" y="686"/>
                  <a:pt x="1220" y="686"/>
                  <a:pt x="1220" y="687"/>
                </a:cubicBezTo>
                <a:cubicBezTo>
                  <a:pt x="1219" y="688"/>
                  <a:pt x="1219" y="688"/>
                  <a:pt x="1218" y="689"/>
                </a:cubicBezTo>
                <a:cubicBezTo>
                  <a:pt x="1218" y="690"/>
                  <a:pt x="1217" y="691"/>
                  <a:pt x="1216" y="692"/>
                </a:cubicBezTo>
                <a:cubicBezTo>
                  <a:pt x="1214" y="693"/>
                  <a:pt x="1213" y="694"/>
                  <a:pt x="1213" y="695"/>
                </a:cubicBezTo>
                <a:cubicBezTo>
                  <a:pt x="1212" y="696"/>
                  <a:pt x="1211" y="696"/>
                  <a:pt x="1210" y="696"/>
                </a:cubicBezTo>
                <a:cubicBezTo>
                  <a:pt x="1210" y="697"/>
                  <a:pt x="1209" y="697"/>
                  <a:pt x="1209" y="697"/>
                </a:cubicBezTo>
                <a:cubicBezTo>
                  <a:pt x="1208" y="697"/>
                  <a:pt x="1208" y="696"/>
                  <a:pt x="1207" y="696"/>
                </a:cubicBezTo>
                <a:lnTo>
                  <a:pt x="1143" y="631"/>
                </a:lnTo>
                <a:cubicBezTo>
                  <a:pt x="1142" y="631"/>
                  <a:pt x="1142" y="631"/>
                  <a:pt x="1142" y="630"/>
                </a:cubicBezTo>
                <a:cubicBezTo>
                  <a:pt x="1142" y="630"/>
                  <a:pt x="1142" y="629"/>
                  <a:pt x="1142" y="628"/>
                </a:cubicBezTo>
                <a:cubicBezTo>
                  <a:pt x="1143" y="628"/>
                  <a:pt x="1143" y="627"/>
                  <a:pt x="1144" y="626"/>
                </a:cubicBezTo>
                <a:cubicBezTo>
                  <a:pt x="1144" y="625"/>
                  <a:pt x="1145" y="624"/>
                  <a:pt x="1146" y="623"/>
                </a:cubicBezTo>
                <a:cubicBezTo>
                  <a:pt x="1148" y="622"/>
                  <a:pt x="1149" y="621"/>
                  <a:pt x="1150" y="620"/>
                </a:cubicBezTo>
                <a:cubicBezTo>
                  <a:pt x="1150" y="620"/>
                  <a:pt x="1151" y="619"/>
                  <a:pt x="1152" y="619"/>
                </a:cubicBezTo>
                <a:cubicBezTo>
                  <a:pt x="1152" y="619"/>
                  <a:pt x="1153" y="619"/>
                  <a:pt x="1153" y="619"/>
                </a:cubicBezTo>
                <a:cubicBezTo>
                  <a:pt x="1154" y="619"/>
                  <a:pt x="1154" y="619"/>
                  <a:pt x="1155" y="619"/>
                </a:cubicBezTo>
                <a:lnTo>
                  <a:pt x="1219" y="684"/>
                </a:lnTo>
                <a:close/>
                <a:moveTo>
                  <a:pt x="1134" y="596"/>
                </a:moveTo>
                <a:cubicBezTo>
                  <a:pt x="1137" y="599"/>
                  <a:pt x="1138" y="601"/>
                  <a:pt x="1138" y="604"/>
                </a:cubicBezTo>
                <a:cubicBezTo>
                  <a:pt x="1138" y="606"/>
                  <a:pt x="1137" y="608"/>
                  <a:pt x="1134" y="611"/>
                </a:cubicBezTo>
                <a:cubicBezTo>
                  <a:pt x="1131" y="614"/>
                  <a:pt x="1129" y="615"/>
                  <a:pt x="1127" y="615"/>
                </a:cubicBezTo>
                <a:cubicBezTo>
                  <a:pt x="1125" y="615"/>
                  <a:pt x="1122" y="614"/>
                  <a:pt x="1120" y="611"/>
                </a:cubicBezTo>
                <a:cubicBezTo>
                  <a:pt x="1117" y="608"/>
                  <a:pt x="1116" y="606"/>
                  <a:pt x="1116" y="604"/>
                </a:cubicBezTo>
                <a:cubicBezTo>
                  <a:pt x="1116" y="602"/>
                  <a:pt x="1117" y="599"/>
                  <a:pt x="1120" y="596"/>
                </a:cubicBezTo>
                <a:cubicBezTo>
                  <a:pt x="1123" y="594"/>
                  <a:pt x="1125" y="592"/>
                  <a:pt x="1127" y="592"/>
                </a:cubicBezTo>
                <a:cubicBezTo>
                  <a:pt x="1129" y="592"/>
                  <a:pt x="1131" y="594"/>
                  <a:pt x="1134" y="596"/>
                </a:cubicBezTo>
                <a:close/>
                <a:moveTo>
                  <a:pt x="1270" y="624"/>
                </a:moveTo>
                <a:cubicBezTo>
                  <a:pt x="1272" y="625"/>
                  <a:pt x="1273" y="626"/>
                  <a:pt x="1273" y="627"/>
                </a:cubicBezTo>
                <a:cubicBezTo>
                  <a:pt x="1274" y="628"/>
                  <a:pt x="1274" y="629"/>
                  <a:pt x="1274" y="630"/>
                </a:cubicBezTo>
                <a:cubicBezTo>
                  <a:pt x="1274" y="631"/>
                  <a:pt x="1274" y="632"/>
                  <a:pt x="1274" y="633"/>
                </a:cubicBezTo>
                <a:cubicBezTo>
                  <a:pt x="1273" y="634"/>
                  <a:pt x="1273" y="635"/>
                  <a:pt x="1272" y="636"/>
                </a:cubicBezTo>
                <a:cubicBezTo>
                  <a:pt x="1271" y="637"/>
                  <a:pt x="1270" y="639"/>
                  <a:pt x="1269" y="640"/>
                </a:cubicBezTo>
                <a:cubicBezTo>
                  <a:pt x="1268" y="641"/>
                  <a:pt x="1267" y="642"/>
                  <a:pt x="1266" y="643"/>
                </a:cubicBezTo>
                <a:cubicBezTo>
                  <a:pt x="1263" y="647"/>
                  <a:pt x="1259" y="649"/>
                  <a:pt x="1256" y="651"/>
                </a:cubicBezTo>
                <a:cubicBezTo>
                  <a:pt x="1253" y="652"/>
                  <a:pt x="1250" y="653"/>
                  <a:pt x="1246" y="653"/>
                </a:cubicBezTo>
                <a:cubicBezTo>
                  <a:pt x="1243" y="652"/>
                  <a:pt x="1240" y="651"/>
                  <a:pt x="1236" y="649"/>
                </a:cubicBezTo>
                <a:cubicBezTo>
                  <a:pt x="1233" y="647"/>
                  <a:pt x="1229" y="644"/>
                  <a:pt x="1225" y="640"/>
                </a:cubicBezTo>
                <a:lnTo>
                  <a:pt x="1188" y="603"/>
                </a:lnTo>
                <a:lnTo>
                  <a:pt x="1178" y="612"/>
                </a:lnTo>
                <a:cubicBezTo>
                  <a:pt x="1178" y="612"/>
                  <a:pt x="1177" y="613"/>
                  <a:pt x="1176" y="612"/>
                </a:cubicBezTo>
                <a:cubicBezTo>
                  <a:pt x="1174" y="612"/>
                  <a:pt x="1173" y="611"/>
                  <a:pt x="1171" y="609"/>
                </a:cubicBezTo>
                <a:cubicBezTo>
                  <a:pt x="1170" y="608"/>
                  <a:pt x="1170" y="607"/>
                  <a:pt x="1169" y="607"/>
                </a:cubicBezTo>
                <a:cubicBezTo>
                  <a:pt x="1169" y="606"/>
                  <a:pt x="1168" y="605"/>
                  <a:pt x="1168" y="605"/>
                </a:cubicBezTo>
                <a:cubicBezTo>
                  <a:pt x="1168" y="604"/>
                  <a:pt x="1168" y="603"/>
                  <a:pt x="1168" y="603"/>
                </a:cubicBezTo>
                <a:cubicBezTo>
                  <a:pt x="1168" y="603"/>
                  <a:pt x="1168" y="602"/>
                  <a:pt x="1169" y="602"/>
                </a:cubicBezTo>
                <a:lnTo>
                  <a:pt x="1178" y="593"/>
                </a:lnTo>
                <a:lnTo>
                  <a:pt x="1162" y="577"/>
                </a:lnTo>
                <a:cubicBezTo>
                  <a:pt x="1162" y="577"/>
                  <a:pt x="1162" y="577"/>
                  <a:pt x="1162" y="576"/>
                </a:cubicBezTo>
                <a:cubicBezTo>
                  <a:pt x="1162" y="576"/>
                  <a:pt x="1162" y="575"/>
                  <a:pt x="1162" y="574"/>
                </a:cubicBezTo>
                <a:cubicBezTo>
                  <a:pt x="1162" y="574"/>
                  <a:pt x="1163" y="573"/>
                  <a:pt x="1163" y="572"/>
                </a:cubicBezTo>
                <a:cubicBezTo>
                  <a:pt x="1164" y="571"/>
                  <a:pt x="1165" y="570"/>
                  <a:pt x="1166" y="569"/>
                </a:cubicBezTo>
                <a:cubicBezTo>
                  <a:pt x="1167" y="568"/>
                  <a:pt x="1168" y="567"/>
                  <a:pt x="1169" y="566"/>
                </a:cubicBezTo>
                <a:cubicBezTo>
                  <a:pt x="1170" y="566"/>
                  <a:pt x="1171" y="565"/>
                  <a:pt x="1171" y="565"/>
                </a:cubicBezTo>
                <a:cubicBezTo>
                  <a:pt x="1172" y="565"/>
                  <a:pt x="1172" y="565"/>
                  <a:pt x="1173" y="565"/>
                </a:cubicBezTo>
                <a:cubicBezTo>
                  <a:pt x="1173" y="565"/>
                  <a:pt x="1174" y="565"/>
                  <a:pt x="1174" y="565"/>
                </a:cubicBezTo>
                <a:lnTo>
                  <a:pt x="1190" y="581"/>
                </a:lnTo>
                <a:lnTo>
                  <a:pt x="1206" y="564"/>
                </a:lnTo>
                <a:cubicBezTo>
                  <a:pt x="1207" y="564"/>
                  <a:pt x="1207" y="564"/>
                  <a:pt x="1207" y="564"/>
                </a:cubicBezTo>
                <a:cubicBezTo>
                  <a:pt x="1208" y="563"/>
                  <a:pt x="1208" y="563"/>
                  <a:pt x="1209" y="564"/>
                </a:cubicBezTo>
                <a:cubicBezTo>
                  <a:pt x="1210" y="564"/>
                  <a:pt x="1210" y="564"/>
                  <a:pt x="1211" y="565"/>
                </a:cubicBezTo>
                <a:cubicBezTo>
                  <a:pt x="1212" y="565"/>
                  <a:pt x="1213" y="566"/>
                  <a:pt x="1213" y="567"/>
                </a:cubicBezTo>
                <a:cubicBezTo>
                  <a:pt x="1215" y="569"/>
                  <a:pt x="1216" y="570"/>
                  <a:pt x="1217" y="571"/>
                </a:cubicBezTo>
                <a:cubicBezTo>
                  <a:pt x="1217" y="572"/>
                  <a:pt x="1217" y="573"/>
                  <a:pt x="1216" y="574"/>
                </a:cubicBezTo>
                <a:lnTo>
                  <a:pt x="1199" y="591"/>
                </a:lnTo>
                <a:lnTo>
                  <a:pt x="1235" y="627"/>
                </a:lnTo>
                <a:cubicBezTo>
                  <a:pt x="1240" y="631"/>
                  <a:pt x="1244" y="634"/>
                  <a:pt x="1248" y="635"/>
                </a:cubicBezTo>
                <a:cubicBezTo>
                  <a:pt x="1251" y="636"/>
                  <a:pt x="1255" y="635"/>
                  <a:pt x="1258" y="631"/>
                </a:cubicBezTo>
                <a:cubicBezTo>
                  <a:pt x="1259" y="630"/>
                  <a:pt x="1260" y="629"/>
                  <a:pt x="1261" y="628"/>
                </a:cubicBezTo>
                <a:cubicBezTo>
                  <a:pt x="1261" y="627"/>
                  <a:pt x="1262" y="626"/>
                  <a:pt x="1262" y="625"/>
                </a:cubicBezTo>
                <a:cubicBezTo>
                  <a:pt x="1263" y="624"/>
                  <a:pt x="1263" y="623"/>
                  <a:pt x="1263" y="623"/>
                </a:cubicBezTo>
                <a:cubicBezTo>
                  <a:pt x="1264" y="622"/>
                  <a:pt x="1264" y="621"/>
                  <a:pt x="1264" y="621"/>
                </a:cubicBezTo>
                <a:cubicBezTo>
                  <a:pt x="1264" y="621"/>
                  <a:pt x="1265" y="621"/>
                  <a:pt x="1265" y="620"/>
                </a:cubicBezTo>
                <a:cubicBezTo>
                  <a:pt x="1265" y="620"/>
                  <a:pt x="1266" y="620"/>
                  <a:pt x="1266" y="621"/>
                </a:cubicBezTo>
                <a:cubicBezTo>
                  <a:pt x="1267" y="621"/>
                  <a:pt x="1267" y="621"/>
                  <a:pt x="1268" y="622"/>
                </a:cubicBezTo>
                <a:cubicBezTo>
                  <a:pt x="1269" y="622"/>
                  <a:pt x="1269" y="623"/>
                  <a:pt x="1270" y="624"/>
                </a:cubicBezTo>
                <a:close/>
                <a:moveTo>
                  <a:pt x="1318" y="589"/>
                </a:moveTo>
                <a:lnTo>
                  <a:pt x="1333" y="622"/>
                </a:lnTo>
                <a:cubicBezTo>
                  <a:pt x="1334" y="623"/>
                  <a:pt x="1333" y="624"/>
                  <a:pt x="1333" y="625"/>
                </a:cubicBezTo>
                <a:cubicBezTo>
                  <a:pt x="1332" y="627"/>
                  <a:pt x="1330" y="629"/>
                  <a:pt x="1328" y="631"/>
                </a:cubicBezTo>
                <a:cubicBezTo>
                  <a:pt x="1327" y="633"/>
                  <a:pt x="1326" y="634"/>
                  <a:pt x="1325" y="634"/>
                </a:cubicBezTo>
                <a:cubicBezTo>
                  <a:pt x="1324" y="635"/>
                  <a:pt x="1323" y="635"/>
                  <a:pt x="1322" y="635"/>
                </a:cubicBezTo>
                <a:cubicBezTo>
                  <a:pt x="1322" y="636"/>
                  <a:pt x="1321" y="635"/>
                  <a:pt x="1320" y="635"/>
                </a:cubicBezTo>
                <a:cubicBezTo>
                  <a:pt x="1320" y="635"/>
                  <a:pt x="1319" y="634"/>
                  <a:pt x="1319" y="633"/>
                </a:cubicBezTo>
                <a:lnTo>
                  <a:pt x="1306" y="601"/>
                </a:lnTo>
                <a:cubicBezTo>
                  <a:pt x="1305" y="602"/>
                  <a:pt x="1304" y="602"/>
                  <a:pt x="1303" y="602"/>
                </a:cubicBezTo>
                <a:cubicBezTo>
                  <a:pt x="1303" y="602"/>
                  <a:pt x="1302" y="602"/>
                  <a:pt x="1301" y="601"/>
                </a:cubicBezTo>
                <a:lnTo>
                  <a:pt x="1216" y="562"/>
                </a:lnTo>
                <a:cubicBezTo>
                  <a:pt x="1215" y="562"/>
                  <a:pt x="1214" y="561"/>
                  <a:pt x="1213" y="561"/>
                </a:cubicBezTo>
                <a:cubicBezTo>
                  <a:pt x="1213" y="560"/>
                  <a:pt x="1213" y="559"/>
                  <a:pt x="1213" y="559"/>
                </a:cubicBezTo>
                <a:cubicBezTo>
                  <a:pt x="1213" y="558"/>
                  <a:pt x="1213" y="557"/>
                  <a:pt x="1214" y="556"/>
                </a:cubicBezTo>
                <a:cubicBezTo>
                  <a:pt x="1215" y="555"/>
                  <a:pt x="1216" y="554"/>
                  <a:pt x="1217" y="553"/>
                </a:cubicBezTo>
                <a:cubicBezTo>
                  <a:pt x="1219" y="551"/>
                  <a:pt x="1220" y="550"/>
                  <a:pt x="1221" y="549"/>
                </a:cubicBezTo>
                <a:cubicBezTo>
                  <a:pt x="1222" y="549"/>
                  <a:pt x="1222" y="548"/>
                  <a:pt x="1223" y="548"/>
                </a:cubicBezTo>
                <a:cubicBezTo>
                  <a:pt x="1224" y="547"/>
                  <a:pt x="1224" y="547"/>
                  <a:pt x="1225" y="548"/>
                </a:cubicBezTo>
                <a:cubicBezTo>
                  <a:pt x="1225" y="548"/>
                  <a:pt x="1226" y="548"/>
                  <a:pt x="1227" y="548"/>
                </a:cubicBezTo>
                <a:lnTo>
                  <a:pt x="1297" y="582"/>
                </a:lnTo>
                <a:lnTo>
                  <a:pt x="1297" y="582"/>
                </a:lnTo>
                <a:lnTo>
                  <a:pt x="1263" y="512"/>
                </a:lnTo>
                <a:cubicBezTo>
                  <a:pt x="1263" y="510"/>
                  <a:pt x="1262" y="509"/>
                  <a:pt x="1262" y="509"/>
                </a:cubicBezTo>
                <a:cubicBezTo>
                  <a:pt x="1263" y="508"/>
                  <a:pt x="1263" y="507"/>
                  <a:pt x="1264" y="506"/>
                </a:cubicBezTo>
                <a:cubicBezTo>
                  <a:pt x="1264" y="505"/>
                  <a:pt x="1266" y="504"/>
                  <a:pt x="1267" y="503"/>
                </a:cubicBezTo>
                <a:cubicBezTo>
                  <a:pt x="1268" y="501"/>
                  <a:pt x="1270" y="500"/>
                  <a:pt x="1271" y="500"/>
                </a:cubicBezTo>
                <a:cubicBezTo>
                  <a:pt x="1272" y="499"/>
                  <a:pt x="1272" y="498"/>
                  <a:pt x="1273" y="498"/>
                </a:cubicBezTo>
                <a:cubicBezTo>
                  <a:pt x="1274" y="498"/>
                  <a:pt x="1275" y="498"/>
                  <a:pt x="1275" y="499"/>
                </a:cubicBezTo>
                <a:cubicBezTo>
                  <a:pt x="1276" y="500"/>
                  <a:pt x="1276" y="500"/>
                  <a:pt x="1277" y="502"/>
                </a:cubicBezTo>
                <a:lnTo>
                  <a:pt x="1318" y="589"/>
                </a:lnTo>
                <a:close/>
                <a:moveTo>
                  <a:pt x="1364" y="368"/>
                </a:moveTo>
                <a:cubicBezTo>
                  <a:pt x="1365" y="369"/>
                  <a:pt x="1366" y="369"/>
                  <a:pt x="1366" y="370"/>
                </a:cubicBezTo>
                <a:cubicBezTo>
                  <a:pt x="1367" y="371"/>
                  <a:pt x="1367" y="372"/>
                  <a:pt x="1368" y="372"/>
                </a:cubicBezTo>
                <a:cubicBezTo>
                  <a:pt x="1368" y="373"/>
                  <a:pt x="1368" y="373"/>
                  <a:pt x="1368" y="374"/>
                </a:cubicBezTo>
                <a:cubicBezTo>
                  <a:pt x="1367" y="374"/>
                  <a:pt x="1367" y="375"/>
                  <a:pt x="1367" y="375"/>
                </a:cubicBezTo>
                <a:lnTo>
                  <a:pt x="1333" y="409"/>
                </a:lnTo>
                <a:lnTo>
                  <a:pt x="1364" y="441"/>
                </a:lnTo>
                <a:lnTo>
                  <a:pt x="1397" y="409"/>
                </a:lnTo>
                <a:cubicBezTo>
                  <a:pt x="1397" y="408"/>
                  <a:pt x="1397" y="408"/>
                  <a:pt x="1398" y="408"/>
                </a:cubicBezTo>
                <a:cubicBezTo>
                  <a:pt x="1398" y="408"/>
                  <a:pt x="1399" y="408"/>
                  <a:pt x="1400" y="408"/>
                </a:cubicBezTo>
                <a:cubicBezTo>
                  <a:pt x="1400" y="408"/>
                  <a:pt x="1401" y="408"/>
                  <a:pt x="1402" y="409"/>
                </a:cubicBezTo>
                <a:cubicBezTo>
                  <a:pt x="1402" y="410"/>
                  <a:pt x="1403" y="410"/>
                  <a:pt x="1404" y="411"/>
                </a:cubicBezTo>
                <a:cubicBezTo>
                  <a:pt x="1405" y="412"/>
                  <a:pt x="1406" y="413"/>
                  <a:pt x="1406" y="414"/>
                </a:cubicBezTo>
                <a:cubicBezTo>
                  <a:pt x="1407" y="415"/>
                  <a:pt x="1407" y="415"/>
                  <a:pt x="1407" y="416"/>
                </a:cubicBezTo>
                <a:cubicBezTo>
                  <a:pt x="1408" y="417"/>
                  <a:pt x="1408" y="417"/>
                  <a:pt x="1408" y="418"/>
                </a:cubicBezTo>
                <a:cubicBezTo>
                  <a:pt x="1407" y="418"/>
                  <a:pt x="1407" y="419"/>
                  <a:pt x="1407" y="419"/>
                </a:cubicBezTo>
                <a:lnTo>
                  <a:pt x="1375" y="451"/>
                </a:lnTo>
                <a:lnTo>
                  <a:pt x="1413" y="490"/>
                </a:lnTo>
                <a:cubicBezTo>
                  <a:pt x="1414" y="490"/>
                  <a:pt x="1414" y="491"/>
                  <a:pt x="1414" y="491"/>
                </a:cubicBezTo>
                <a:cubicBezTo>
                  <a:pt x="1414" y="492"/>
                  <a:pt x="1414" y="492"/>
                  <a:pt x="1414" y="493"/>
                </a:cubicBezTo>
                <a:cubicBezTo>
                  <a:pt x="1414" y="493"/>
                  <a:pt x="1413" y="494"/>
                  <a:pt x="1412" y="495"/>
                </a:cubicBezTo>
                <a:cubicBezTo>
                  <a:pt x="1412" y="496"/>
                  <a:pt x="1411" y="497"/>
                  <a:pt x="1410" y="498"/>
                </a:cubicBezTo>
                <a:cubicBezTo>
                  <a:pt x="1408" y="499"/>
                  <a:pt x="1407" y="500"/>
                  <a:pt x="1406" y="501"/>
                </a:cubicBezTo>
                <a:cubicBezTo>
                  <a:pt x="1405" y="502"/>
                  <a:pt x="1405" y="502"/>
                  <a:pt x="1404" y="503"/>
                </a:cubicBezTo>
                <a:cubicBezTo>
                  <a:pt x="1403" y="503"/>
                  <a:pt x="1403" y="503"/>
                  <a:pt x="1402" y="503"/>
                </a:cubicBezTo>
                <a:cubicBezTo>
                  <a:pt x="1402" y="503"/>
                  <a:pt x="1401" y="503"/>
                  <a:pt x="1401" y="502"/>
                </a:cubicBezTo>
                <a:lnTo>
                  <a:pt x="1315" y="416"/>
                </a:lnTo>
                <a:cubicBezTo>
                  <a:pt x="1313" y="414"/>
                  <a:pt x="1312" y="412"/>
                  <a:pt x="1313" y="411"/>
                </a:cubicBezTo>
                <a:cubicBezTo>
                  <a:pt x="1313" y="409"/>
                  <a:pt x="1314" y="408"/>
                  <a:pt x="1315" y="407"/>
                </a:cubicBezTo>
                <a:lnTo>
                  <a:pt x="1356" y="365"/>
                </a:lnTo>
                <a:cubicBezTo>
                  <a:pt x="1357" y="364"/>
                  <a:pt x="1357" y="364"/>
                  <a:pt x="1358" y="364"/>
                </a:cubicBezTo>
                <a:cubicBezTo>
                  <a:pt x="1358" y="364"/>
                  <a:pt x="1359" y="364"/>
                  <a:pt x="1359" y="364"/>
                </a:cubicBezTo>
                <a:cubicBezTo>
                  <a:pt x="1360" y="364"/>
                  <a:pt x="1361" y="365"/>
                  <a:pt x="1362" y="365"/>
                </a:cubicBezTo>
                <a:cubicBezTo>
                  <a:pt x="1362" y="366"/>
                  <a:pt x="1363" y="367"/>
                  <a:pt x="1364" y="368"/>
                </a:cubicBezTo>
                <a:close/>
                <a:moveTo>
                  <a:pt x="1480" y="424"/>
                </a:moveTo>
                <a:cubicBezTo>
                  <a:pt x="1480" y="424"/>
                  <a:pt x="1480" y="425"/>
                  <a:pt x="1480" y="425"/>
                </a:cubicBezTo>
                <a:cubicBezTo>
                  <a:pt x="1480" y="426"/>
                  <a:pt x="1480" y="426"/>
                  <a:pt x="1480" y="427"/>
                </a:cubicBezTo>
                <a:cubicBezTo>
                  <a:pt x="1480" y="427"/>
                  <a:pt x="1479" y="428"/>
                  <a:pt x="1479" y="429"/>
                </a:cubicBezTo>
                <a:cubicBezTo>
                  <a:pt x="1478" y="430"/>
                  <a:pt x="1477" y="431"/>
                  <a:pt x="1476" y="432"/>
                </a:cubicBezTo>
                <a:cubicBezTo>
                  <a:pt x="1475" y="433"/>
                  <a:pt x="1474" y="434"/>
                  <a:pt x="1473" y="435"/>
                </a:cubicBezTo>
                <a:cubicBezTo>
                  <a:pt x="1472" y="435"/>
                  <a:pt x="1471" y="436"/>
                  <a:pt x="1471" y="436"/>
                </a:cubicBezTo>
                <a:cubicBezTo>
                  <a:pt x="1470" y="436"/>
                  <a:pt x="1469" y="437"/>
                  <a:pt x="1469" y="436"/>
                </a:cubicBezTo>
                <a:cubicBezTo>
                  <a:pt x="1468" y="436"/>
                  <a:pt x="1468" y="436"/>
                  <a:pt x="1468" y="436"/>
                </a:cubicBezTo>
                <a:lnTo>
                  <a:pt x="1403" y="371"/>
                </a:lnTo>
                <a:cubicBezTo>
                  <a:pt x="1403" y="371"/>
                  <a:pt x="1402" y="370"/>
                  <a:pt x="1402" y="370"/>
                </a:cubicBezTo>
                <a:cubicBezTo>
                  <a:pt x="1402" y="369"/>
                  <a:pt x="1402" y="369"/>
                  <a:pt x="1403" y="368"/>
                </a:cubicBezTo>
                <a:cubicBezTo>
                  <a:pt x="1403" y="368"/>
                  <a:pt x="1403" y="367"/>
                  <a:pt x="1404" y="366"/>
                </a:cubicBezTo>
                <a:cubicBezTo>
                  <a:pt x="1405" y="365"/>
                  <a:pt x="1406" y="364"/>
                  <a:pt x="1407" y="363"/>
                </a:cubicBezTo>
                <a:cubicBezTo>
                  <a:pt x="1408" y="362"/>
                  <a:pt x="1409" y="361"/>
                  <a:pt x="1410" y="360"/>
                </a:cubicBezTo>
                <a:cubicBezTo>
                  <a:pt x="1411" y="360"/>
                  <a:pt x="1411" y="359"/>
                  <a:pt x="1412" y="359"/>
                </a:cubicBezTo>
                <a:cubicBezTo>
                  <a:pt x="1413" y="359"/>
                  <a:pt x="1413" y="359"/>
                  <a:pt x="1414" y="359"/>
                </a:cubicBezTo>
                <a:cubicBezTo>
                  <a:pt x="1414" y="359"/>
                  <a:pt x="1415" y="359"/>
                  <a:pt x="1415" y="359"/>
                </a:cubicBezTo>
                <a:lnTo>
                  <a:pt x="1480" y="424"/>
                </a:lnTo>
                <a:close/>
                <a:moveTo>
                  <a:pt x="1394" y="336"/>
                </a:moveTo>
                <a:cubicBezTo>
                  <a:pt x="1397" y="339"/>
                  <a:pt x="1399" y="341"/>
                  <a:pt x="1399" y="343"/>
                </a:cubicBezTo>
                <a:cubicBezTo>
                  <a:pt x="1398" y="345"/>
                  <a:pt x="1397" y="348"/>
                  <a:pt x="1394" y="351"/>
                </a:cubicBezTo>
                <a:cubicBezTo>
                  <a:pt x="1391" y="353"/>
                  <a:pt x="1389" y="355"/>
                  <a:pt x="1387" y="355"/>
                </a:cubicBezTo>
                <a:cubicBezTo>
                  <a:pt x="1385" y="355"/>
                  <a:pt x="1383" y="354"/>
                  <a:pt x="1380" y="351"/>
                </a:cubicBezTo>
                <a:cubicBezTo>
                  <a:pt x="1377" y="348"/>
                  <a:pt x="1376" y="346"/>
                  <a:pt x="1376" y="344"/>
                </a:cubicBezTo>
                <a:cubicBezTo>
                  <a:pt x="1376" y="342"/>
                  <a:pt x="1377" y="339"/>
                  <a:pt x="1380" y="336"/>
                </a:cubicBezTo>
                <a:cubicBezTo>
                  <a:pt x="1383" y="334"/>
                  <a:pt x="1385" y="332"/>
                  <a:pt x="1387" y="332"/>
                </a:cubicBezTo>
                <a:cubicBezTo>
                  <a:pt x="1389" y="332"/>
                  <a:pt x="1392" y="333"/>
                  <a:pt x="1394" y="336"/>
                </a:cubicBezTo>
                <a:close/>
                <a:moveTo>
                  <a:pt x="1479" y="304"/>
                </a:moveTo>
                <a:cubicBezTo>
                  <a:pt x="1480" y="305"/>
                  <a:pt x="1481" y="306"/>
                  <a:pt x="1482" y="306"/>
                </a:cubicBezTo>
                <a:cubicBezTo>
                  <a:pt x="1482" y="307"/>
                  <a:pt x="1483" y="308"/>
                  <a:pt x="1483" y="308"/>
                </a:cubicBezTo>
                <a:cubicBezTo>
                  <a:pt x="1483" y="309"/>
                  <a:pt x="1483" y="309"/>
                  <a:pt x="1483" y="310"/>
                </a:cubicBezTo>
                <a:cubicBezTo>
                  <a:pt x="1483" y="310"/>
                  <a:pt x="1483" y="311"/>
                  <a:pt x="1483" y="311"/>
                </a:cubicBezTo>
                <a:cubicBezTo>
                  <a:pt x="1482" y="311"/>
                  <a:pt x="1482" y="312"/>
                  <a:pt x="1481" y="312"/>
                </a:cubicBezTo>
                <a:cubicBezTo>
                  <a:pt x="1480" y="312"/>
                  <a:pt x="1479" y="313"/>
                  <a:pt x="1479" y="313"/>
                </a:cubicBezTo>
                <a:cubicBezTo>
                  <a:pt x="1478" y="314"/>
                  <a:pt x="1477" y="314"/>
                  <a:pt x="1476" y="315"/>
                </a:cubicBezTo>
                <a:cubicBezTo>
                  <a:pt x="1475" y="316"/>
                  <a:pt x="1474" y="317"/>
                  <a:pt x="1473" y="318"/>
                </a:cubicBezTo>
                <a:cubicBezTo>
                  <a:pt x="1471" y="319"/>
                  <a:pt x="1470" y="320"/>
                  <a:pt x="1470" y="322"/>
                </a:cubicBezTo>
                <a:cubicBezTo>
                  <a:pt x="1469" y="323"/>
                  <a:pt x="1469" y="325"/>
                  <a:pt x="1468" y="328"/>
                </a:cubicBezTo>
                <a:cubicBezTo>
                  <a:pt x="1468" y="330"/>
                  <a:pt x="1468" y="333"/>
                  <a:pt x="1469" y="336"/>
                </a:cubicBezTo>
                <a:cubicBezTo>
                  <a:pt x="1469" y="339"/>
                  <a:pt x="1470" y="343"/>
                  <a:pt x="1471" y="347"/>
                </a:cubicBezTo>
                <a:lnTo>
                  <a:pt x="1513" y="390"/>
                </a:lnTo>
                <a:cubicBezTo>
                  <a:pt x="1514" y="390"/>
                  <a:pt x="1514" y="391"/>
                  <a:pt x="1514" y="391"/>
                </a:cubicBezTo>
                <a:cubicBezTo>
                  <a:pt x="1514" y="392"/>
                  <a:pt x="1514" y="392"/>
                  <a:pt x="1514" y="393"/>
                </a:cubicBezTo>
                <a:cubicBezTo>
                  <a:pt x="1514" y="393"/>
                  <a:pt x="1513" y="394"/>
                  <a:pt x="1513" y="395"/>
                </a:cubicBezTo>
                <a:cubicBezTo>
                  <a:pt x="1512" y="396"/>
                  <a:pt x="1511" y="397"/>
                  <a:pt x="1510" y="398"/>
                </a:cubicBezTo>
                <a:cubicBezTo>
                  <a:pt x="1509" y="399"/>
                  <a:pt x="1508" y="400"/>
                  <a:pt x="1507" y="401"/>
                </a:cubicBezTo>
                <a:cubicBezTo>
                  <a:pt x="1506" y="402"/>
                  <a:pt x="1505" y="402"/>
                  <a:pt x="1504" y="402"/>
                </a:cubicBezTo>
                <a:cubicBezTo>
                  <a:pt x="1504" y="403"/>
                  <a:pt x="1503" y="403"/>
                  <a:pt x="1503" y="403"/>
                </a:cubicBezTo>
                <a:cubicBezTo>
                  <a:pt x="1502" y="402"/>
                  <a:pt x="1502" y="402"/>
                  <a:pt x="1502" y="402"/>
                </a:cubicBezTo>
                <a:lnTo>
                  <a:pt x="1437" y="337"/>
                </a:lnTo>
                <a:cubicBezTo>
                  <a:pt x="1437" y="337"/>
                  <a:pt x="1436" y="336"/>
                  <a:pt x="1436" y="336"/>
                </a:cubicBezTo>
                <a:cubicBezTo>
                  <a:pt x="1436" y="336"/>
                  <a:pt x="1436" y="335"/>
                  <a:pt x="1436" y="334"/>
                </a:cubicBezTo>
                <a:cubicBezTo>
                  <a:pt x="1437" y="334"/>
                  <a:pt x="1437" y="333"/>
                  <a:pt x="1438" y="332"/>
                </a:cubicBezTo>
                <a:cubicBezTo>
                  <a:pt x="1438" y="332"/>
                  <a:pt x="1439" y="331"/>
                  <a:pt x="1440" y="330"/>
                </a:cubicBezTo>
                <a:cubicBezTo>
                  <a:pt x="1441" y="329"/>
                  <a:pt x="1442" y="328"/>
                  <a:pt x="1443" y="327"/>
                </a:cubicBezTo>
                <a:cubicBezTo>
                  <a:pt x="1444" y="326"/>
                  <a:pt x="1444" y="326"/>
                  <a:pt x="1445" y="326"/>
                </a:cubicBezTo>
                <a:cubicBezTo>
                  <a:pt x="1446" y="326"/>
                  <a:pt x="1446" y="326"/>
                  <a:pt x="1446" y="326"/>
                </a:cubicBezTo>
                <a:cubicBezTo>
                  <a:pt x="1447" y="326"/>
                  <a:pt x="1447" y="326"/>
                  <a:pt x="1448" y="326"/>
                </a:cubicBezTo>
                <a:lnTo>
                  <a:pt x="1457" y="336"/>
                </a:lnTo>
                <a:cubicBezTo>
                  <a:pt x="1456" y="332"/>
                  <a:pt x="1456" y="328"/>
                  <a:pt x="1456" y="325"/>
                </a:cubicBezTo>
                <a:cubicBezTo>
                  <a:pt x="1456" y="321"/>
                  <a:pt x="1456" y="319"/>
                  <a:pt x="1456" y="316"/>
                </a:cubicBezTo>
                <a:cubicBezTo>
                  <a:pt x="1457" y="314"/>
                  <a:pt x="1458" y="312"/>
                  <a:pt x="1459" y="310"/>
                </a:cubicBezTo>
                <a:cubicBezTo>
                  <a:pt x="1460" y="309"/>
                  <a:pt x="1461" y="307"/>
                  <a:pt x="1462" y="306"/>
                </a:cubicBezTo>
                <a:cubicBezTo>
                  <a:pt x="1463" y="305"/>
                  <a:pt x="1463" y="304"/>
                  <a:pt x="1464" y="304"/>
                </a:cubicBezTo>
                <a:cubicBezTo>
                  <a:pt x="1465" y="303"/>
                  <a:pt x="1466" y="302"/>
                  <a:pt x="1467" y="301"/>
                </a:cubicBezTo>
                <a:cubicBezTo>
                  <a:pt x="1468" y="301"/>
                  <a:pt x="1469" y="300"/>
                  <a:pt x="1470" y="300"/>
                </a:cubicBezTo>
                <a:cubicBezTo>
                  <a:pt x="1471" y="299"/>
                  <a:pt x="1472" y="299"/>
                  <a:pt x="1472" y="299"/>
                </a:cubicBezTo>
                <a:cubicBezTo>
                  <a:pt x="1473" y="299"/>
                  <a:pt x="1473" y="299"/>
                  <a:pt x="1474" y="299"/>
                </a:cubicBezTo>
                <a:cubicBezTo>
                  <a:pt x="1474" y="299"/>
                  <a:pt x="1474" y="299"/>
                  <a:pt x="1475" y="300"/>
                </a:cubicBezTo>
                <a:cubicBezTo>
                  <a:pt x="1475" y="300"/>
                  <a:pt x="1476" y="300"/>
                  <a:pt x="1476" y="301"/>
                </a:cubicBezTo>
                <a:cubicBezTo>
                  <a:pt x="1477" y="302"/>
                  <a:pt x="1478" y="303"/>
                  <a:pt x="1479" y="304"/>
                </a:cubicBezTo>
                <a:close/>
                <a:moveTo>
                  <a:pt x="1654" y="249"/>
                </a:moveTo>
                <a:cubicBezTo>
                  <a:pt x="1654" y="250"/>
                  <a:pt x="1655" y="250"/>
                  <a:pt x="1655" y="251"/>
                </a:cubicBezTo>
                <a:cubicBezTo>
                  <a:pt x="1655" y="251"/>
                  <a:pt x="1655" y="252"/>
                  <a:pt x="1654" y="252"/>
                </a:cubicBezTo>
                <a:cubicBezTo>
                  <a:pt x="1654" y="253"/>
                  <a:pt x="1654" y="254"/>
                  <a:pt x="1653" y="254"/>
                </a:cubicBezTo>
                <a:cubicBezTo>
                  <a:pt x="1652" y="255"/>
                  <a:pt x="1652" y="256"/>
                  <a:pt x="1650" y="257"/>
                </a:cubicBezTo>
                <a:cubicBezTo>
                  <a:pt x="1649" y="259"/>
                  <a:pt x="1648" y="260"/>
                  <a:pt x="1647" y="260"/>
                </a:cubicBezTo>
                <a:cubicBezTo>
                  <a:pt x="1646" y="261"/>
                  <a:pt x="1646" y="261"/>
                  <a:pt x="1645" y="262"/>
                </a:cubicBezTo>
                <a:cubicBezTo>
                  <a:pt x="1644" y="262"/>
                  <a:pt x="1644" y="262"/>
                  <a:pt x="1643" y="262"/>
                </a:cubicBezTo>
                <a:cubicBezTo>
                  <a:pt x="1643" y="262"/>
                  <a:pt x="1643" y="262"/>
                  <a:pt x="1642" y="261"/>
                </a:cubicBezTo>
                <a:lnTo>
                  <a:pt x="1603" y="222"/>
                </a:lnTo>
                <a:cubicBezTo>
                  <a:pt x="1600" y="219"/>
                  <a:pt x="1597" y="217"/>
                  <a:pt x="1595" y="215"/>
                </a:cubicBezTo>
                <a:cubicBezTo>
                  <a:pt x="1592" y="213"/>
                  <a:pt x="1589" y="212"/>
                  <a:pt x="1587" y="212"/>
                </a:cubicBezTo>
                <a:cubicBezTo>
                  <a:pt x="1584" y="211"/>
                  <a:pt x="1581" y="211"/>
                  <a:pt x="1579" y="212"/>
                </a:cubicBezTo>
                <a:cubicBezTo>
                  <a:pt x="1576" y="213"/>
                  <a:pt x="1574" y="214"/>
                  <a:pt x="1572" y="216"/>
                </a:cubicBezTo>
                <a:cubicBezTo>
                  <a:pt x="1569" y="219"/>
                  <a:pt x="1567" y="223"/>
                  <a:pt x="1567" y="228"/>
                </a:cubicBezTo>
                <a:cubicBezTo>
                  <a:pt x="1566" y="233"/>
                  <a:pt x="1566" y="239"/>
                  <a:pt x="1567" y="246"/>
                </a:cubicBezTo>
                <a:lnTo>
                  <a:pt x="1612" y="291"/>
                </a:lnTo>
                <a:cubicBezTo>
                  <a:pt x="1612" y="292"/>
                  <a:pt x="1613" y="292"/>
                  <a:pt x="1613" y="293"/>
                </a:cubicBezTo>
                <a:cubicBezTo>
                  <a:pt x="1613" y="293"/>
                  <a:pt x="1613" y="294"/>
                  <a:pt x="1612" y="294"/>
                </a:cubicBezTo>
                <a:cubicBezTo>
                  <a:pt x="1612" y="295"/>
                  <a:pt x="1612" y="296"/>
                  <a:pt x="1611" y="297"/>
                </a:cubicBezTo>
                <a:cubicBezTo>
                  <a:pt x="1610" y="297"/>
                  <a:pt x="1609" y="298"/>
                  <a:pt x="1608" y="300"/>
                </a:cubicBezTo>
                <a:cubicBezTo>
                  <a:pt x="1607" y="301"/>
                  <a:pt x="1606" y="302"/>
                  <a:pt x="1605" y="302"/>
                </a:cubicBezTo>
                <a:cubicBezTo>
                  <a:pt x="1604" y="303"/>
                  <a:pt x="1604" y="303"/>
                  <a:pt x="1603" y="304"/>
                </a:cubicBezTo>
                <a:cubicBezTo>
                  <a:pt x="1602" y="304"/>
                  <a:pt x="1602" y="304"/>
                  <a:pt x="1601" y="304"/>
                </a:cubicBezTo>
                <a:cubicBezTo>
                  <a:pt x="1601" y="304"/>
                  <a:pt x="1601" y="304"/>
                  <a:pt x="1600" y="303"/>
                </a:cubicBezTo>
                <a:lnTo>
                  <a:pt x="1561" y="264"/>
                </a:lnTo>
                <a:cubicBezTo>
                  <a:pt x="1558" y="261"/>
                  <a:pt x="1555" y="259"/>
                  <a:pt x="1553" y="257"/>
                </a:cubicBezTo>
                <a:cubicBezTo>
                  <a:pt x="1550" y="256"/>
                  <a:pt x="1547" y="254"/>
                  <a:pt x="1544" y="254"/>
                </a:cubicBezTo>
                <a:cubicBezTo>
                  <a:pt x="1542" y="253"/>
                  <a:pt x="1539" y="253"/>
                  <a:pt x="1537" y="254"/>
                </a:cubicBezTo>
                <a:cubicBezTo>
                  <a:pt x="1534" y="255"/>
                  <a:pt x="1532" y="256"/>
                  <a:pt x="1530" y="258"/>
                </a:cubicBezTo>
                <a:cubicBezTo>
                  <a:pt x="1527" y="261"/>
                  <a:pt x="1525" y="265"/>
                  <a:pt x="1525" y="270"/>
                </a:cubicBezTo>
                <a:cubicBezTo>
                  <a:pt x="1524" y="275"/>
                  <a:pt x="1524" y="281"/>
                  <a:pt x="1525" y="288"/>
                </a:cubicBezTo>
                <a:lnTo>
                  <a:pt x="1570" y="333"/>
                </a:lnTo>
                <a:cubicBezTo>
                  <a:pt x="1570" y="334"/>
                  <a:pt x="1571" y="334"/>
                  <a:pt x="1571" y="335"/>
                </a:cubicBezTo>
                <a:cubicBezTo>
                  <a:pt x="1571" y="335"/>
                  <a:pt x="1571" y="336"/>
                  <a:pt x="1570" y="336"/>
                </a:cubicBezTo>
                <a:cubicBezTo>
                  <a:pt x="1570" y="337"/>
                  <a:pt x="1570" y="338"/>
                  <a:pt x="1569" y="338"/>
                </a:cubicBezTo>
                <a:cubicBezTo>
                  <a:pt x="1568" y="339"/>
                  <a:pt x="1567" y="340"/>
                  <a:pt x="1566" y="342"/>
                </a:cubicBezTo>
                <a:cubicBezTo>
                  <a:pt x="1565" y="343"/>
                  <a:pt x="1564" y="344"/>
                  <a:pt x="1563" y="344"/>
                </a:cubicBezTo>
                <a:cubicBezTo>
                  <a:pt x="1562" y="345"/>
                  <a:pt x="1562" y="345"/>
                  <a:pt x="1561" y="346"/>
                </a:cubicBezTo>
                <a:cubicBezTo>
                  <a:pt x="1560" y="346"/>
                  <a:pt x="1560" y="346"/>
                  <a:pt x="1559" y="346"/>
                </a:cubicBezTo>
                <a:cubicBezTo>
                  <a:pt x="1559" y="346"/>
                  <a:pt x="1559" y="346"/>
                  <a:pt x="1558" y="345"/>
                </a:cubicBezTo>
                <a:lnTo>
                  <a:pt x="1494" y="281"/>
                </a:lnTo>
                <a:cubicBezTo>
                  <a:pt x="1493" y="280"/>
                  <a:pt x="1493" y="280"/>
                  <a:pt x="1493" y="279"/>
                </a:cubicBezTo>
                <a:cubicBezTo>
                  <a:pt x="1493" y="279"/>
                  <a:pt x="1493" y="278"/>
                  <a:pt x="1493" y="278"/>
                </a:cubicBezTo>
                <a:cubicBezTo>
                  <a:pt x="1493" y="277"/>
                  <a:pt x="1494" y="276"/>
                  <a:pt x="1494" y="276"/>
                </a:cubicBezTo>
                <a:cubicBezTo>
                  <a:pt x="1495" y="275"/>
                  <a:pt x="1496" y="274"/>
                  <a:pt x="1497" y="273"/>
                </a:cubicBezTo>
                <a:cubicBezTo>
                  <a:pt x="1498" y="272"/>
                  <a:pt x="1499" y="271"/>
                  <a:pt x="1499" y="270"/>
                </a:cubicBezTo>
                <a:cubicBezTo>
                  <a:pt x="1500" y="270"/>
                  <a:pt x="1501" y="269"/>
                  <a:pt x="1501" y="269"/>
                </a:cubicBezTo>
                <a:cubicBezTo>
                  <a:pt x="1502" y="269"/>
                  <a:pt x="1503" y="269"/>
                  <a:pt x="1503" y="269"/>
                </a:cubicBezTo>
                <a:cubicBezTo>
                  <a:pt x="1503" y="269"/>
                  <a:pt x="1504" y="270"/>
                  <a:pt x="1504" y="270"/>
                </a:cubicBezTo>
                <a:lnTo>
                  <a:pt x="1513" y="278"/>
                </a:lnTo>
                <a:cubicBezTo>
                  <a:pt x="1512" y="271"/>
                  <a:pt x="1513" y="264"/>
                  <a:pt x="1514" y="259"/>
                </a:cubicBezTo>
                <a:cubicBezTo>
                  <a:pt x="1516" y="254"/>
                  <a:pt x="1518" y="249"/>
                  <a:pt x="1522" y="246"/>
                </a:cubicBezTo>
                <a:cubicBezTo>
                  <a:pt x="1525" y="243"/>
                  <a:pt x="1527" y="241"/>
                  <a:pt x="1530" y="239"/>
                </a:cubicBezTo>
                <a:cubicBezTo>
                  <a:pt x="1533" y="238"/>
                  <a:pt x="1536" y="237"/>
                  <a:pt x="1538" y="236"/>
                </a:cubicBezTo>
                <a:cubicBezTo>
                  <a:pt x="1541" y="236"/>
                  <a:pt x="1544" y="236"/>
                  <a:pt x="1547" y="236"/>
                </a:cubicBezTo>
                <a:cubicBezTo>
                  <a:pt x="1549" y="237"/>
                  <a:pt x="1552" y="237"/>
                  <a:pt x="1555" y="239"/>
                </a:cubicBezTo>
                <a:cubicBezTo>
                  <a:pt x="1554" y="234"/>
                  <a:pt x="1555" y="230"/>
                  <a:pt x="1555" y="226"/>
                </a:cubicBezTo>
                <a:cubicBezTo>
                  <a:pt x="1555" y="223"/>
                  <a:pt x="1556" y="220"/>
                  <a:pt x="1556" y="217"/>
                </a:cubicBezTo>
                <a:cubicBezTo>
                  <a:pt x="1557" y="214"/>
                  <a:pt x="1558" y="212"/>
                  <a:pt x="1560" y="210"/>
                </a:cubicBezTo>
                <a:cubicBezTo>
                  <a:pt x="1561" y="207"/>
                  <a:pt x="1562" y="205"/>
                  <a:pt x="1564" y="204"/>
                </a:cubicBezTo>
                <a:cubicBezTo>
                  <a:pt x="1568" y="200"/>
                  <a:pt x="1572" y="197"/>
                  <a:pt x="1577" y="195"/>
                </a:cubicBezTo>
                <a:cubicBezTo>
                  <a:pt x="1581" y="194"/>
                  <a:pt x="1585" y="194"/>
                  <a:pt x="1589" y="194"/>
                </a:cubicBezTo>
                <a:cubicBezTo>
                  <a:pt x="1594" y="195"/>
                  <a:pt x="1598" y="197"/>
                  <a:pt x="1602" y="199"/>
                </a:cubicBezTo>
                <a:cubicBezTo>
                  <a:pt x="1606" y="202"/>
                  <a:pt x="1610" y="205"/>
                  <a:pt x="1613" y="208"/>
                </a:cubicBezTo>
                <a:lnTo>
                  <a:pt x="1654" y="249"/>
                </a:lnTo>
                <a:close/>
                <a:moveTo>
                  <a:pt x="1683" y="220"/>
                </a:moveTo>
                <a:cubicBezTo>
                  <a:pt x="1684" y="221"/>
                  <a:pt x="1684" y="221"/>
                  <a:pt x="1684" y="222"/>
                </a:cubicBezTo>
                <a:cubicBezTo>
                  <a:pt x="1684" y="222"/>
                  <a:pt x="1684" y="222"/>
                  <a:pt x="1684" y="223"/>
                </a:cubicBezTo>
                <a:cubicBezTo>
                  <a:pt x="1683" y="224"/>
                  <a:pt x="1683" y="224"/>
                  <a:pt x="1682" y="225"/>
                </a:cubicBezTo>
                <a:cubicBezTo>
                  <a:pt x="1682" y="226"/>
                  <a:pt x="1681" y="227"/>
                  <a:pt x="1679" y="228"/>
                </a:cubicBezTo>
                <a:cubicBezTo>
                  <a:pt x="1678" y="230"/>
                  <a:pt x="1677" y="230"/>
                  <a:pt x="1676" y="231"/>
                </a:cubicBezTo>
                <a:cubicBezTo>
                  <a:pt x="1676" y="232"/>
                  <a:pt x="1675" y="232"/>
                  <a:pt x="1674" y="233"/>
                </a:cubicBezTo>
                <a:cubicBezTo>
                  <a:pt x="1674" y="233"/>
                  <a:pt x="1673" y="233"/>
                  <a:pt x="1673" y="233"/>
                </a:cubicBezTo>
                <a:cubicBezTo>
                  <a:pt x="1672" y="233"/>
                  <a:pt x="1672" y="232"/>
                  <a:pt x="1671" y="232"/>
                </a:cubicBezTo>
                <a:lnTo>
                  <a:pt x="1607" y="167"/>
                </a:lnTo>
                <a:cubicBezTo>
                  <a:pt x="1606" y="167"/>
                  <a:pt x="1606" y="167"/>
                  <a:pt x="1606" y="166"/>
                </a:cubicBezTo>
                <a:cubicBezTo>
                  <a:pt x="1606" y="166"/>
                  <a:pt x="1606" y="165"/>
                  <a:pt x="1606" y="165"/>
                </a:cubicBezTo>
                <a:cubicBezTo>
                  <a:pt x="1606" y="164"/>
                  <a:pt x="1607" y="163"/>
                  <a:pt x="1608" y="162"/>
                </a:cubicBezTo>
                <a:cubicBezTo>
                  <a:pt x="1608" y="162"/>
                  <a:pt x="1609" y="160"/>
                  <a:pt x="1610" y="159"/>
                </a:cubicBezTo>
                <a:cubicBezTo>
                  <a:pt x="1612" y="158"/>
                  <a:pt x="1613" y="157"/>
                  <a:pt x="1613" y="157"/>
                </a:cubicBezTo>
                <a:cubicBezTo>
                  <a:pt x="1614" y="156"/>
                  <a:pt x="1615" y="155"/>
                  <a:pt x="1616" y="155"/>
                </a:cubicBezTo>
                <a:cubicBezTo>
                  <a:pt x="1616" y="155"/>
                  <a:pt x="1617" y="155"/>
                  <a:pt x="1617" y="155"/>
                </a:cubicBezTo>
                <a:cubicBezTo>
                  <a:pt x="1618" y="155"/>
                  <a:pt x="1618" y="155"/>
                  <a:pt x="1619" y="156"/>
                </a:cubicBezTo>
                <a:lnTo>
                  <a:pt x="1683" y="220"/>
                </a:lnTo>
                <a:close/>
                <a:moveTo>
                  <a:pt x="1598" y="132"/>
                </a:moveTo>
                <a:cubicBezTo>
                  <a:pt x="1601" y="135"/>
                  <a:pt x="1602" y="138"/>
                  <a:pt x="1602" y="140"/>
                </a:cubicBezTo>
                <a:cubicBezTo>
                  <a:pt x="1602" y="142"/>
                  <a:pt x="1601" y="144"/>
                  <a:pt x="1598" y="147"/>
                </a:cubicBezTo>
                <a:cubicBezTo>
                  <a:pt x="1595" y="150"/>
                  <a:pt x="1593" y="151"/>
                  <a:pt x="1591" y="151"/>
                </a:cubicBezTo>
                <a:cubicBezTo>
                  <a:pt x="1589" y="151"/>
                  <a:pt x="1586" y="150"/>
                  <a:pt x="1584" y="147"/>
                </a:cubicBezTo>
                <a:cubicBezTo>
                  <a:pt x="1581" y="144"/>
                  <a:pt x="1579" y="142"/>
                  <a:pt x="1579" y="140"/>
                </a:cubicBezTo>
                <a:cubicBezTo>
                  <a:pt x="1580" y="138"/>
                  <a:pt x="1581" y="135"/>
                  <a:pt x="1584" y="133"/>
                </a:cubicBezTo>
                <a:cubicBezTo>
                  <a:pt x="1587" y="130"/>
                  <a:pt x="1589" y="128"/>
                  <a:pt x="1591" y="128"/>
                </a:cubicBezTo>
                <a:cubicBezTo>
                  <a:pt x="1593" y="128"/>
                  <a:pt x="1595" y="130"/>
                  <a:pt x="1598" y="132"/>
                </a:cubicBezTo>
                <a:close/>
                <a:moveTo>
                  <a:pt x="1761" y="143"/>
                </a:moveTo>
                <a:cubicBezTo>
                  <a:pt x="1761" y="143"/>
                  <a:pt x="1762" y="143"/>
                  <a:pt x="1762" y="144"/>
                </a:cubicBezTo>
                <a:cubicBezTo>
                  <a:pt x="1762" y="144"/>
                  <a:pt x="1762" y="145"/>
                  <a:pt x="1761" y="145"/>
                </a:cubicBezTo>
                <a:cubicBezTo>
                  <a:pt x="1761" y="146"/>
                  <a:pt x="1761" y="147"/>
                  <a:pt x="1760" y="148"/>
                </a:cubicBezTo>
                <a:cubicBezTo>
                  <a:pt x="1759" y="148"/>
                  <a:pt x="1758" y="149"/>
                  <a:pt x="1757" y="151"/>
                </a:cubicBezTo>
                <a:cubicBezTo>
                  <a:pt x="1756" y="152"/>
                  <a:pt x="1755" y="153"/>
                  <a:pt x="1754" y="153"/>
                </a:cubicBezTo>
                <a:cubicBezTo>
                  <a:pt x="1753" y="154"/>
                  <a:pt x="1753" y="155"/>
                  <a:pt x="1752" y="155"/>
                </a:cubicBezTo>
                <a:cubicBezTo>
                  <a:pt x="1751" y="155"/>
                  <a:pt x="1751" y="155"/>
                  <a:pt x="1750" y="155"/>
                </a:cubicBezTo>
                <a:cubicBezTo>
                  <a:pt x="1750" y="155"/>
                  <a:pt x="1749" y="155"/>
                  <a:pt x="1749" y="154"/>
                </a:cubicBezTo>
                <a:lnTo>
                  <a:pt x="1711" y="117"/>
                </a:lnTo>
                <a:cubicBezTo>
                  <a:pt x="1708" y="113"/>
                  <a:pt x="1704" y="110"/>
                  <a:pt x="1701" y="108"/>
                </a:cubicBezTo>
                <a:cubicBezTo>
                  <a:pt x="1699" y="107"/>
                  <a:pt x="1696" y="106"/>
                  <a:pt x="1693" y="105"/>
                </a:cubicBezTo>
                <a:cubicBezTo>
                  <a:pt x="1690" y="105"/>
                  <a:pt x="1688" y="105"/>
                  <a:pt x="1685" y="106"/>
                </a:cubicBezTo>
                <a:cubicBezTo>
                  <a:pt x="1683" y="107"/>
                  <a:pt x="1680" y="108"/>
                  <a:pt x="1678" y="110"/>
                </a:cubicBezTo>
                <a:cubicBezTo>
                  <a:pt x="1675" y="113"/>
                  <a:pt x="1673" y="117"/>
                  <a:pt x="1672" y="123"/>
                </a:cubicBezTo>
                <a:cubicBezTo>
                  <a:pt x="1671" y="128"/>
                  <a:pt x="1671" y="134"/>
                  <a:pt x="1672" y="141"/>
                </a:cubicBezTo>
                <a:lnTo>
                  <a:pt x="1717" y="186"/>
                </a:lnTo>
                <a:cubicBezTo>
                  <a:pt x="1717" y="187"/>
                  <a:pt x="1718" y="187"/>
                  <a:pt x="1718" y="188"/>
                </a:cubicBezTo>
                <a:cubicBezTo>
                  <a:pt x="1718" y="188"/>
                  <a:pt x="1718" y="189"/>
                  <a:pt x="1718" y="189"/>
                </a:cubicBezTo>
                <a:cubicBezTo>
                  <a:pt x="1717" y="190"/>
                  <a:pt x="1717" y="191"/>
                  <a:pt x="1716" y="191"/>
                </a:cubicBezTo>
                <a:cubicBezTo>
                  <a:pt x="1716" y="192"/>
                  <a:pt x="1715" y="193"/>
                  <a:pt x="1713" y="194"/>
                </a:cubicBezTo>
                <a:cubicBezTo>
                  <a:pt x="1712" y="196"/>
                  <a:pt x="1711" y="197"/>
                  <a:pt x="1710" y="197"/>
                </a:cubicBezTo>
                <a:cubicBezTo>
                  <a:pt x="1709" y="198"/>
                  <a:pt x="1709" y="198"/>
                  <a:pt x="1708" y="199"/>
                </a:cubicBezTo>
                <a:cubicBezTo>
                  <a:pt x="1707" y="199"/>
                  <a:pt x="1707" y="199"/>
                  <a:pt x="1706" y="199"/>
                </a:cubicBezTo>
                <a:cubicBezTo>
                  <a:pt x="1706" y="199"/>
                  <a:pt x="1706" y="199"/>
                  <a:pt x="1705" y="198"/>
                </a:cubicBezTo>
                <a:lnTo>
                  <a:pt x="1641" y="134"/>
                </a:lnTo>
                <a:cubicBezTo>
                  <a:pt x="1640" y="133"/>
                  <a:pt x="1640" y="133"/>
                  <a:pt x="1640" y="132"/>
                </a:cubicBezTo>
                <a:cubicBezTo>
                  <a:pt x="1640" y="132"/>
                  <a:pt x="1640" y="131"/>
                  <a:pt x="1640" y="131"/>
                </a:cubicBezTo>
                <a:cubicBezTo>
                  <a:pt x="1640" y="130"/>
                  <a:pt x="1641" y="129"/>
                  <a:pt x="1641" y="129"/>
                </a:cubicBezTo>
                <a:cubicBezTo>
                  <a:pt x="1642" y="128"/>
                  <a:pt x="1643" y="127"/>
                  <a:pt x="1644" y="126"/>
                </a:cubicBezTo>
                <a:cubicBezTo>
                  <a:pt x="1645" y="125"/>
                  <a:pt x="1646" y="124"/>
                  <a:pt x="1647" y="123"/>
                </a:cubicBezTo>
                <a:cubicBezTo>
                  <a:pt x="1647" y="123"/>
                  <a:pt x="1648" y="122"/>
                  <a:pt x="1649" y="122"/>
                </a:cubicBezTo>
                <a:cubicBezTo>
                  <a:pt x="1649" y="122"/>
                  <a:pt x="1650" y="122"/>
                  <a:pt x="1650" y="122"/>
                </a:cubicBezTo>
                <a:cubicBezTo>
                  <a:pt x="1651" y="122"/>
                  <a:pt x="1651" y="122"/>
                  <a:pt x="1651" y="123"/>
                </a:cubicBezTo>
                <a:lnTo>
                  <a:pt x="1660" y="131"/>
                </a:lnTo>
                <a:cubicBezTo>
                  <a:pt x="1659" y="124"/>
                  <a:pt x="1660" y="117"/>
                  <a:pt x="1662" y="112"/>
                </a:cubicBezTo>
                <a:cubicBezTo>
                  <a:pt x="1664" y="106"/>
                  <a:pt x="1666" y="101"/>
                  <a:pt x="1670" y="98"/>
                </a:cubicBezTo>
                <a:cubicBezTo>
                  <a:pt x="1674" y="93"/>
                  <a:pt x="1679" y="91"/>
                  <a:pt x="1683" y="89"/>
                </a:cubicBezTo>
                <a:cubicBezTo>
                  <a:pt x="1687" y="88"/>
                  <a:pt x="1692" y="87"/>
                  <a:pt x="1696" y="88"/>
                </a:cubicBezTo>
                <a:cubicBezTo>
                  <a:pt x="1700" y="88"/>
                  <a:pt x="1704" y="90"/>
                  <a:pt x="1708" y="92"/>
                </a:cubicBezTo>
                <a:cubicBezTo>
                  <a:pt x="1713" y="95"/>
                  <a:pt x="1717" y="98"/>
                  <a:pt x="1721" y="103"/>
                </a:cubicBezTo>
                <a:lnTo>
                  <a:pt x="1761" y="143"/>
                </a:lnTo>
                <a:close/>
                <a:moveTo>
                  <a:pt x="1777" y="3"/>
                </a:moveTo>
                <a:cubicBezTo>
                  <a:pt x="1778" y="5"/>
                  <a:pt x="1779" y="6"/>
                  <a:pt x="1780" y="8"/>
                </a:cubicBezTo>
                <a:cubicBezTo>
                  <a:pt x="1780" y="9"/>
                  <a:pt x="1780" y="10"/>
                  <a:pt x="1779" y="10"/>
                </a:cubicBezTo>
                <a:lnTo>
                  <a:pt x="1770" y="20"/>
                </a:lnTo>
                <a:cubicBezTo>
                  <a:pt x="1773" y="20"/>
                  <a:pt x="1776" y="20"/>
                  <a:pt x="1779" y="22"/>
                </a:cubicBezTo>
                <a:cubicBezTo>
                  <a:pt x="1782" y="23"/>
                  <a:pt x="1784" y="25"/>
                  <a:pt x="1787" y="27"/>
                </a:cubicBezTo>
                <a:cubicBezTo>
                  <a:pt x="1790" y="31"/>
                  <a:pt x="1793" y="35"/>
                  <a:pt x="1795" y="39"/>
                </a:cubicBezTo>
                <a:cubicBezTo>
                  <a:pt x="1796" y="43"/>
                  <a:pt x="1797" y="47"/>
                  <a:pt x="1797" y="52"/>
                </a:cubicBezTo>
                <a:cubicBezTo>
                  <a:pt x="1797" y="56"/>
                  <a:pt x="1795" y="60"/>
                  <a:pt x="1793" y="64"/>
                </a:cubicBezTo>
                <a:cubicBezTo>
                  <a:pt x="1791" y="68"/>
                  <a:pt x="1789" y="72"/>
                  <a:pt x="1785" y="76"/>
                </a:cubicBezTo>
                <a:cubicBezTo>
                  <a:pt x="1782" y="78"/>
                  <a:pt x="1779" y="81"/>
                  <a:pt x="1776" y="82"/>
                </a:cubicBezTo>
                <a:cubicBezTo>
                  <a:pt x="1773" y="84"/>
                  <a:pt x="1771" y="85"/>
                  <a:pt x="1768" y="85"/>
                </a:cubicBezTo>
                <a:cubicBezTo>
                  <a:pt x="1768" y="87"/>
                  <a:pt x="1768" y="89"/>
                  <a:pt x="1769" y="90"/>
                </a:cubicBezTo>
                <a:cubicBezTo>
                  <a:pt x="1770" y="92"/>
                  <a:pt x="1771" y="93"/>
                  <a:pt x="1772" y="95"/>
                </a:cubicBezTo>
                <a:cubicBezTo>
                  <a:pt x="1774" y="97"/>
                  <a:pt x="1776" y="97"/>
                  <a:pt x="1778" y="97"/>
                </a:cubicBezTo>
                <a:cubicBezTo>
                  <a:pt x="1781" y="96"/>
                  <a:pt x="1784" y="95"/>
                  <a:pt x="1786" y="92"/>
                </a:cubicBezTo>
                <a:lnTo>
                  <a:pt x="1804" y="76"/>
                </a:lnTo>
                <a:cubicBezTo>
                  <a:pt x="1807" y="73"/>
                  <a:pt x="1811" y="70"/>
                  <a:pt x="1814" y="69"/>
                </a:cubicBezTo>
                <a:cubicBezTo>
                  <a:pt x="1818" y="67"/>
                  <a:pt x="1821" y="65"/>
                  <a:pt x="1825" y="65"/>
                </a:cubicBezTo>
                <a:cubicBezTo>
                  <a:pt x="1828" y="64"/>
                  <a:pt x="1831" y="65"/>
                  <a:pt x="1835" y="66"/>
                </a:cubicBezTo>
                <a:cubicBezTo>
                  <a:pt x="1838" y="67"/>
                  <a:pt x="1841" y="69"/>
                  <a:pt x="1844" y="72"/>
                </a:cubicBezTo>
                <a:cubicBezTo>
                  <a:pt x="1847" y="75"/>
                  <a:pt x="1849" y="78"/>
                  <a:pt x="1850" y="82"/>
                </a:cubicBezTo>
                <a:cubicBezTo>
                  <a:pt x="1852" y="86"/>
                  <a:pt x="1852" y="90"/>
                  <a:pt x="1852" y="95"/>
                </a:cubicBezTo>
                <a:cubicBezTo>
                  <a:pt x="1851" y="99"/>
                  <a:pt x="1849" y="104"/>
                  <a:pt x="1847" y="109"/>
                </a:cubicBezTo>
                <a:cubicBezTo>
                  <a:pt x="1844" y="114"/>
                  <a:pt x="1840" y="120"/>
                  <a:pt x="1834" y="125"/>
                </a:cubicBezTo>
                <a:cubicBezTo>
                  <a:pt x="1829" y="130"/>
                  <a:pt x="1824" y="134"/>
                  <a:pt x="1820" y="137"/>
                </a:cubicBezTo>
                <a:cubicBezTo>
                  <a:pt x="1815" y="140"/>
                  <a:pt x="1811" y="142"/>
                  <a:pt x="1807" y="143"/>
                </a:cubicBezTo>
                <a:cubicBezTo>
                  <a:pt x="1803" y="143"/>
                  <a:pt x="1800" y="143"/>
                  <a:pt x="1796" y="142"/>
                </a:cubicBezTo>
                <a:cubicBezTo>
                  <a:pt x="1793" y="141"/>
                  <a:pt x="1790" y="139"/>
                  <a:pt x="1788" y="137"/>
                </a:cubicBezTo>
                <a:cubicBezTo>
                  <a:pt x="1786" y="135"/>
                  <a:pt x="1785" y="133"/>
                  <a:pt x="1784" y="132"/>
                </a:cubicBezTo>
                <a:cubicBezTo>
                  <a:pt x="1783" y="130"/>
                  <a:pt x="1782" y="128"/>
                  <a:pt x="1781" y="126"/>
                </a:cubicBezTo>
                <a:cubicBezTo>
                  <a:pt x="1781" y="123"/>
                  <a:pt x="1781" y="121"/>
                  <a:pt x="1781" y="119"/>
                </a:cubicBezTo>
                <a:cubicBezTo>
                  <a:pt x="1780" y="116"/>
                  <a:pt x="1781" y="114"/>
                  <a:pt x="1781" y="111"/>
                </a:cubicBezTo>
                <a:cubicBezTo>
                  <a:pt x="1777" y="112"/>
                  <a:pt x="1774" y="113"/>
                  <a:pt x="1771" y="112"/>
                </a:cubicBezTo>
                <a:cubicBezTo>
                  <a:pt x="1768" y="111"/>
                  <a:pt x="1766" y="110"/>
                  <a:pt x="1764" y="108"/>
                </a:cubicBezTo>
                <a:cubicBezTo>
                  <a:pt x="1761" y="105"/>
                  <a:pt x="1759" y="101"/>
                  <a:pt x="1758" y="98"/>
                </a:cubicBezTo>
                <a:cubicBezTo>
                  <a:pt x="1756" y="94"/>
                  <a:pt x="1756" y="91"/>
                  <a:pt x="1756" y="87"/>
                </a:cubicBezTo>
                <a:cubicBezTo>
                  <a:pt x="1753" y="87"/>
                  <a:pt x="1749" y="86"/>
                  <a:pt x="1746" y="85"/>
                </a:cubicBezTo>
                <a:cubicBezTo>
                  <a:pt x="1743" y="84"/>
                  <a:pt x="1740" y="81"/>
                  <a:pt x="1737" y="78"/>
                </a:cubicBezTo>
                <a:cubicBezTo>
                  <a:pt x="1733" y="74"/>
                  <a:pt x="1731" y="70"/>
                  <a:pt x="1729" y="66"/>
                </a:cubicBezTo>
                <a:cubicBezTo>
                  <a:pt x="1727" y="62"/>
                  <a:pt x="1727" y="58"/>
                  <a:pt x="1727" y="54"/>
                </a:cubicBezTo>
                <a:cubicBezTo>
                  <a:pt x="1727" y="50"/>
                  <a:pt x="1728" y="45"/>
                  <a:pt x="1730" y="41"/>
                </a:cubicBezTo>
                <a:cubicBezTo>
                  <a:pt x="1732" y="37"/>
                  <a:pt x="1735" y="33"/>
                  <a:pt x="1738" y="29"/>
                </a:cubicBezTo>
                <a:cubicBezTo>
                  <a:pt x="1740" y="28"/>
                  <a:pt x="1742" y="26"/>
                  <a:pt x="1744" y="24"/>
                </a:cubicBezTo>
                <a:cubicBezTo>
                  <a:pt x="1746" y="23"/>
                  <a:pt x="1748" y="22"/>
                  <a:pt x="1750" y="20"/>
                </a:cubicBezTo>
                <a:lnTo>
                  <a:pt x="1770" y="1"/>
                </a:lnTo>
                <a:cubicBezTo>
                  <a:pt x="1770" y="0"/>
                  <a:pt x="1771" y="0"/>
                  <a:pt x="1773" y="0"/>
                </a:cubicBezTo>
                <a:cubicBezTo>
                  <a:pt x="1774" y="1"/>
                  <a:pt x="1775" y="2"/>
                  <a:pt x="1777" y="3"/>
                </a:cubicBezTo>
                <a:close/>
                <a:moveTo>
                  <a:pt x="1775" y="39"/>
                </a:moveTo>
                <a:cubicBezTo>
                  <a:pt x="1771" y="34"/>
                  <a:pt x="1766" y="32"/>
                  <a:pt x="1761" y="32"/>
                </a:cubicBezTo>
                <a:cubicBezTo>
                  <a:pt x="1756" y="32"/>
                  <a:pt x="1752" y="34"/>
                  <a:pt x="1747" y="39"/>
                </a:cubicBezTo>
                <a:cubicBezTo>
                  <a:pt x="1745" y="41"/>
                  <a:pt x="1743" y="43"/>
                  <a:pt x="1742" y="46"/>
                </a:cubicBezTo>
                <a:cubicBezTo>
                  <a:pt x="1742" y="48"/>
                  <a:pt x="1741" y="51"/>
                  <a:pt x="1741" y="53"/>
                </a:cubicBezTo>
                <a:cubicBezTo>
                  <a:pt x="1742" y="56"/>
                  <a:pt x="1742" y="58"/>
                  <a:pt x="1744" y="60"/>
                </a:cubicBezTo>
                <a:cubicBezTo>
                  <a:pt x="1745" y="63"/>
                  <a:pt x="1746" y="65"/>
                  <a:pt x="1748" y="67"/>
                </a:cubicBezTo>
                <a:cubicBezTo>
                  <a:pt x="1752" y="71"/>
                  <a:pt x="1757" y="73"/>
                  <a:pt x="1762" y="73"/>
                </a:cubicBezTo>
                <a:cubicBezTo>
                  <a:pt x="1767" y="73"/>
                  <a:pt x="1771" y="71"/>
                  <a:pt x="1776" y="67"/>
                </a:cubicBezTo>
                <a:cubicBezTo>
                  <a:pt x="1778" y="64"/>
                  <a:pt x="1780" y="62"/>
                  <a:pt x="1781" y="59"/>
                </a:cubicBezTo>
                <a:cubicBezTo>
                  <a:pt x="1782" y="57"/>
                  <a:pt x="1782" y="55"/>
                  <a:pt x="1782" y="52"/>
                </a:cubicBezTo>
                <a:cubicBezTo>
                  <a:pt x="1782" y="50"/>
                  <a:pt x="1781" y="47"/>
                  <a:pt x="1780" y="45"/>
                </a:cubicBezTo>
                <a:cubicBezTo>
                  <a:pt x="1779" y="43"/>
                  <a:pt x="1777" y="41"/>
                  <a:pt x="1775" y="39"/>
                </a:cubicBezTo>
                <a:close/>
                <a:moveTo>
                  <a:pt x="1832" y="84"/>
                </a:moveTo>
                <a:cubicBezTo>
                  <a:pt x="1830" y="81"/>
                  <a:pt x="1826" y="80"/>
                  <a:pt x="1823" y="81"/>
                </a:cubicBezTo>
                <a:cubicBezTo>
                  <a:pt x="1819" y="82"/>
                  <a:pt x="1815" y="84"/>
                  <a:pt x="1811" y="88"/>
                </a:cubicBezTo>
                <a:lnTo>
                  <a:pt x="1794" y="104"/>
                </a:lnTo>
                <a:cubicBezTo>
                  <a:pt x="1793" y="107"/>
                  <a:pt x="1793" y="109"/>
                  <a:pt x="1793" y="111"/>
                </a:cubicBezTo>
                <a:cubicBezTo>
                  <a:pt x="1793" y="113"/>
                  <a:pt x="1794" y="115"/>
                  <a:pt x="1794" y="117"/>
                </a:cubicBezTo>
                <a:cubicBezTo>
                  <a:pt x="1794" y="118"/>
                  <a:pt x="1795" y="120"/>
                  <a:pt x="1796" y="121"/>
                </a:cubicBezTo>
                <a:cubicBezTo>
                  <a:pt x="1797" y="122"/>
                  <a:pt x="1797" y="123"/>
                  <a:pt x="1798" y="124"/>
                </a:cubicBezTo>
                <a:cubicBezTo>
                  <a:pt x="1802" y="127"/>
                  <a:pt x="1805" y="128"/>
                  <a:pt x="1810" y="126"/>
                </a:cubicBezTo>
                <a:cubicBezTo>
                  <a:pt x="1815" y="125"/>
                  <a:pt x="1820" y="121"/>
                  <a:pt x="1826" y="116"/>
                </a:cubicBezTo>
                <a:cubicBezTo>
                  <a:pt x="1829" y="112"/>
                  <a:pt x="1832" y="109"/>
                  <a:pt x="1834" y="105"/>
                </a:cubicBezTo>
                <a:cubicBezTo>
                  <a:pt x="1836" y="102"/>
                  <a:pt x="1837" y="99"/>
                  <a:pt x="1837" y="97"/>
                </a:cubicBezTo>
                <a:cubicBezTo>
                  <a:pt x="1837" y="94"/>
                  <a:pt x="1837" y="92"/>
                  <a:pt x="1836" y="90"/>
                </a:cubicBezTo>
                <a:cubicBezTo>
                  <a:pt x="1835" y="88"/>
                  <a:pt x="1834" y="86"/>
                  <a:pt x="1832" y="84"/>
                </a:cubicBezTo>
                <a:close/>
              </a:path>
            </a:pathLst>
          </a:custGeom>
          <a:solidFill>
            <a:srgbClr val="000000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094" name="Freeform 38"/>
          <p:cNvSpPr>
            <a:spLocks noEditPoints="1"/>
          </p:cNvSpPr>
          <p:nvPr/>
        </p:nvSpPr>
        <p:spPr bwMode="auto">
          <a:xfrm>
            <a:off x="2483110" y="3982331"/>
            <a:ext cx="666750" cy="631825"/>
          </a:xfrm>
          <a:custGeom>
            <a:avLst/>
            <a:gdLst/>
            <a:ahLst/>
            <a:cxnLst>
              <a:cxn ang="0">
                <a:pos x="121" y="1003"/>
              </a:cxn>
              <a:cxn ang="0">
                <a:pos x="119" y="984"/>
              </a:cxn>
              <a:cxn ang="0">
                <a:pos x="205" y="854"/>
              </a:cxn>
              <a:cxn ang="0">
                <a:pos x="127" y="867"/>
              </a:cxn>
              <a:cxn ang="0">
                <a:pos x="141" y="872"/>
              </a:cxn>
              <a:cxn ang="0">
                <a:pos x="194" y="867"/>
              </a:cxn>
              <a:cxn ang="0">
                <a:pos x="161" y="770"/>
              </a:cxn>
              <a:cxn ang="0">
                <a:pos x="324" y="801"/>
              </a:cxn>
              <a:cxn ang="0">
                <a:pos x="225" y="784"/>
              </a:cxn>
              <a:cxn ang="0">
                <a:pos x="216" y="741"/>
              </a:cxn>
              <a:cxn ang="0">
                <a:pos x="266" y="743"/>
              </a:cxn>
              <a:cxn ang="0">
                <a:pos x="316" y="792"/>
              </a:cxn>
              <a:cxn ang="0">
                <a:pos x="366" y="760"/>
              </a:cxn>
              <a:cxn ang="0">
                <a:pos x="330" y="708"/>
              </a:cxn>
              <a:cxn ang="0">
                <a:pos x="281" y="735"/>
              </a:cxn>
              <a:cxn ang="0">
                <a:pos x="342" y="696"/>
              </a:cxn>
              <a:cxn ang="0">
                <a:pos x="358" y="736"/>
              </a:cxn>
              <a:cxn ang="0">
                <a:pos x="405" y="677"/>
              </a:cxn>
              <a:cxn ang="0">
                <a:pos x="464" y="673"/>
              </a:cxn>
              <a:cxn ang="0">
                <a:pos x="400" y="720"/>
              </a:cxn>
              <a:cxn ang="0">
                <a:pos x="358" y="631"/>
              </a:cxn>
              <a:cxn ang="0">
                <a:pos x="363" y="662"/>
              </a:cxn>
              <a:cxn ang="0">
                <a:pos x="414" y="705"/>
              </a:cxn>
              <a:cxn ang="0">
                <a:pos x="492" y="562"/>
              </a:cxn>
              <a:cxn ang="0">
                <a:pos x="511" y="591"/>
              </a:cxn>
              <a:cxn ang="0">
                <a:pos x="511" y="618"/>
              </a:cxn>
              <a:cxn ang="0">
                <a:pos x="462" y="545"/>
              </a:cxn>
              <a:cxn ang="0">
                <a:pos x="477" y="571"/>
              </a:cxn>
              <a:cxn ang="0">
                <a:pos x="570" y="536"/>
              </a:cxn>
              <a:cxn ang="0">
                <a:pos x="606" y="486"/>
              </a:cxn>
              <a:cxn ang="0">
                <a:pos x="504" y="449"/>
              </a:cxn>
              <a:cxn ang="0">
                <a:pos x="553" y="415"/>
              </a:cxn>
              <a:cxn ang="0">
                <a:pos x="525" y="461"/>
              </a:cxn>
              <a:cxn ang="0">
                <a:pos x="709" y="419"/>
              </a:cxn>
              <a:cxn ang="0">
                <a:pos x="653" y="462"/>
              </a:cxn>
              <a:cxn ang="0">
                <a:pos x="600" y="395"/>
              </a:cxn>
              <a:cxn ang="0">
                <a:pos x="633" y="358"/>
              </a:cxn>
              <a:cxn ang="0">
                <a:pos x="767" y="364"/>
              </a:cxn>
              <a:cxn ang="0">
                <a:pos x="761" y="419"/>
              </a:cxn>
              <a:cxn ang="0">
                <a:pos x="678" y="317"/>
              </a:cxn>
              <a:cxn ang="0">
                <a:pos x="737" y="304"/>
              </a:cxn>
              <a:cxn ang="0">
                <a:pos x="761" y="345"/>
              </a:cxn>
              <a:cxn ang="0">
                <a:pos x="826" y="294"/>
              </a:cxn>
              <a:cxn ang="0">
                <a:pos x="747" y="248"/>
              </a:cxn>
              <a:cxn ang="0">
                <a:pos x="768" y="227"/>
              </a:cxn>
              <a:cxn ang="0">
                <a:pos x="785" y="224"/>
              </a:cxn>
              <a:cxn ang="0">
                <a:pos x="827" y="234"/>
              </a:cxn>
              <a:cxn ang="0">
                <a:pos x="837" y="172"/>
              </a:cxn>
              <a:cxn ang="0">
                <a:pos x="861" y="148"/>
              </a:cxn>
              <a:cxn ang="0">
                <a:pos x="916" y="165"/>
              </a:cxn>
              <a:cxn ang="0">
                <a:pos x="938" y="75"/>
              </a:cxn>
              <a:cxn ang="0">
                <a:pos x="971" y="155"/>
              </a:cxn>
              <a:cxn ang="0">
                <a:pos x="926" y="89"/>
              </a:cxn>
              <a:cxn ang="0">
                <a:pos x="945" y="54"/>
              </a:cxn>
              <a:cxn ang="0">
                <a:pos x="1021" y="85"/>
              </a:cxn>
              <a:cxn ang="0">
                <a:pos x="948" y="13"/>
              </a:cxn>
              <a:cxn ang="0">
                <a:pos x="993" y="0"/>
              </a:cxn>
              <a:cxn ang="0">
                <a:pos x="1047" y="61"/>
              </a:cxn>
            </a:cxnLst>
            <a:rect l="0" t="0" r="r" b="b"/>
            <a:pathLst>
              <a:path w="1059" h="1004">
                <a:moveTo>
                  <a:pt x="137" y="987"/>
                </a:moveTo>
                <a:cubicBezTo>
                  <a:pt x="138" y="987"/>
                  <a:pt x="138" y="988"/>
                  <a:pt x="138" y="989"/>
                </a:cubicBezTo>
                <a:cubicBezTo>
                  <a:pt x="138" y="989"/>
                  <a:pt x="138" y="990"/>
                  <a:pt x="137" y="991"/>
                </a:cubicBezTo>
                <a:cubicBezTo>
                  <a:pt x="137" y="992"/>
                  <a:pt x="136" y="993"/>
                  <a:pt x="135" y="994"/>
                </a:cubicBezTo>
                <a:cubicBezTo>
                  <a:pt x="135" y="995"/>
                  <a:pt x="133" y="996"/>
                  <a:pt x="132" y="997"/>
                </a:cubicBezTo>
                <a:cubicBezTo>
                  <a:pt x="131" y="998"/>
                  <a:pt x="130" y="999"/>
                  <a:pt x="129" y="1000"/>
                </a:cubicBezTo>
                <a:cubicBezTo>
                  <a:pt x="128" y="1001"/>
                  <a:pt x="128" y="1001"/>
                  <a:pt x="127" y="1002"/>
                </a:cubicBezTo>
                <a:cubicBezTo>
                  <a:pt x="126" y="1002"/>
                  <a:pt x="126" y="1003"/>
                  <a:pt x="125" y="1003"/>
                </a:cubicBezTo>
                <a:cubicBezTo>
                  <a:pt x="125" y="1003"/>
                  <a:pt x="124" y="1003"/>
                  <a:pt x="124" y="1003"/>
                </a:cubicBezTo>
                <a:cubicBezTo>
                  <a:pt x="123" y="1004"/>
                  <a:pt x="123" y="1004"/>
                  <a:pt x="122" y="1003"/>
                </a:cubicBezTo>
                <a:cubicBezTo>
                  <a:pt x="122" y="1003"/>
                  <a:pt x="121" y="1003"/>
                  <a:pt x="121" y="1003"/>
                </a:cubicBezTo>
                <a:lnTo>
                  <a:pt x="4" y="947"/>
                </a:lnTo>
                <a:cubicBezTo>
                  <a:pt x="3" y="946"/>
                  <a:pt x="2" y="946"/>
                  <a:pt x="1" y="945"/>
                </a:cubicBezTo>
                <a:cubicBezTo>
                  <a:pt x="0" y="944"/>
                  <a:pt x="0" y="944"/>
                  <a:pt x="0" y="943"/>
                </a:cubicBezTo>
                <a:cubicBezTo>
                  <a:pt x="0" y="942"/>
                  <a:pt x="1" y="941"/>
                  <a:pt x="2" y="940"/>
                </a:cubicBezTo>
                <a:cubicBezTo>
                  <a:pt x="3" y="939"/>
                  <a:pt x="4" y="938"/>
                  <a:pt x="5" y="936"/>
                </a:cubicBezTo>
                <a:cubicBezTo>
                  <a:pt x="7" y="935"/>
                  <a:pt x="8" y="934"/>
                  <a:pt x="9" y="933"/>
                </a:cubicBezTo>
                <a:cubicBezTo>
                  <a:pt x="10" y="932"/>
                  <a:pt x="10" y="932"/>
                  <a:pt x="11" y="932"/>
                </a:cubicBezTo>
                <a:cubicBezTo>
                  <a:pt x="12" y="932"/>
                  <a:pt x="12" y="931"/>
                  <a:pt x="13" y="932"/>
                </a:cubicBezTo>
                <a:cubicBezTo>
                  <a:pt x="13" y="932"/>
                  <a:pt x="14" y="932"/>
                  <a:pt x="14" y="932"/>
                </a:cubicBezTo>
                <a:lnTo>
                  <a:pt x="119" y="984"/>
                </a:lnTo>
                <a:lnTo>
                  <a:pt x="119" y="984"/>
                </a:lnTo>
                <a:lnTo>
                  <a:pt x="67" y="880"/>
                </a:lnTo>
                <a:cubicBezTo>
                  <a:pt x="67" y="879"/>
                  <a:pt x="67" y="878"/>
                  <a:pt x="66" y="878"/>
                </a:cubicBezTo>
                <a:cubicBezTo>
                  <a:pt x="66" y="877"/>
                  <a:pt x="66" y="877"/>
                  <a:pt x="67" y="876"/>
                </a:cubicBezTo>
                <a:cubicBezTo>
                  <a:pt x="67" y="875"/>
                  <a:pt x="67" y="875"/>
                  <a:pt x="68" y="874"/>
                </a:cubicBezTo>
                <a:cubicBezTo>
                  <a:pt x="69" y="873"/>
                  <a:pt x="70" y="871"/>
                  <a:pt x="72" y="870"/>
                </a:cubicBezTo>
                <a:cubicBezTo>
                  <a:pt x="73" y="869"/>
                  <a:pt x="74" y="867"/>
                  <a:pt x="75" y="867"/>
                </a:cubicBezTo>
                <a:cubicBezTo>
                  <a:pt x="76" y="866"/>
                  <a:pt x="77" y="866"/>
                  <a:pt x="78" y="866"/>
                </a:cubicBezTo>
                <a:cubicBezTo>
                  <a:pt x="78" y="866"/>
                  <a:pt x="79" y="866"/>
                  <a:pt x="80" y="867"/>
                </a:cubicBezTo>
                <a:cubicBezTo>
                  <a:pt x="80" y="867"/>
                  <a:pt x="81" y="869"/>
                  <a:pt x="81" y="870"/>
                </a:cubicBezTo>
                <a:lnTo>
                  <a:pt x="137" y="987"/>
                </a:lnTo>
                <a:close/>
                <a:moveTo>
                  <a:pt x="205" y="854"/>
                </a:moveTo>
                <a:cubicBezTo>
                  <a:pt x="210" y="859"/>
                  <a:pt x="215" y="864"/>
                  <a:pt x="218" y="870"/>
                </a:cubicBezTo>
                <a:cubicBezTo>
                  <a:pt x="221" y="876"/>
                  <a:pt x="222" y="882"/>
                  <a:pt x="223" y="888"/>
                </a:cubicBezTo>
                <a:cubicBezTo>
                  <a:pt x="223" y="894"/>
                  <a:pt x="222" y="900"/>
                  <a:pt x="220" y="906"/>
                </a:cubicBezTo>
                <a:cubicBezTo>
                  <a:pt x="218" y="912"/>
                  <a:pt x="214" y="917"/>
                  <a:pt x="208" y="923"/>
                </a:cubicBezTo>
                <a:cubicBezTo>
                  <a:pt x="203" y="928"/>
                  <a:pt x="198" y="932"/>
                  <a:pt x="192" y="934"/>
                </a:cubicBezTo>
                <a:cubicBezTo>
                  <a:pt x="187" y="937"/>
                  <a:pt x="181" y="938"/>
                  <a:pt x="175" y="937"/>
                </a:cubicBezTo>
                <a:cubicBezTo>
                  <a:pt x="170" y="937"/>
                  <a:pt x="164" y="935"/>
                  <a:pt x="158" y="932"/>
                </a:cubicBezTo>
                <a:cubicBezTo>
                  <a:pt x="153" y="929"/>
                  <a:pt x="147" y="925"/>
                  <a:pt x="142" y="919"/>
                </a:cubicBezTo>
                <a:cubicBezTo>
                  <a:pt x="137" y="914"/>
                  <a:pt x="132" y="909"/>
                  <a:pt x="129" y="903"/>
                </a:cubicBezTo>
                <a:cubicBezTo>
                  <a:pt x="126" y="897"/>
                  <a:pt x="125" y="891"/>
                  <a:pt x="124" y="885"/>
                </a:cubicBezTo>
                <a:cubicBezTo>
                  <a:pt x="124" y="879"/>
                  <a:pt x="125" y="873"/>
                  <a:pt x="127" y="867"/>
                </a:cubicBezTo>
                <a:cubicBezTo>
                  <a:pt x="129" y="862"/>
                  <a:pt x="133" y="856"/>
                  <a:pt x="139" y="850"/>
                </a:cubicBezTo>
                <a:cubicBezTo>
                  <a:pt x="144" y="845"/>
                  <a:pt x="149" y="841"/>
                  <a:pt x="155" y="839"/>
                </a:cubicBezTo>
                <a:cubicBezTo>
                  <a:pt x="160" y="836"/>
                  <a:pt x="166" y="836"/>
                  <a:pt x="172" y="836"/>
                </a:cubicBezTo>
                <a:cubicBezTo>
                  <a:pt x="177" y="836"/>
                  <a:pt x="183" y="838"/>
                  <a:pt x="189" y="841"/>
                </a:cubicBezTo>
                <a:cubicBezTo>
                  <a:pt x="194" y="844"/>
                  <a:pt x="200" y="848"/>
                  <a:pt x="205" y="854"/>
                </a:cubicBezTo>
                <a:close/>
                <a:moveTo>
                  <a:pt x="194" y="867"/>
                </a:moveTo>
                <a:cubicBezTo>
                  <a:pt x="190" y="863"/>
                  <a:pt x="187" y="860"/>
                  <a:pt x="183" y="858"/>
                </a:cubicBezTo>
                <a:cubicBezTo>
                  <a:pt x="179" y="855"/>
                  <a:pt x="175" y="854"/>
                  <a:pt x="171" y="853"/>
                </a:cubicBezTo>
                <a:cubicBezTo>
                  <a:pt x="168" y="852"/>
                  <a:pt x="164" y="852"/>
                  <a:pt x="160" y="853"/>
                </a:cubicBezTo>
                <a:cubicBezTo>
                  <a:pt x="156" y="854"/>
                  <a:pt x="152" y="857"/>
                  <a:pt x="148" y="861"/>
                </a:cubicBezTo>
                <a:cubicBezTo>
                  <a:pt x="145" y="864"/>
                  <a:pt x="142" y="868"/>
                  <a:pt x="141" y="872"/>
                </a:cubicBezTo>
                <a:cubicBezTo>
                  <a:pt x="140" y="876"/>
                  <a:pt x="139" y="879"/>
                  <a:pt x="140" y="883"/>
                </a:cubicBezTo>
                <a:cubicBezTo>
                  <a:pt x="141" y="887"/>
                  <a:pt x="142" y="891"/>
                  <a:pt x="144" y="895"/>
                </a:cubicBezTo>
                <a:cubicBezTo>
                  <a:pt x="147" y="899"/>
                  <a:pt x="150" y="903"/>
                  <a:pt x="153" y="906"/>
                </a:cubicBezTo>
                <a:cubicBezTo>
                  <a:pt x="157" y="910"/>
                  <a:pt x="161" y="913"/>
                  <a:pt x="164" y="915"/>
                </a:cubicBezTo>
                <a:cubicBezTo>
                  <a:pt x="168" y="918"/>
                  <a:pt x="172" y="920"/>
                  <a:pt x="176" y="920"/>
                </a:cubicBezTo>
                <a:cubicBezTo>
                  <a:pt x="180" y="921"/>
                  <a:pt x="183" y="921"/>
                  <a:pt x="187" y="920"/>
                </a:cubicBezTo>
                <a:cubicBezTo>
                  <a:pt x="191" y="919"/>
                  <a:pt x="195" y="916"/>
                  <a:pt x="199" y="912"/>
                </a:cubicBezTo>
                <a:cubicBezTo>
                  <a:pt x="202" y="909"/>
                  <a:pt x="205" y="905"/>
                  <a:pt x="206" y="901"/>
                </a:cubicBezTo>
                <a:cubicBezTo>
                  <a:pt x="207" y="897"/>
                  <a:pt x="208" y="894"/>
                  <a:pt x="207" y="890"/>
                </a:cubicBezTo>
                <a:cubicBezTo>
                  <a:pt x="207" y="886"/>
                  <a:pt x="205" y="882"/>
                  <a:pt x="203" y="878"/>
                </a:cubicBezTo>
                <a:cubicBezTo>
                  <a:pt x="200" y="874"/>
                  <a:pt x="197" y="870"/>
                  <a:pt x="194" y="867"/>
                </a:cubicBezTo>
                <a:close/>
                <a:moveTo>
                  <a:pt x="269" y="856"/>
                </a:moveTo>
                <a:cubicBezTo>
                  <a:pt x="270" y="856"/>
                  <a:pt x="270" y="856"/>
                  <a:pt x="270" y="857"/>
                </a:cubicBezTo>
                <a:cubicBezTo>
                  <a:pt x="270" y="857"/>
                  <a:pt x="270" y="858"/>
                  <a:pt x="270" y="859"/>
                </a:cubicBezTo>
                <a:cubicBezTo>
                  <a:pt x="269" y="859"/>
                  <a:pt x="269" y="860"/>
                  <a:pt x="268" y="861"/>
                </a:cubicBezTo>
                <a:cubicBezTo>
                  <a:pt x="268" y="862"/>
                  <a:pt x="267" y="863"/>
                  <a:pt x="265" y="864"/>
                </a:cubicBezTo>
                <a:cubicBezTo>
                  <a:pt x="264" y="865"/>
                  <a:pt x="263" y="866"/>
                  <a:pt x="262" y="867"/>
                </a:cubicBezTo>
                <a:cubicBezTo>
                  <a:pt x="262" y="867"/>
                  <a:pt x="261" y="868"/>
                  <a:pt x="260" y="868"/>
                </a:cubicBezTo>
                <a:cubicBezTo>
                  <a:pt x="259" y="868"/>
                  <a:pt x="259" y="868"/>
                  <a:pt x="259" y="868"/>
                </a:cubicBezTo>
                <a:cubicBezTo>
                  <a:pt x="258" y="868"/>
                  <a:pt x="258" y="868"/>
                  <a:pt x="257" y="867"/>
                </a:cubicBezTo>
                <a:lnTo>
                  <a:pt x="161" y="772"/>
                </a:lnTo>
                <a:cubicBezTo>
                  <a:pt x="161" y="771"/>
                  <a:pt x="161" y="771"/>
                  <a:pt x="161" y="770"/>
                </a:cubicBezTo>
                <a:cubicBezTo>
                  <a:pt x="160" y="770"/>
                  <a:pt x="161" y="769"/>
                  <a:pt x="161" y="769"/>
                </a:cubicBezTo>
                <a:cubicBezTo>
                  <a:pt x="161" y="768"/>
                  <a:pt x="162" y="767"/>
                  <a:pt x="162" y="766"/>
                </a:cubicBezTo>
                <a:cubicBezTo>
                  <a:pt x="163" y="766"/>
                  <a:pt x="164" y="765"/>
                  <a:pt x="165" y="763"/>
                </a:cubicBezTo>
                <a:cubicBezTo>
                  <a:pt x="166" y="762"/>
                  <a:pt x="167" y="761"/>
                  <a:pt x="168" y="761"/>
                </a:cubicBezTo>
                <a:cubicBezTo>
                  <a:pt x="169" y="760"/>
                  <a:pt x="170" y="759"/>
                  <a:pt x="170" y="759"/>
                </a:cubicBezTo>
                <a:cubicBezTo>
                  <a:pt x="171" y="759"/>
                  <a:pt x="171" y="759"/>
                  <a:pt x="172" y="759"/>
                </a:cubicBezTo>
                <a:cubicBezTo>
                  <a:pt x="172" y="759"/>
                  <a:pt x="173" y="759"/>
                  <a:pt x="173" y="760"/>
                </a:cubicBezTo>
                <a:lnTo>
                  <a:pt x="269" y="856"/>
                </a:lnTo>
                <a:close/>
                <a:moveTo>
                  <a:pt x="320" y="795"/>
                </a:moveTo>
                <a:cubicBezTo>
                  <a:pt x="321" y="797"/>
                  <a:pt x="322" y="798"/>
                  <a:pt x="323" y="799"/>
                </a:cubicBezTo>
                <a:cubicBezTo>
                  <a:pt x="324" y="800"/>
                  <a:pt x="324" y="801"/>
                  <a:pt x="324" y="801"/>
                </a:cubicBezTo>
                <a:cubicBezTo>
                  <a:pt x="324" y="802"/>
                  <a:pt x="324" y="803"/>
                  <a:pt x="323" y="804"/>
                </a:cubicBezTo>
                <a:cubicBezTo>
                  <a:pt x="323" y="805"/>
                  <a:pt x="322" y="807"/>
                  <a:pt x="322" y="808"/>
                </a:cubicBezTo>
                <a:cubicBezTo>
                  <a:pt x="321" y="809"/>
                  <a:pt x="320" y="810"/>
                  <a:pt x="319" y="811"/>
                </a:cubicBezTo>
                <a:cubicBezTo>
                  <a:pt x="318" y="813"/>
                  <a:pt x="317" y="814"/>
                  <a:pt x="316" y="815"/>
                </a:cubicBezTo>
                <a:cubicBezTo>
                  <a:pt x="313" y="818"/>
                  <a:pt x="309" y="821"/>
                  <a:pt x="306" y="822"/>
                </a:cubicBezTo>
                <a:cubicBezTo>
                  <a:pt x="303" y="824"/>
                  <a:pt x="299" y="824"/>
                  <a:pt x="296" y="824"/>
                </a:cubicBezTo>
                <a:cubicBezTo>
                  <a:pt x="293" y="824"/>
                  <a:pt x="289" y="823"/>
                  <a:pt x="286" y="821"/>
                </a:cubicBezTo>
                <a:cubicBezTo>
                  <a:pt x="282" y="819"/>
                  <a:pt x="279" y="816"/>
                  <a:pt x="275" y="812"/>
                </a:cubicBezTo>
                <a:lnTo>
                  <a:pt x="237" y="774"/>
                </a:lnTo>
                <a:lnTo>
                  <a:pt x="228" y="783"/>
                </a:lnTo>
                <a:cubicBezTo>
                  <a:pt x="228" y="784"/>
                  <a:pt x="227" y="784"/>
                  <a:pt x="225" y="784"/>
                </a:cubicBezTo>
                <a:cubicBezTo>
                  <a:pt x="224" y="783"/>
                  <a:pt x="223" y="782"/>
                  <a:pt x="221" y="781"/>
                </a:cubicBezTo>
                <a:cubicBezTo>
                  <a:pt x="220" y="780"/>
                  <a:pt x="219" y="779"/>
                  <a:pt x="219" y="778"/>
                </a:cubicBezTo>
                <a:cubicBezTo>
                  <a:pt x="218" y="777"/>
                  <a:pt x="218" y="777"/>
                  <a:pt x="218" y="776"/>
                </a:cubicBezTo>
                <a:cubicBezTo>
                  <a:pt x="218" y="776"/>
                  <a:pt x="218" y="775"/>
                  <a:pt x="218" y="775"/>
                </a:cubicBezTo>
                <a:cubicBezTo>
                  <a:pt x="218" y="774"/>
                  <a:pt x="218" y="774"/>
                  <a:pt x="219" y="773"/>
                </a:cubicBezTo>
                <a:lnTo>
                  <a:pt x="228" y="764"/>
                </a:lnTo>
                <a:lnTo>
                  <a:pt x="212" y="749"/>
                </a:lnTo>
                <a:cubicBezTo>
                  <a:pt x="212" y="749"/>
                  <a:pt x="212" y="748"/>
                  <a:pt x="211" y="748"/>
                </a:cubicBezTo>
                <a:cubicBezTo>
                  <a:pt x="211" y="747"/>
                  <a:pt x="211" y="747"/>
                  <a:pt x="212" y="746"/>
                </a:cubicBezTo>
                <a:cubicBezTo>
                  <a:pt x="212" y="745"/>
                  <a:pt x="212" y="745"/>
                  <a:pt x="213" y="744"/>
                </a:cubicBezTo>
                <a:cubicBezTo>
                  <a:pt x="214" y="743"/>
                  <a:pt x="215" y="742"/>
                  <a:pt x="216" y="741"/>
                </a:cubicBezTo>
                <a:cubicBezTo>
                  <a:pt x="217" y="740"/>
                  <a:pt x="218" y="739"/>
                  <a:pt x="219" y="738"/>
                </a:cubicBezTo>
                <a:cubicBezTo>
                  <a:pt x="220" y="737"/>
                  <a:pt x="220" y="737"/>
                  <a:pt x="221" y="737"/>
                </a:cubicBezTo>
                <a:cubicBezTo>
                  <a:pt x="222" y="736"/>
                  <a:pt x="222" y="736"/>
                  <a:pt x="223" y="736"/>
                </a:cubicBezTo>
                <a:cubicBezTo>
                  <a:pt x="223" y="736"/>
                  <a:pt x="224" y="737"/>
                  <a:pt x="224" y="737"/>
                </a:cubicBezTo>
                <a:lnTo>
                  <a:pt x="239" y="752"/>
                </a:lnTo>
                <a:lnTo>
                  <a:pt x="256" y="736"/>
                </a:lnTo>
                <a:cubicBezTo>
                  <a:pt x="256" y="735"/>
                  <a:pt x="257" y="735"/>
                  <a:pt x="257" y="735"/>
                </a:cubicBezTo>
                <a:cubicBezTo>
                  <a:pt x="258" y="735"/>
                  <a:pt x="258" y="735"/>
                  <a:pt x="259" y="735"/>
                </a:cubicBezTo>
                <a:cubicBezTo>
                  <a:pt x="259" y="735"/>
                  <a:pt x="260" y="736"/>
                  <a:pt x="261" y="736"/>
                </a:cubicBezTo>
                <a:cubicBezTo>
                  <a:pt x="262" y="737"/>
                  <a:pt x="262" y="737"/>
                  <a:pt x="263" y="738"/>
                </a:cubicBezTo>
                <a:cubicBezTo>
                  <a:pt x="265" y="740"/>
                  <a:pt x="266" y="742"/>
                  <a:pt x="266" y="743"/>
                </a:cubicBezTo>
                <a:cubicBezTo>
                  <a:pt x="267" y="744"/>
                  <a:pt x="267" y="745"/>
                  <a:pt x="266" y="746"/>
                </a:cubicBezTo>
                <a:lnTo>
                  <a:pt x="249" y="762"/>
                </a:lnTo>
                <a:lnTo>
                  <a:pt x="285" y="798"/>
                </a:lnTo>
                <a:cubicBezTo>
                  <a:pt x="290" y="803"/>
                  <a:pt x="294" y="805"/>
                  <a:pt x="297" y="806"/>
                </a:cubicBezTo>
                <a:cubicBezTo>
                  <a:pt x="301" y="807"/>
                  <a:pt x="304" y="806"/>
                  <a:pt x="308" y="803"/>
                </a:cubicBezTo>
                <a:cubicBezTo>
                  <a:pt x="309" y="802"/>
                  <a:pt x="310" y="801"/>
                  <a:pt x="310" y="799"/>
                </a:cubicBezTo>
                <a:cubicBezTo>
                  <a:pt x="311" y="798"/>
                  <a:pt x="312" y="797"/>
                  <a:pt x="312" y="797"/>
                </a:cubicBezTo>
                <a:cubicBezTo>
                  <a:pt x="312" y="796"/>
                  <a:pt x="313" y="795"/>
                  <a:pt x="313" y="794"/>
                </a:cubicBezTo>
                <a:cubicBezTo>
                  <a:pt x="313" y="793"/>
                  <a:pt x="314" y="793"/>
                  <a:pt x="314" y="792"/>
                </a:cubicBezTo>
                <a:cubicBezTo>
                  <a:pt x="314" y="792"/>
                  <a:pt x="315" y="792"/>
                  <a:pt x="315" y="792"/>
                </a:cubicBezTo>
                <a:cubicBezTo>
                  <a:pt x="315" y="792"/>
                  <a:pt x="316" y="792"/>
                  <a:pt x="316" y="792"/>
                </a:cubicBezTo>
                <a:cubicBezTo>
                  <a:pt x="317" y="792"/>
                  <a:pt x="317" y="793"/>
                  <a:pt x="318" y="793"/>
                </a:cubicBezTo>
                <a:cubicBezTo>
                  <a:pt x="318" y="794"/>
                  <a:pt x="319" y="794"/>
                  <a:pt x="320" y="795"/>
                </a:cubicBezTo>
                <a:close/>
                <a:moveTo>
                  <a:pt x="385" y="740"/>
                </a:moveTo>
                <a:cubicBezTo>
                  <a:pt x="386" y="740"/>
                  <a:pt x="386" y="741"/>
                  <a:pt x="386" y="742"/>
                </a:cubicBezTo>
                <a:cubicBezTo>
                  <a:pt x="386" y="742"/>
                  <a:pt x="386" y="743"/>
                  <a:pt x="385" y="744"/>
                </a:cubicBezTo>
                <a:cubicBezTo>
                  <a:pt x="385" y="745"/>
                  <a:pt x="384" y="746"/>
                  <a:pt x="382" y="747"/>
                </a:cubicBezTo>
                <a:cubicBezTo>
                  <a:pt x="381" y="748"/>
                  <a:pt x="380" y="749"/>
                  <a:pt x="379" y="750"/>
                </a:cubicBezTo>
                <a:cubicBezTo>
                  <a:pt x="378" y="750"/>
                  <a:pt x="377" y="751"/>
                  <a:pt x="377" y="751"/>
                </a:cubicBezTo>
                <a:cubicBezTo>
                  <a:pt x="376" y="751"/>
                  <a:pt x="376" y="750"/>
                  <a:pt x="375" y="750"/>
                </a:cubicBezTo>
                <a:lnTo>
                  <a:pt x="369" y="743"/>
                </a:lnTo>
                <a:cubicBezTo>
                  <a:pt x="369" y="749"/>
                  <a:pt x="368" y="755"/>
                  <a:pt x="366" y="760"/>
                </a:cubicBezTo>
                <a:cubicBezTo>
                  <a:pt x="364" y="765"/>
                  <a:pt x="362" y="770"/>
                  <a:pt x="358" y="773"/>
                </a:cubicBezTo>
                <a:cubicBezTo>
                  <a:pt x="354" y="777"/>
                  <a:pt x="351" y="779"/>
                  <a:pt x="347" y="781"/>
                </a:cubicBezTo>
                <a:cubicBezTo>
                  <a:pt x="343" y="783"/>
                  <a:pt x="340" y="784"/>
                  <a:pt x="336" y="785"/>
                </a:cubicBezTo>
                <a:cubicBezTo>
                  <a:pt x="333" y="785"/>
                  <a:pt x="329" y="784"/>
                  <a:pt x="326" y="783"/>
                </a:cubicBezTo>
                <a:cubicBezTo>
                  <a:pt x="322" y="782"/>
                  <a:pt x="319" y="779"/>
                  <a:pt x="316" y="776"/>
                </a:cubicBezTo>
                <a:cubicBezTo>
                  <a:pt x="312" y="773"/>
                  <a:pt x="310" y="769"/>
                  <a:pt x="308" y="764"/>
                </a:cubicBezTo>
                <a:cubicBezTo>
                  <a:pt x="307" y="760"/>
                  <a:pt x="307" y="756"/>
                  <a:pt x="308" y="751"/>
                </a:cubicBezTo>
                <a:cubicBezTo>
                  <a:pt x="309" y="747"/>
                  <a:pt x="311" y="742"/>
                  <a:pt x="314" y="737"/>
                </a:cubicBezTo>
                <a:cubicBezTo>
                  <a:pt x="317" y="732"/>
                  <a:pt x="321" y="727"/>
                  <a:pt x="327" y="722"/>
                </a:cubicBezTo>
                <a:lnTo>
                  <a:pt x="335" y="713"/>
                </a:lnTo>
                <a:lnTo>
                  <a:pt x="330" y="708"/>
                </a:lnTo>
                <a:cubicBezTo>
                  <a:pt x="328" y="706"/>
                  <a:pt x="325" y="704"/>
                  <a:pt x="323" y="703"/>
                </a:cubicBezTo>
                <a:cubicBezTo>
                  <a:pt x="321" y="701"/>
                  <a:pt x="318" y="700"/>
                  <a:pt x="316" y="700"/>
                </a:cubicBezTo>
                <a:cubicBezTo>
                  <a:pt x="313" y="700"/>
                  <a:pt x="311" y="701"/>
                  <a:pt x="308" y="702"/>
                </a:cubicBezTo>
                <a:cubicBezTo>
                  <a:pt x="306" y="703"/>
                  <a:pt x="303" y="705"/>
                  <a:pt x="300" y="708"/>
                </a:cubicBezTo>
                <a:cubicBezTo>
                  <a:pt x="297" y="711"/>
                  <a:pt x="295" y="714"/>
                  <a:pt x="294" y="717"/>
                </a:cubicBezTo>
                <a:cubicBezTo>
                  <a:pt x="292" y="720"/>
                  <a:pt x="291" y="723"/>
                  <a:pt x="290" y="725"/>
                </a:cubicBezTo>
                <a:cubicBezTo>
                  <a:pt x="289" y="728"/>
                  <a:pt x="288" y="730"/>
                  <a:pt x="288" y="732"/>
                </a:cubicBezTo>
                <a:cubicBezTo>
                  <a:pt x="287" y="734"/>
                  <a:pt x="287" y="735"/>
                  <a:pt x="286" y="736"/>
                </a:cubicBezTo>
                <a:cubicBezTo>
                  <a:pt x="286" y="736"/>
                  <a:pt x="285" y="736"/>
                  <a:pt x="285" y="736"/>
                </a:cubicBezTo>
                <a:cubicBezTo>
                  <a:pt x="284" y="736"/>
                  <a:pt x="284" y="736"/>
                  <a:pt x="283" y="736"/>
                </a:cubicBezTo>
                <a:cubicBezTo>
                  <a:pt x="283" y="736"/>
                  <a:pt x="282" y="736"/>
                  <a:pt x="281" y="735"/>
                </a:cubicBezTo>
                <a:cubicBezTo>
                  <a:pt x="281" y="735"/>
                  <a:pt x="280" y="734"/>
                  <a:pt x="279" y="733"/>
                </a:cubicBezTo>
                <a:cubicBezTo>
                  <a:pt x="278" y="732"/>
                  <a:pt x="277" y="731"/>
                  <a:pt x="277" y="730"/>
                </a:cubicBezTo>
                <a:cubicBezTo>
                  <a:pt x="276" y="729"/>
                  <a:pt x="276" y="728"/>
                  <a:pt x="276" y="727"/>
                </a:cubicBezTo>
                <a:cubicBezTo>
                  <a:pt x="276" y="726"/>
                  <a:pt x="276" y="724"/>
                  <a:pt x="277" y="722"/>
                </a:cubicBezTo>
                <a:cubicBezTo>
                  <a:pt x="278" y="719"/>
                  <a:pt x="279" y="717"/>
                  <a:pt x="280" y="714"/>
                </a:cubicBezTo>
                <a:cubicBezTo>
                  <a:pt x="281" y="711"/>
                  <a:pt x="283" y="708"/>
                  <a:pt x="285" y="705"/>
                </a:cubicBezTo>
                <a:cubicBezTo>
                  <a:pt x="287" y="702"/>
                  <a:pt x="289" y="700"/>
                  <a:pt x="292" y="697"/>
                </a:cubicBezTo>
                <a:cubicBezTo>
                  <a:pt x="296" y="693"/>
                  <a:pt x="301" y="689"/>
                  <a:pt x="305" y="687"/>
                </a:cubicBezTo>
                <a:cubicBezTo>
                  <a:pt x="310" y="685"/>
                  <a:pt x="314" y="684"/>
                  <a:pt x="318" y="684"/>
                </a:cubicBezTo>
                <a:cubicBezTo>
                  <a:pt x="322" y="684"/>
                  <a:pt x="326" y="685"/>
                  <a:pt x="330" y="687"/>
                </a:cubicBezTo>
                <a:cubicBezTo>
                  <a:pt x="334" y="689"/>
                  <a:pt x="338" y="692"/>
                  <a:pt x="342" y="696"/>
                </a:cubicBezTo>
                <a:lnTo>
                  <a:pt x="385" y="740"/>
                </a:lnTo>
                <a:close/>
                <a:moveTo>
                  <a:pt x="344" y="722"/>
                </a:moveTo>
                <a:lnTo>
                  <a:pt x="334" y="732"/>
                </a:lnTo>
                <a:cubicBezTo>
                  <a:pt x="331" y="735"/>
                  <a:pt x="328" y="738"/>
                  <a:pt x="326" y="741"/>
                </a:cubicBezTo>
                <a:cubicBezTo>
                  <a:pt x="324" y="744"/>
                  <a:pt x="323" y="747"/>
                  <a:pt x="323" y="750"/>
                </a:cubicBezTo>
                <a:cubicBezTo>
                  <a:pt x="322" y="752"/>
                  <a:pt x="322" y="755"/>
                  <a:pt x="323" y="757"/>
                </a:cubicBezTo>
                <a:cubicBezTo>
                  <a:pt x="324" y="759"/>
                  <a:pt x="325" y="761"/>
                  <a:pt x="327" y="763"/>
                </a:cubicBezTo>
                <a:cubicBezTo>
                  <a:pt x="331" y="767"/>
                  <a:pt x="334" y="768"/>
                  <a:pt x="338" y="768"/>
                </a:cubicBezTo>
                <a:cubicBezTo>
                  <a:pt x="342" y="768"/>
                  <a:pt x="346" y="766"/>
                  <a:pt x="350" y="762"/>
                </a:cubicBezTo>
                <a:cubicBezTo>
                  <a:pt x="353" y="759"/>
                  <a:pt x="355" y="756"/>
                  <a:pt x="357" y="751"/>
                </a:cubicBezTo>
                <a:cubicBezTo>
                  <a:pt x="358" y="747"/>
                  <a:pt x="358" y="742"/>
                  <a:pt x="358" y="736"/>
                </a:cubicBezTo>
                <a:lnTo>
                  <a:pt x="344" y="722"/>
                </a:lnTo>
                <a:close/>
                <a:moveTo>
                  <a:pt x="397" y="605"/>
                </a:moveTo>
                <a:cubicBezTo>
                  <a:pt x="398" y="606"/>
                  <a:pt x="399" y="608"/>
                  <a:pt x="400" y="609"/>
                </a:cubicBezTo>
                <a:cubicBezTo>
                  <a:pt x="400" y="610"/>
                  <a:pt x="400" y="611"/>
                  <a:pt x="399" y="612"/>
                </a:cubicBezTo>
                <a:lnTo>
                  <a:pt x="390" y="621"/>
                </a:lnTo>
                <a:cubicBezTo>
                  <a:pt x="393" y="621"/>
                  <a:pt x="396" y="622"/>
                  <a:pt x="399" y="623"/>
                </a:cubicBezTo>
                <a:cubicBezTo>
                  <a:pt x="402" y="625"/>
                  <a:pt x="404" y="627"/>
                  <a:pt x="406" y="629"/>
                </a:cubicBezTo>
                <a:cubicBezTo>
                  <a:pt x="410" y="633"/>
                  <a:pt x="413" y="636"/>
                  <a:pt x="415" y="641"/>
                </a:cubicBezTo>
                <a:cubicBezTo>
                  <a:pt x="416" y="645"/>
                  <a:pt x="417" y="649"/>
                  <a:pt x="417" y="653"/>
                </a:cubicBezTo>
                <a:cubicBezTo>
                  <a:pt x="416" y="657"/>
                  <a:pt x="415" y="661"/>
                  <a:pt x="413" y="665"/>
                </a:cubicBezTo>
                <a:cubicBezTo>
                  <a:pt x="411" y="670"/>
                  <a:pt x="408" y="674"/>
                  <a:pt x="405" y="677"/>
                </a:cubicBezTo>
                <a:cubicBezTo>
                  <a:pt x="402" y="680"/>
                  <a:pt x="399" y="682"/>
                  <a:pt x="396" y="684"/>
                </a:cubicBezTo>
                <a:cubicBezTo>
                  <a:pt x="393" y="685"/>
                  <a:pt x="390" y="686"/>
                  <a:pt x="388" y="687"/>
                </a:cubicBezTo>
                <a:cubicBezTo>
                  <a:pt x="388" y="688"/>
                  <a:pt x="388" y="690"/>
                  <a:pt x="389" y="692"/>
                </a:cubicBezTo>
                <a:cubicBezTo>
                  <a:pt x="389" y="693"/>
                  <a:pt x="390" y="695"/>
                  <a:pt x="392" y="696"/>
                </a:cubicBezTo>
                <a:cubicBezTo>
                  <a:pt x="394" y="698"/>
                  <a:pt x="396" y="699"/>
                  <a:pt x="398" y="698"/>
                </a:cubicBezTo>
                <a:cubicBezTo>
                  <a:pt x="401" y="698"/>
                  <a:pt x="404" y="696"/>
                  <a:pt x="406" y="694"/>
                </a:cubicBezTo>
                <a:lnTo>
                  <a:pt x="424" y="678"/>
                </a:lnTo>
                <a:cubicBezTo>
                  <a:pt x="427" y="674"/>
                  <a:pt x="431" y="672"/>
                  <a:pt x="434" y="670"/>
                </a:cubicBezTo>
                <a:cubicBezTo>
                  <a:pt x="438" y="668"/>
                  <a:pt x="441" y="667"/>
                  <a:pt x="444" y="666"/>
                </a:cubicBezTo>
                <a:cubicBezTo>
                  <a:pt x="448" y="666"/>
                  <a:pt x="451" y="666"/>
                  <a:pt x="454" y="667"/>
                </a:cubicBezTo>
                <a:cubicBezTo>
                  <a:pt x="458" y="668"/>
                  <a:pt x="461" y="670"/>
                  <a:pt x="464" y="673"/>
                </a:cubicBezTo>
                <a:cubicBezTo>
                  <a:pt x="467" y="676"/>
                  <a:pt x="469" y="679"/>
                  <a:pt x="470" y="683"/>
                </a:cubicBezTo>
                <a:cubicBezTo>
                  <a:pt x="472" y="687"/>
                  <a:pt x="472" y="692"/>
                  <a:pt x="472" y="696"/>
                </a:cubicBezTo>
                <a:cubicBezTo>
                  <a:pt x="471" y="701"/>
                  <a:pt x="469" y="706"/>
                  <a:pt x="467" y="711"/>
                </a:cubicBezTo>
                <a:cubicBezTo>
                  <a:pt x="464" y="716"/>
                  <a:pt x="460" y="721"/>
                  <a:pt x="454" y="727"/>
                </a:cubicBezTo>
                <a:cubicBezTo>
                  <a:pt x="449" y="732"/>
                  <a:pt x="444" y="736"/>
                  <a:pt x="440" y="739"/>
                </a:cubicBezTo>
                <a:cubicBezTo>
                  <a:pt x="435" y="741"/>
                  <a:pt x="431" y="743"/>
                  <a:pt x="427" y="744"/>
                </a:cubicBezTo>
                <a:cubicBezTo>
                  <a:pt x="423" y="745"/>
                  <a:pt x="420" y="745"/>
                  <a:pt x="416" y="744"/>
                </a:cubicBezTo>
                <a:cubicBezTo>
                  <a:pt x="413" y="743"/>
                  <a:pt x="410" y="741"/>
                  <a:pt x="408" y="738"/>
                </a:cubicBezTo>
                <a:cubicBezTo>
                  <a:pt x="406" y="737"/>
                  <a:pt x="405" y="735"/>
                  <a:pt x="404" y="733"/>
                </a:cubicBezTo>
                <a:cubicBezTo>
                  <a:pt x="403" y="731"/>
                  <a:pt x="402" y="729"/>
                  <a:pt x="401" y="727"/>
                </a:cubicBezTo>
                <a:cubicBezTo>
                  <a:pt x="401" y="725"/>
                  <a:pt x="400" y="723"/>
                  <a:pt x="400" y="720"/>
                </a:cubicBezTo>
                <a:cubicBezTo>
                  <a:pt x="400" y="718"/>
                  <a:pt x="401" y="715"/>
                  <a:pt x="401" y="713"/>
                </a:cubicBezTo>
                <a:cubicBezTo>
                  <a:pt x="397" y="714"/>
                  <a:pt x="394" y="714"/>
                  <a:pt x="391" y="713"/>
                </a:cubicBezTo>
                <a:cubicBezTo>
                  <a:pt x="388" y="713"/>
                  <a:pt x="386" y="711"/>
                  <a:pt x="384" y="709"/>
                </a:cubicBezTo>
                <a:cubicBezTo>
                  <a:pt x="381" y="706"/>
                  <a:pt x="379" y="703"/>
                  <a:pt x="378" y="699"/>
                </a:cubicBezTo>
                <a:cubicBezTo>
                  <a:pt x="376" y="696"/>
                  <a:pt x="376" y="692"/>
                  <a:pt x="376" y="689"/>
                </a:cubicBezTo>
                <a:cubicBezTo>
                  <a:pt x="373" y="689"/>
                  <a:pt x="369" y="688"/>
                  <a:pt x="366" y="686"/>
                </a:cubicBezTo>
                <a:cubicBezTo>
                  <a:pt x="363" y="685"/>
                  <a:pt x="360" y="683"/>
                  <a:pt x="357" y="680"/>
                </a:cubicBezTo>
                <a:cubicBezTo>
                  <a:pt x="353" y="676"/>
                  <a:pt x="351" y="672"/>
                  <a:pt x="349" y="668"/>
                </a:cubicBezTo>
                <a:cubicBezTo>
                  <a:pt x="347" y="664"/>
                  <a:pt x="346" y="659"/>
                  <a:pt x="347" y="655"/>
                </a:cubicBezTo>
                <a:cubicBezTo>
                  <a:pt x="347" y="651"/>
                  <a:pt x="348" y="647"/>
                  <a:pt x="350" y="643"/>
                </a:cubicBezTo>
                <a:cubicBezTo>
                  <a:pt x="352" y="638"/>
                  <a:pt x="355" y="635"/>
                  <a:pt x="358" y="631"/>
                </a:cubicBezTo>
                <a:cubicBezTo>
                  <a:pt x="360" y="629"/>
                  <a:pt x="362" y="627"/>
                  <a:pt x="364" y="626"/>
                </a:cubicBezTo>
                <a:cubicBezTo>
                  <a:pt x="366" y="624"/>
                  <a:pt x="368" y="623"/>
                  <a:pt x="370" y="622"/>
                </a:cubicBezTo>
                <a:lnTo>
                  <a:pt x="389" y="602"/>
                </a:lnTo>
                <a:cubicBezTo>
                  <a:pt x="390" y="602"/>
                  <a:pt x="391" y="601"/>
                  <a:pt x="392" y="602"/>
                </a:cubicBezTo>
                <a:cubicBezTo>
                  <a:pt x="394" y="602"/>
                  <a:pt x="395" y="603"/>
                  <a:pt x="397" y="605"/>
                </a:cubicBezTo>
                <a:close/>
                <a:moveTo>
                  <a:pt x="395" y="640"/>
                </a:moveTo>
                <a:cubicBezTo>
                  <a:pt x="391" y="636"/>
                  <a:pt x="386" y="634"/>
                  <a:pt x="381" y="634"/>
                </a:cubicBezTo>
                <a:cubicBezTo>
                  <a:pt x="376" y="634"/>
                  <a:pt x="372" y="636"/>
                  <a:pt x="367" y="640"/>
                </a:cubicBezTo>
                <a:cubicBezTo>
                  <a:pt x="365" y="643"/>
                  <a:pt x="363" y="645"/>
                  <a:pt x="362" y="647"/>
                </a:cubicBezTo>
                <a:cubicBezTo>
                  <a:pt x="361" y="650"/>
                  <a:pt x="361" y="652"/>
                  <a:pt x="361" y="655"/>
                </a:cubicBezTo>
                <a:cubicBezTo>
                  <a:pt x="362" y="657"/>
                  <a:pt x="362" y="660"/>
                  <a:pt x="363" y="662"/>
                </a:cubicBezTo>
                <a:cubicBezTo>
                  <a:pt x="365" y="664"/>
                  <a:pt x="366" y="666"/>
                  <a:pt x="368" y="668"/>
                </a:cubicBezTo>
                <a:cubicBezTo>
                  <a:pt x="372" y="672"/>
                  <a:pt x="377" y="675"/>
                  <a:pt x="382" y="675"/>
                </a:cubicBezTo>
                <a:cubicBezTo>
                  <a:pt x="387" y="675"/>
                  <a:pt x="391" y="672"/>
                  <a:pt x="396" y="668"/>
                </a:cubicBezTo>
                <a:cubicBezTo>
                  <a:pt x="398" y="666"/>
                  <a:pt x="400" y="663"/>
                  <a:pt x="401" y="661"/>
                </a:cubicBezTo>
                <a:cubicBezTo>
                  <a:pt x="402" y="658"/>
                  <a:pt x="402" y="656"/>
                  <a:pt x="402" y="654"/>
                </a:cubicBezTo>
                <a:cubicBezTo>
                  <a:pt x="402" y="651"/>
                  <a:pt x="401" y="649"/>
                  <a:pt x="400" y="646"/>
                </a:cubicBezTo>
                <a:cubicBezTo>
                  <a:pt x="399" y="644"/>
                  <a:pt x="397" y="642"/>
                  <a:pt x="395" y="640"/>
                </a:cubicBezTo>
                <a:close/>
                <a:moveTo>
                  <a:pt x="452" y="686"/>
                </a:moveTo>
                <a:cubicBezTo>
                  <a:pt x="450" y="683"/>
                  <a:pt x="446" y="682"/>
                  <a:pt x="443" y="683"/>
                </a:cubicBezTo>
                <a:cubicBezTo>
                  <a:pt x="439" y="683"/>
                  <a:pt x="435" y="686"/>
                  <a:pt x="431" y="689"/>
                </a:cubicBezTo>
                <a:lnTo>
                  <a:pt x="414" y="705"/>
                </a:lnTo>
                <a:cubicBezTo>
                  <a:pt x="413" y="708"/>
                  <a:pt x="413" y="711"/>
                  <a:pt x="413" y="713"/>
                </a:cubicBezTo>
                <a:cubicBezTo>
                  <a:pt x="413" y="715"/>
                  <a:pt x="414" y="717"/>
                  <a:pt x="414" y="718"/>
                </a:cubicBezTo>
                <a:cubicBezTo>
                  <a:pt x="414" y="720"/>
                  <a:pt x="415" y="721"/>
                  <a:pt x="416" y="722"/>
                </a:cubicBezTo>
                <a:cubicBezTo>
                  <a:pt x="416" y="723"/>
                  <a:pt x="417" y="724"/>
                  <a:pt x="418" y="725"/>
                </a:cubicBezTo>
                <a:cubicBezTo>
                  <a:pt x="421" y="729"/>
                  <a:pt x="425" y="729"/>
                  <a:pt x="430" y="728"/>
                </a:cubicBezTo>
                <a:cubicBezTo>
                  <a:pt x="435" y="726"/>
                  <a:pt x="440" y="723"/>
                  <a:pt x="446" y="717"/>
                </a:cubicBezTo>
                <a:cubicBezTo>
                  <a:pt x="449" y="713"/>
                  <a:pt x="452" y="710"/>
                  <a:pt x="454" y="707"/>
                </a:cubicBezTo>
                <a:cubicBezTo>
                  <a:pt x="455" y="704"/>
                  <a:pt x="456" y="701"/>
                  <a:pt x="457" y="698"/>
                </a:cubicBezTo>
                <a:cubicBezTo>
                  <a:pt x="457" y="696"/>
                  <a:pt x="457" y="693"/>
                  <a:pt x="456" y="691"/>
                </a:cubicBezTo>
                <a:cubicBezTo>
                  <a:pt x="455" y="689"/>
                  <a:pt x="454" y="687"/>
                  <a:pt x="452" y="686"/>
                </a:cubicBezTo>
                <a:close/>
                <a:moveTo>
                  <a:pt x="492" y="562"/>
                </a:moveTo>
                <a:cubicBezTo>
                  <a:pt x="494" y="564"/>
                  <a:pt x="495" y="566"/>
                  <a:pt x="495" y="568"/>
                </a:cubicBezTo>
                <a:cubicBezTo>
                  <a:pt x="495" y="569"/>
                  <a:pt x="494" y="571"/>
                  <a:pt x="493" y="572"/>
                </a:cubicBezTo>
                <a:lnTo>
                  <a:pt x="450" y="615"/>
                </a:lnTo>
                <a:cubicBezTo>
                  <a:pt x="454" y="618"/>
                  <a:pt x="457" y="621"/>
                  <a:pt x="461" y="623"/>
                </a:cubicBezTo>
                <a:cubicBezTo>
                  <a:pt x="465" y="625"/>
                  <a:pt x="468" y="627"/>
                  <a:pt x="472" y="627"/>
                </a:cubicBezTo>
                <a:cubicBezTo>
                  <a:pt x="476" y="627"/>
                  <a:pt x="480" y="627"/>
                  <a:pt x="483" y="625"/>
                </a:cubicBezTo>
                <a:cubicBezTo>
                  <a:pt x="487" y="624"/>
                  <a:pt x="491" y="621"/>
                  <a:pt x="495" y="617"/>
                </a:cubicBezTo>
                <a:cubicBezTo>
                  <a:pt x="498" y="614"/>
                  <a:pt x="500" y="611"/>
                  <a:pt x="502" y="608"/>
                </a:cubicBezTo>
                <a:cubicBezTo>
                  <a:pt x="504" y="605"/>
                  <a:pt x="506" y="602"/>
                  <a:pt x="507" y="600"/>
                </a:cubicBezTo>
                <a:cubicBezTo>
                  <a:pt x="508" y="598"/>
                  <a:pt x="509" y="596"/>
                  <a:pt x="510" y="594"/>
                </a:cubicBezTo>
                <a:cubicBezTo>
                  <a:pt x="510" y="592"/>
                  <a:pt x="511" y="591"/>
                  <a:pt x="511" y="591"/>
                </a:cubicBezTo>
                <a:cubicBezTo>
                  <a:pt x="512" y="590"/>
                  <a:pt x="512" y="590"/>
                  <a:pt x="513" y="590"/>
                </a:cubicBezTo>
                <a:cubicBezTo>
                  <a:pt x="513" y="590"/>
                  <a:pt x="513" y="590"/>
                  <a:pt x="514" y="590"/>
                </a:cubicBezTo>
                <a:cubicBezTo>
                  <a:pt x="514" y="590"/>
                  <a:pt x="515" y="591"/>
                  <a:pt x="516" y="591"/>
                </a:cubicBezTo>
                <a:cubicBezTo>
                  <a:pt x="516" y="592"/>
                  <a:pt x="517" y="593"/>
                  <a:pt x="518" y="593"/>
                </a:cubicBezTo>
                <a:cubicBezTo>
                  <a:pt x="519" y="594"/>
                  <a:pt x="519" y="595"/>
                  <a:pt x="519" y="595"/>
                </a:cubicBezTo>
                <a:cubicBezTo>
                  <a:pt x="520" y="596"/>
                  <a:pt x="520" y="596"/>
                  <a:pt x="521" y="596"/>
                </a:cubicBezTo>
                <a:cubicBezTo>
                  <a:pt x="521" y="597"/>
                  <a:pt x="521" y="597"/>
                  <a:pt x="521" y="598"/>
                </a:cubicBezTo>
                <a:cubicBezTo>
                  <a:pt x="521" y="598"/>
                  <a:pt x="521" y="599"/>
                  <a:pt x="521" y="599"/>
                </a:cubicBezTo>
                <a:cubicBezTo>
                  <a:pt x="521" y="600"/>
                  <a:pt x="521" y="601"/>
                  <a:pt x="520" y="603"/>
                </a:cubicBezTo>
                <a:cubicBezTo>
                  <a:pt x="520" y="605"/>
                  <a:pt x="518" y="607"/>
                  <a:pt x="517" y="610"/>
                </a:cubicBezTo>
                <a:cubicBezTo>
                  <a:pt x="516" y="612"/>
                  <a:pt x="514" y="615"/>
                  <a:pt x="511" y="618"/>
                </a:cubicBezTo>
                <a:cubicBezTo>
                  <a:pt x="509" y="622"/>
                  <a:pt x="506" y="625"/>
                  <a:pt x="503" y="628"/>
                </a:cubicBezTo>
                <a:cubicBezTo>
                  <a:pt x="498" y="633"/>
                  <a:pt x="493" y="637"/>
                  <a:pt x="487" y="639"/>
                </a:cubicBezTo>
                <a:cubicBezTo>
                  <a:pt x="482" y="642"/>
                  <a:pt x="476" y="643"/>
                  <a:pt x="471" y="643"/>
                </a:cubicBezTo>
                <a:cubicBezTo>
                  <a:pt x="465" y="643"/>
                  <a:pt x="459" y="641"/>
                  <a:pt x="453" y="638"/>
                </a:cubicBezTo>
                <a:cubicBezTo>
                  <a:pt x="448" y="635"/>
                  <a:pt x="442" y="631"/>
                  <a:pt x="436" y="625"/>
                </a:cubicBezTo>
                <a:cubicBezTo>
                  <a:pt x="430" y="619"/>
                  <a:pt x="426" y="614"/>
                  <a:pt x="423" y="608"/>
                </a:cubicBezTo>
                <a:cubicBezTo>
                  <a:pt x="420" y="602"/>
                  <a:pt x="418" y="596"/>
                  <a:pt x="418" y="590"/>
                </a:cubicBezTo>
                <a:cubicBezTo>
                  <a:pt x="418" y="584"/>
                  <a:pt x="419" y="579"/>
                  <a:pt x="421" y="573"/>
                </a:cubicBezTo>
                <a:cubicBezTo>
                  <a:pt x="423" y="568"/>
                  <a:pt x="426" y="563"/>
                  <a:pt x="431" y="558"/>
                </a:cubicBezTo>
                <a:cubicBezTo>
                  <a:pt x="436" y="553"/>
                  <a:pt x="441" y="549"/>
                  <a:pt x="447" y="547"/>
                </a:cubicBezTo>
                <a:cubicBezTo>
                  <a:pt x="452" y="545"/>
                  <a:pt x="457" y="545"/>
                  <a:pt x="462" y="545"/>
                </a:cubicBezTo>
                <a:cubicBezTo>
                  <a:pt x="467" y="546"/>
                  <a:pt x="472" y="547"/>
                  <a:pt x="477" y="550"/>
                </a:cubicBezTo>
                <a:cubicBezTo>
                  <a:pt x="481" y="552"/>
                  <a:pt x="486" y="556"/>
                  <a:pt x="490" y="560"/>
                </a:cubicBezTo>
                <a:lnTo>
                  <a:pt x="492" y="562"/>
                </a:lnTo>
                <a:close/>
                <a:moveTo>
                  <a:pt x="477" y="571"/>
                </a:moveTo>
                <a:cubicBezTo>
                  <a:pt x="471" y="564"/>
                  <a:pt x="464" y="561"/>
                  <a:pt x="458" y="560"/>
                </a:cubicBezTo>
                <a:cubicBezTo>
                  <a:pt x="452" y="560"/>
                  <a:pt x="445" y="562"/>
                  <a:pt x="440" y="568"/>
                </a:cubicBezTo>
                <a:cubicBezTo>
                  <a:pt x="437" y="571"/>
                  <a:pt x="435" y="574"/>
                  <a:pt x="434" y="577"/>
                </a:cubicBezTo>
                <a:cubicBezTo>
                  <a:pt x="433" y="581"/>
                  <a:pt x="432" y="584"/>
                  <a:pt x="432" y="587"/>
                </a:cubicBezTo>
                <a:cubicBezTo>
                  <a:pt x="433" y="590"/>
                  <a:pt x="434" y="594"/>
                  <a:pt x="435" y="597"/>
                </a:cubicBezTo>
                <a:cubicBezTo>
                  <a:pt x="437" y="600"/>
                  <a:pt x="439" y="603"/>
                  <a:pt x="442" y="606"/>
                </a:cubicBezTo>
                <a:lnTo>
                  <a:pt x="477" y="571"/>
                </a:lnTo>
                <a:close/>
                <a:moveTo>
                  <a:pt x="612" y="464"/>
                </a:moveTo>
                <a:cubicBezTo>
                  <a:pt x="617" y="468"/>
                  <a:pt x="620" y="473"/>
                  <a:pt x="622" y="478"/>
                </a:cubicBezTo>
                <a:cubicBezTo>
                  <a:pt x="623" y="483"/>
                  <a:pt x="624" y="488"/>
                  <a:pt x="624" y="493"/>
                </a:cubicBezTo>
                <a:cubicBezTo>
                  <a:pt x="623" y="498"/>
                  <a:pt x="622" y="504"/>
                  <a:pt x="619" y="509"/>
                </a:cubicBezTo>
                <a:cubicBezTo>
                  <a:pt x="616" y="514"/>
                  <a:pt x="613" y="518"/>
                  <a:pt x="608" y="523"/>
                </a:cubicBezTo>
                <a:cubicBezTo>
                  <a:pt x="605" y="526"/>
                  <a:pt x="602" y="529"/>
                  <a:pt x="599" y="531"/>
                </a:cubicBezTo>
                <a:cubicBezTo>
                  <a:pt x="596" y="533"/>
                  <a:pt x="593" y="535"/>
                  <a:pt x="590" y="536"/>
                </a:cubicBezTo>
                <a:cubicBezTo>
                  <a:pt x="587" y="537"/>
                  <a:pt x="584" y="538"/>
                  <a:pt x="582" y="539"/>
                </a:cubicBezTo>
                <a:cubicBezTo>
                  <a:pt x="580" y="539"/>
                  <a:pt x="578" y="540"/>
                  <a:pt x="577" y="540"/>
                </a:cubicBezTo>
                <a:cubicBezTo>
                  <a:pt x="576" y="540"/>
                  <a:pt x="575" y="539"/>
                  <a:pt x="574" y="539"/>
                </a:cubicBezTo>
                <a:cubicBezTo>
                  <a:pt x="573" y="538"/>
                  <a:pt x="571" y="537"/>
                  <a:pt x="570" y="536"/>
                </a:cubicBezTo>
                <a:cubicBezTo>
                  <a:pt x="569" y="534"/>
                  <a:pt x="568" y="534"/>
                  <a:pt x="567" y="533"/>
                </a:cubicBezTo>
                <a:cubicBezTo>
                  <a:pt x="567" y="532"/>
                  <a:pt x="566" y="531"/>
                  <a:pt x="566" y="531"/>
                </a:cubicBezTo>
                <a:cubicBezTo>
                  <a:pt x="566" y="530"/>
                  <a:pt x="566" y="529"/>
                  <a:pt x="566" y="529"/>
                </a:cubicBezTo>
                <a:cubicBezTo>
                  <a:pt x="566" y="529"/>
                  <a:pt x="566" y="528"/>
                  <a:pt x="567" y="528"/>
                </a:cubicBezTo>
                <a:cubicBezTo>
                  <a:pt x="567" y="527"/>
                  <a:pt x="569" y="527"/>
                  <a:pt x="571" y="526"/>
                </a:cubicBezTo>
                <a:cubicBezTo>
                  <a:pt x="573" y="526"/>
                  <a:pt x="575" y="525"/>
                  <a:pt x="578" y="524"/>
                </a:cubicBezTo>
                <a:cubicBezTo>
                  <a:pt x="581" y="523"/>
                  <a:pt x="584" y="522"/>
                  <a:pt x="588" y="520"/>
                </a:cubicBezTo>
                <a:cubicBezTo>
                  <a:pt x="591" y="518"/>
                  <a:pt x="595" y="515"/>
                  <a:pt x="598" y="512"/>
                </a:cubicBezTo>
                <a:cubicBezTo>
                  <a:pt x="601" y="509"/>
                  <a:pt x="603" y="506"/>
                  <a:pt x="605" y="503"/>
                </a:cubicBezTo>
                <a:cubicBezTo>
                  <a:pt x="606" y="500"/>
                  <a:pt x="607" y="497"/>
                  <a:pt x="607" y="495"/>
                </a:cubicBezTo>
                <a:cubicBezTo>
                  <a:pt x="608" y="492"/>
                  <a:pt x="607" y="489"/>
                  <a:pt x="606" y="486"/>
                </a:cubicBezTo>
                <a:cubicBezTo>
                  <a:pt x="605" y="483"/>
                  <a:pt x="603" y="481"/>
                  <a:pt x="601" y="478"/>
                </a:cubicBezTo>
                <a:cubicBezTo>
                  <a:pt x="598" y="476"/>
                  <a:pt x="595" y="474"/>
                  <a:pt x="592" y="473"/>
                </a:cubicBezTo>
                <a:cubicBezTo>
                  <a:pt x="589" y="473"/>
                  <a:pt x="586" y="472"/>
                  <a:pt x="583" y="473"/>
                </a:cubicBezTo>
                <a:cubicBezTo>
                  <a:pt x="579" y="474"/>
                  <a:pt x="576" y="475"/>
                  <a:pt x="572" y="476"/>
                </a:cubicBezTo>
                <a:cubicBezTo>
                  <a:pt x="568" y="477"/>
                  <a:pt x="565" y="479"/>
                  <a:pt x="561" y="480"/>
                </a:cubicBezTo>
                <a:cubicBezTo>
                  <a:pt x="557" y="481"/>
                  <a:pt x="553" y="483"/>
                  <a:pt x="549" y="484"/>
                </a:cubicBezTo>
                <a:cubicBezTo>
                  <a:pt x="545" y="485"/>
                  <a:pt x="541" y="485"/>
                  <a:pt x="537" y="485"/>
                </a:cubicBezTo>
                <a:cubicBezTo>
                  <a:pt x="533" y="485"/>
                  <a:pt x="529" y="484"/>
                  <a:pt x="525" y="483"/>
                </a:cubicBezTo>
                <a:cubicBezTo>
                  <a:pt x="521" y="481"/>
                  <a:pt x="517" y="479"/>
                  <a:pt x="514" y="475"/>
                </a:cubicBezTo>
                <a:cubicBezTo>
                  <a:pt x="510" y="471"/>
                  <a:pt x="507" y="467"/>
                  <a:pt x="505" y="462"/>
                </a:cubicBezTo>
                <a:cubicBezTo>
                  <a:pt x="504" y="458"/>
                  <a:pt x="503" y="453"/>
                  <a:pt x="504" y="449"/>
                </a:cubicBezTo>
                <a:cubicBezTo>
                  <a:pt x="504" y="444"/>
                  <a:pt x="506" y="440"/>
                  <a:pt x="508" y="435"/>
                </a:cubicBezTo>
                <a:cubicBezTo>
                  <a:pt x="510" y="431"/>
                  <a:pt x="514" y="426"/>
                  <a:pt x="518" y="422"/>
                </a:cubicBezTo>
                <a:cubicBezTo>
                  <a:pt x="520" y="420"/>
                  <a:pt x="522" y="418"/>
                  <a:pt x="524" y="417"/>
                </a:cubicBezTo>
                <a:cubicBezTo>
                  <a:pt x="527" y="415"/>
                  <a:pt x="529" y="413"/>
                  <a:pt x="532" y="412"/>
                </a:cubicBezTo>
                <a:cubicBezTo>
                  <a:pt x="534" y="411"/>
                  <a:pt x="536" y="410"/>
                  <a:pt x="539" y="409"/>
                </a:cubicBezTo>
                <a:cubicBezTo>
                  <a:pt x="541" y="409"/>
                  <a:pt x="542" y="408"/>
                  <a:pt x="543" y="408"/>
                </a:cubicBezTo>
                <a:cubicBezTo>
                  <a:pt x="544" y="408"/>
                  <a:pt x="545" y="408"/>
                  <a:pt x="545" y="408"/>
                </a:cubicBezTo>
                <a:cubicBezTo>
                  <a:pt x="546" y="408"/>
                  <a:pt x="546" y="409"/>
                  <a:pt x="547" y="409"/>
                </a:cubicBezTo>
                <a:cubicBezTo>
                  <a:pt x="547" y="409"/>
                  <a:pt x="548" y="410"/>
                  <a:pt x="548" y="410"/>
                </a:cubicBezTo>
                <a:cubicBezTo>
                  <a:pt x="549" y="411"/>
                  <a:pt x="550" y="412"/>
                  <a:pt x="550" y="412"/>
                </a:cubicBezTo>
                <a:cubicBezTo>
                  <a:pt x="551" y="413"/>
                  <a:pt x="552" y="414"/>
                  <a:pt x="553" y="415"/>
                </a:cubicBezTo>
                <a:cubicBezTo>
                  <a:pt x="553" y="416"/>
                  <a:pt x="554" y="416"/>
                  <a:pt x="554" y="417"/>
                </a:cubicBezTo>
                <a:cubicBezTo>
                  <a:pt x="554" y="417"/>
                  <a:pt x="554" y="418"/>
                  <a:pt x="554" y="418"/>
                </a:cubicBezTo>
                <a:cubicBezTo>
                  <a:pt x="554" y="419"/>
                  <a:pt x="554" y="419"/>
                  <a:pt x="554" y="420"/>
                </a:cubicBezTo>
                <a:cubicBezTo>
                  <a:pt x="553" y="420"/>
                  <a:pt x="552" y="421"/>
                  <a:pt x="550" y="421"/>
                </a:cubicBezTo>
                <a:cubicBezTo>
                  <a:pt x="549" y="422"/>
                  <a:pt x="546" y="422"/>
                  <a:pt x="544" y="423"/>
                </a:cubicBezTo>
                <a:cubicBezTo>
                  <a:pt x="542" y="424"/>
                  <a:pt x="539" y="425"/>
                  <a:pt x="536" y="427"/>
                </a:cubicBezTo>
                <a:cubicBezTo>
                  <a:pt x="533" y="428"/>
                  <a:pt x="530" y="430"/>
                  <a:pt x="527" y="433"/>
                </a:cubicBezTo>
                <a:cubicBezTo>
                  <a:pt x="525" y="436"/>
                  <a:pt x="523" y="438"/>
                  <a:pt x="522" y="441"/>
                </a:cubicBezTo>
                <a:cubicBezTo>
                  <a:pt x="520" y="443"/>
                  <a:pt x="520" y="446"/>
                  <a:pt x="520" y="448"/>
                </a:cubicBezTo>
                <a:cubicBezTo>
                  <a:pt x="520" y="451"/>
                  <a:pt x="520" y="453"/>
                  <a:pt x="521" y="455"/>
                </a:cubicBezTo>
                <a:cubicBezTo>
                  <a:pt x="522" y="457"/>
                  <a:pt x="523" y="459"/>
                  <a:pt x="525" y="461"/>
                </a:cubicBezTo>
                <a:cubicBezTo>
                  <a:pt x="528" y="464"/>
                  <a:pt x="530" y="465"/>
                  <a:pt x="534" y="466"/>
                </a:cubicBezTo>
                <a:cubicBezTo>
                  <a:pt x="537" y="467"/>
                  <a:pt x="540" y="467"/>
                  <a:pt x="543" y="466"/>
                </a:cubicBezTo>
                <a:cubicBezTo>
                  <a:pt x="547" y="466"/>
                  <a:pt x="550" y="465"/>
                  <a:pt x="554" y="463"/>
                </a:cubicBezTo>
                <a:cubicBezTo>
                  <a:pt x="558" y="462"/>
                  <a:pt x="562" y="461"/>
                  <a:pt x="565" y="459"/>
                </a:cubicBezTo>
                <a:cubicBezTo>
                  <a:pt x="569" y="458"/>
                  <a:pt x="573" y="457"/>
                  <a:pt x="577" y="455"/>
                </a:cubicBezTo>
                <a:cubicBezTo>
                  <a:pt x="581" y="454"/>
                  <a:pt x="585" y="454"/>
                  <a:pt x="589" y="454"/>
                </a:cubicBezTo>
                <a:cubicBezTo>
                  <a:pt x="593" y="454"/>
                  <a:pt x="597" y="455"/>
                  <a:pt x="601" y="456"/>
                </a:cubicBezTo>
                <a:cubicBezTo>
                  <a:pt x="605" y="458"/>
                  <a:pt x="609" y="460"/>
                  <a:pt x="612" y="464"/>
                </a:cubicBezTo>
                <a:close/>
                <a:moveTo>
                  <a:pt x="709" y="416"/>
                </a:moveTo>
                <a:cubicBezTo>
                  <a:pt x="709" y="417"/>
                  <a:pt x="709" y="417"/>
                  <a:pt x="709" y="417"/>
                </a:cubicBezTo>
                <a:cubicBezTo>
                  <a:pt x="709" y="418"/>
                  <a:pt x="709" y="418"/>
                  <a:pt x="709" y="419"/>
                </a:cubicBezTo>
                <a:cubicBezTo>
                  <a:pt x="709" y="420"/>
                  <a:pt x="708" y="420"/>
                  <a:pt x="708" y="421"/>
                </a:cubicBezTo>
                <a:cubicBezTo>
                  <a:pt x="707" y="422"/>
                  <a:pt x="706" y="423"/>
                  <a:pt x="705" y="424"/>
                </a:cubicBezTo>
                <a:cubicBezTo>
                  <a:pt x="704" y="425"/>
                  <a:pt x="703" y="426"/>
                  <a:pt x="703" y="426"/>
                </a:cubicBezTo>
                <a:cubicBezTo>
                  <a:pt x="702" y="427"/>
                  <a:pt x="701" y="427"/>
                  <a:pt x="701" y="428"/>
                </a:cubicBezTo>
                <a:cubicBezTo>
                  <a:pt x="700" y="428"/>
                  <a:pt x="699" y="428"/>
                  <a:pt x="699" y="428"/>
                </a:cubicBezTo>
                <a:cubicBezTo>
                  <a:pt x="699" y="428"/>
                  <a:pt x="698" y="427"/>
                  <a:pt x="698" y="427"/>
                </a:cubicBezTo>
                <a:lnTo>
                  <a:pt x="689" y="418"/>
                </a:lnTo>
                <a:cubicBezTo>
                  <a:pt x="690" y="426"/>
                  <a:pt x="689" y="433"/>
                  <a:pt x="687" y="438"/>
                </a:cubicBezTo>
                <a:cubicBezTo>
                  <a:pt x="686" y="444"/>
                  <a:pt x="683" y="448"/>
                  <a:pt x="679" y="452"/>
                </a:cubicBezTo>
                <a:cubicBezTo>
                  <a:pt x="675" y="456"/>
                  <a:pt x="671" y="459"/>
                  <a:pt x="666" y="461"/>
                </a:cubicBezTo>
                <a:cubicBezTo>
                  <a:pt x="662" y="462"/>
                  <a:pt x="657" y="463"/>
                  <a:pt x="653" y="462"/>
                </a:cubicBezTo>
                <a:cubicBezTo>
                  <a:pt x="649" y="461"/>
                  <a:pt x="645" y="460"/>
                  <a:pt x="641" y="457"/>
                </a:cubicBezTo>
                <a:cubicBezTo>
                  <a:pt x="637" y="455"/>
                  <a:pt x="632" y="451"/>
                  <a:pt x="627" y="446"/>
                </a:cubicBezTo>
                <a:lnTo>
                  <a:pt x="588" y="407"/>
                </a:lnTo>
                <a:cubicBezTo>
                  <a:pt x="588" y="407"/>
                  <a:pt x="588" y="406"/>
                  <a:pt x="588" y="406"/>
                </a:cubicBezTo>
                <a:cubicBezTo>
                  <a:pt x="587" y="406"/>
                  <a:pt x="588" y="405"/>
                  <a:pt x="588" y="404"/>
                </a:cubicBezTo>
                <a:cubicBezTo>
                  <a:pt x="588" y="404"/>
                  <a:pt x="589" y="403"/>
                  <a:pt x="589" y="402"/>
                </a:cubicBezTo>
                <a:cubicBezTo>
                  <a:pt x="590" y="401"/>
                  <a:pt x="591" y="400"/>
                  <a:pt x="592" y="399"/>
                </a:cubicBezTo>
                <a:cubicBezTo>
                  <a:pt x="593" y="398"/>
                  <a:pt x="594" y="397"/>
                  <a:pt x="595" y="396"/>
                </a:cubicBezTo>
                <a:cubicBezTo>
                  <a:pt x="596" y="396"/>
                  <a:pt x="597" y="395"/>
                  <a:pt x="597" y="395"/>
                </a:cubicBezTo>
                <a:cubicBezTo>
                  <a:pt x="598" y="395"/>
                  <a:pt x="598" y="395"/>
                  <a:pt x="599" y="395"/>
                </a:cubicBezTo>
                <a:cubicBezTo>
                  <a:pt x="599" y="395"/>
                  <a:pt x="600" y="395"/>
                  <a:pt x="600" y="395"/>
                </a:cubicBezTo>
                <a:lnTo>
                  <a:pt x="638" y="433"/>
                </a:lnTo>
                <a:cubicBezTo>
                  <a:pt x="642" y="437"/>
                  <a:pt x="645" y="439"/>
                  <a:pt x="648" y="441"/>
                </a:cubicBezTo>
                <a:cubicBezTo>
                  <a:pt x="651" y="443"/>
                  <a:pt x="653" y="444"/>
                  <a:pt x="656" y="445"/>
                </a:cubicBezTo>
                <a:cubicBezTo>
                  <a:pt x="659" y="445"/>
                  <a:pt x="661" y="445"/>
                  <a:pt x="664" y="444"/>
                </a:cubicBezTo>
                <a:cubicBezTo>
                  <a:pt x="667" y="443"/>
                  <a:pt x="669" y="442"/>
                  <a:pt x="671" y="439"/>
                </a:cubicBezTo>
                <a:cubicBezTo>
                  <a:pt x="674" y="436"/>
                  <a:pt x="676" y="432"/>
                  <a:pt x="677" y="427"/>
                </a:cubicBezTo>
                <a:cubicBezTo>
                  <a:pt x="678" y="422"/>
                  <a:pt x="678" y="416"/>
                  <a:pt x="677" y="409"/>
                </a:cubicBezTo>
                <a:lnTo>
                  <a:pt x="632" y="363"/>
                </a:lnTo>
                <a:cubicBezTo>
                  <a:pt x="632" y="363"/>
                  <a:pt x="631" y="363"/>
                  <a:pt x="631" y="362"/>
                </a:cubicBezTo>
                <a:cubicBezTo>
                  <a:pt x="631" y="362"/>
                  <a:pt x="631" y="361"/>
                  <a:pt x="632" y="361"/>
                </a:cubicBezTo>
                <a:cubicBezTo>
                  <a:pt x="632" y="360"/>
                  <a:pt x="632" y="359"/>
                  <a:pt x="633" y="358"/>
                </a:cubicBezTo>
                <a:cubicBezTo>
                  <a:pt x="634" y="357"/>
                  <a:pt x="635" y="356"/>
                  <a:pt x="636" y="355"/>
                </a:cubicBezTo>
                <a:cubicBezTo>
                  <a:pt x="637" y="354"/>
                  <a:pt x="638" y="353"/>
                  <a:pt x="639" y="352"/>
                </a:cubicBezTo>
                <a:cubicBezTo>
                  <a:pt x="640" y="352"/>
                  <a:pt x="640" y="351"/>
                  <a:pt x="641" y="351"/>
                </a:cubicBezTo>
                <a:cubicBezTo>
                  <a:pt x="642" y="351"/>
                  <a:pt x="642" y="351"/>
                  <a:pt x="643" y="351"/>
                </a:cubicBezTo>
                <a:cubicBezTo>
                  <a:pt x="643" y="351"/>
                  <a:pt x="644" y="351"/>
                  <a:pt x="644" y="352"/>
                </a:cubicBezTo>
                <a:lnTo>
                  <a:pt x="709" y="416"/>
                </a:lnTo>
                <a:close/>
                <a:moveTo>
                  <a:pt x="759" y="300"/>
                </a:moveTo>
                <a:cubicBezTo>
                  <a:pt x="764" y="305"/>
                  <a:pt x="769" y="311"/>
                  <a:pt x="772" y="317"/>
                </a:cubicBezTo>
                <a:cubicBezTo>
                  <a:pt x="775" y="322"/>
                  <a:pt x="777" y="328"/>
                  <a:pt x="778" y="333"/>
                </a:cubicBezTo>
                <a:cubicBezTo>
                  <a:pt x="779" y="339"/>
                  <a:pt x="778" y="344"/>
                  <a:pt x="777" y="349"/>
                </a:cubicBezTo>
                <a:cubicBezTo>
                  <a:pt x="775" y="355"/>
                  <a:pt x="772" y="360"/>
                  <a:pt x="767" y="364"/>
                </a:cubicBezTo>
                <a:cubicBezTo>
                  <a:pt x="765" y="366"/>
                  <a:pt x="763" y="368"/>
                  <a:pt x="761" y="369"/>
                </a:cubicBezTo>
                <a:cubicBezTo>
                  <a:pt x="759" y="370"/>
                  <a:pt x="757" y="371"/>
                  <a:pt x="755" y="372"/>
                </a:cubicBezTo>
                <a:cubicBezTo>
                  <a:pt x="752" y="372"/>
                  <a:pt x="750" y="373"/>
                  <a:pt x="747" y="373"/>
                </a:cubicBezTo>
                <a:cubicBezTo>
                  <a:pt x="744" y="374"/>
                  <a:pt x="741" y="374"/>
                  <a:pt x="738" y="374"/>
                </a:cubicBezTo>
                <a:lnTo>
                  <a:pt x="770" y="406"/>
                </a:lnTo>
                <a:cubicBezTo>
                  <a:pt x="770" y="406"/>
                  <a:pt x="771" y="407"/>
                  <a:pt x="771" y="407"/>
                </a:cubicBezTo>
                <a:cubicBezTo>
                  <a:pt x="771" y="408"/>
                  <a:pt x="771" y="408"/>
                  <a:pt x="770" y="409"/>
                </a:cubicBezTo>
                <a:cubicBezTo>
                  <a:pt x="770" y="410"/>
                  <a:pt x="770" y="410"/>
                  <a:pt x="769" y="411"/>
                </a:cubicBezTo>
                <a:cubicBezTo>
                  <a:pt x="768" y="412"/>
                  <a:pt x="767" y="413"/>
                  <a:pt x="766" y="414"/>
                </a:cubicBezTo>
                <a:cubicBezTo>
                  <a:pt x="765" y="416"/>
                  <a:pt x="764" y="416"/>
                  <a:pt x="763" y="417"/>
                </a:cubicBezTo>
                <a:cubicBezTo>
                  <a:pt x="762" y="418"/>
                  <a:pt x="762" y="418"/>
                  <a:pt x="761" y="419"/>
                </a:cubicBezTo>
                <a:cubicBezTo>
                  <a:pt x="760" y="419"/>
                  <a:pt x="760" y="419"/>
                  <a:pt x="759" y="419"/>
                </a:cubicBezTo>
                <a:cubicBezTo>
                  <a:pt x="759" y="419"/>
                  <a:pt x="758" y="418"/>
                  <a:pt x="758" y="418"/>
                </a:cubicBezTo>
                <a:lnTo>
                  <a:pt x="668" y="328"/>
                </a:lnTo>
                <a:cubicBezTo>
                  <a:pt x="667" y="327"/>
                  <a:pt x="667" y="327"/>
                  <a:pt x="667" y="326"/>
                </a:cubicBezTo>
                <a:cubicBezTo>
                  <a:pt x="667" y="326"/>
                  <a:pt x="667" y="326"/>
                  <a:pt x="667" y="325"/>
                </a:cubicBezTo>
                <a:cubicBezTo>
                  <a:pt x="667" y="324"/>
                  <a:pt x="668" y="324"/>
                  <a:pt x="668" y="323"/>
                </a:cubicBezTo>
                <a:cubicBezTo>
                  <a:pt x="669" y="322"/>
                  <a:pt x="670" y="321"/>
                  <a:pt x="671" y="320"/>
                </a:cubicBezTo>
                <a:cubicBezTo>
                  <a:pt x="672" y="319"/>
                  <a:pt x="673" y="318"/>
                  <a:pt x="673" y="318"/>
                </a:cubicBezTo>
                <a:cubicBezTo>
                  <a:pt x="674" y="317"/>
                  <a:pt x="675" y="317"/>
                  <a:pt x="675" y="317"/>
                </a:cubicBezTo>
                <a:cubicBezTo>
                  <a:pt x="676" y="316"/>
                  <a:pt x="677" y="316"/>
                  <a:pt x="677" y="316"/>
                </a:cubicBezTo>
                <a:cubicBezTo>
                  <a:pt x="677" y="317"/>
                  <a:pt x="678" y="317"/>
                  <a:pt x="678" y="317"/>
                </a:cubicBezTo>
                <a:lnTo>
                  <a:pt x="687" y="326"/>
                </a:lnTo>
                <a:cubicBezTo>
                  <a:pt x="687" y="322"/>
                  <a:pt x="687" y="318"/>
                  <a:pt x="687" y="315"/>
                </a:cubicBezTo>
                <a:cubicBezTo>
                  <a:pt x="688" y="312"/>
                  <a:pt x="688" y="309"/>
                  <a:pt x="689" y="306"/>
                </a:cubicBezTo>
                <a:cubicBezTo>
                  <a:pt x="690" y="303"/>
                  <a:pt x="691" y="300"/>
                  <a:pt x="693" y="298"/>
                </a:cubicBezTo>
                <a:cubicBezTo>
                  <a:pt x="694" y="296"/>
                  <a:pt x="696" y="293"/>
                  <a:pt x="698" y="291"/>
                </a:cubicBezTo>
                <a:cubicBezTo>
                  <a:pt x="703" y="286"/>
                  <a:pt x="708" y="283"/>
                  <a:pt x="713" y="282"/>
                </a:cubicBezTo>
                <a:cubicBezTo>
                  <a:pt x="718" y="280"/>
                  <a:pt x="723" y="280"/>
                  <a:pt x="728" y="281"/>
                </a:cubicBezTo>
                <a:cubicBezTo>
                  <a:pt x="734" y="282"/>
                  <a:pt x="739" y="284"/>
                  <a:pt x="744" y="288"/>
                </a:cubicBezTo>
                <a:cubicBezTo>
                  <a:pt x="749" y="291"/>
                  <a:pt x="754" y="295"/>
                  <a:pt x="759" y="300"/>
                </a:cubicBezTo>
                <a:close/>
                <a:moveTo>
                  <a:pt x="748" y="313"/>
                </a:moveTo>
                <a:cubicBezTo>
                  <a:pt x="744" y="310"/>
                  <a:pt x="741" y="307"/>
                  <a:pt x="737" y="304"/>
                </a:cubicBezTo>
                <a:cubicBezTo>
                  <a:pt x="734" y="302"/>
                  <a:pt x="730" y="300"/>
                  <a:pt x="727" y="299"/>
                </a:cubicBezTo>
                <a:cubicBezTo>
                  <a:pt x="723" y="298"/>
                  <a:pt x="719" y="297"/>
                  <a:pt x="716" y="298"/>
                </a:cubicBezTo>
                <a:cubicBezTo>
                  <a:pt x="712" y="299"/>
                  <a:pt x="709" y="300"/>
                  <a:pt x="706" y="304"/>
                </a:cubicBezTo>
                <a:cubicBezTo>
                  <a:pt x="704" y="305"/>
                  <a:pt x="703" y="307"/>
                  <a:pt x="702" y="309"/>
                </a:cubicBezTo>
                <a:cubicBezTo>
                  <a:pt x="701" y="311"/>
                  <a:pt x="700" y="313"/>
                  <a:pt x="700" y="315"/>
                </a:cubicBezTo>
                <a:cubicBezTo>
                  <a:pt x="699" y="318"/>
                  <a:pt x="699" y="321"/>
                  <a:pt x="699" y="324"/>
                </a:cubicBezTo>
                <a:cubicBezTo>
                  <a:pt x="699" y="327"/>
                  <a:pt x="699" y="331"/>
                  <a:pt x="699" y="335"/>
                </a:cubicBezTo>
                <a:lnTo>
                  <a:pt x="725" y="361"/>
                </a:lnTo>
                <a:cubicBezTo>
                  <a:pt x="732" y="362"/>
                  <a:pt x="738" y="362"/>
                  <a:pt x="743" y="361"/>
                </a:cubicBezTo>
                <a:cubicBezTo>
                  <a:pt x="748" y="360"/>
                  <a:pt x="753" y="358"/>
                  <a:pt x="756" y="355"/>
                </a:cubicBezTo>
                <a:cubicBezTo>
                  <a:pt x="759" y="352"/>
                  <a:pt x="761" y="349"/>
                  <a:pt x="761" y="345"/>
                </a:cubicBezTo>
                <a:cubicBezTo>
                  <a:pt x="762" y="341"/>
                  <a:pt x="762" y="338"/>
                  <a:pt x="761" y="334"/>
                </a:cubicBezTo>
                <a:cubicBezTo>
                  <a:pt x="760" y="330"/>
                  <a:pt x="758" y="327"/>
                  <a:pt x="756" y="323"/>
                </a:cubicBezTo>
                <a:cubicBezTo>
                  <a:pt x="753" y="320"/>
                  <a:pt x="751" y="316"/>
                  <a:pt x="748" y="313"/>
                </a:cubicBezTo>
                <a:close/>
                <a:moveTo>
                  <a:pt x="838" y="220"/>
                </a:moveTo>
                <a:cubicBezTo>
                  <a:pt x="843" y="226"/>
                  <a:pt x="848" y="232"/>
                  <a:pt x="851" y="237"/>
                </a:cubicBezTo>
                <a:cubicBezTo>
                  <a:pt x="854" y="243"/>
                  <a:pt x="857" y="249"/>
                  <a:pt x="857" y="254"/>
                </a:cubicBezTo>
                <a:cubicBezTo>
                  <a:pt x="858" y="260"/>
                  <a:pt x="858" y="265"/>
                  <a:pt x="856" y="270"/>
                </a:cubicBezTo>
                <a:cubicBezTo>
                  <a:pt x="854" y="275"/>
                  <a:pt x="851" y="280"/>
                  <a:pt x="846" y="285"/>
                </a:cubicBezTo>
                <a:cubicBezTo>
                  <a:pt x="844" y="287"/>
                  <a:pt x="842" y="288"/>
                  <a:pt x="840" y="290"/>
                </a:cubicBezTo>
                <a:cubicBezTo>
                  <a:pt x="838" y="291"/>
                  <a:pt x="836" y="292"/>
                  <a:pt x="834" y="293"/>
                </a:cubicBezTo>
                <a:cubicBezTo>
                  <a:pt x="831" y="293"/>
                  <a:pt x="829" y="294"/>
                  <a:pt x="826" y="294"/>
                </a:cubicBezTo>
                <a:cubicBezTo>
                  <a:pt x="823" y="294"/>
                  <a:pt x="820" y="295"/>
                  <a:pt x="817" y="295"/>
                </a:cubicBezTo>
                <a:lnTo>
                  <a:pt x="849" y="327"/>
                </a:lnTo>
                <a:cubicBezTo>
                  <a:pt x="850" y="327"/>
                  <a:pt x="850" y="328"/>
                  <a:pt x="850" y="328"/>
                </a:cubicBezTo>
                <a:cubicBezTo>
                  <a:pt x="850" y="329"/>
                  <a:pt x="850" y="329"/>
                  <a:pt x="850" y="330"/>
                </a:cubicBezTo>
                <a:cubicBezTo>
                  <a:pt x="849" y="330"/>
                  <a:pt x="849" y="331"/>
                  <a:pt x="848" y="332"/>
                </a:cubicBezTo>
                <a:cubicBezTo>
                  <a:pt x="848" y="333"/>
                  <a:pt x="847" y="334"/>
                  <a:pt x="845" y="335"/>
                </a:cubicBezTo>
                <a:cubicBezTo>
                  <a:pt x="844" y="336"/>
                  <a:pt x="843" y="337"/>
                  <a:pt x="842" y="338"/>
                </a:cubicBezTo>
                <a:cubicBezTo>
                  <a:pt x="842" y="339"/>
                  <a:pt x="841" y="339"/>
                  <a:pt x="840" y="339"/>
                </a:cubicBezTo>
                <a:cubicBezTo>
                  <a:pt x="840" y="340"/>
                  <a:pt x="839" y="340"/>
                  <a:pt x="839" y="340"/>
                </a:cubicBezTo>
                <a:cubicBezTo>
                  <a:pt x="838" y="339"/>
                  <a:pt x="838" y="339"/>
                  <a:pt x="837" y="339"/>
                </a:cubicBezTo>
                <a:lnTo>
                  <a:pt x="747" y="248"/>
                </a:lnTo>
                <a:cubicBezTo>
                  <a:pt x="747" y="248"/>
                  <a:pt x="746" y="248"/>
                  <a:pt x="746" y="247"/>
                </a:cubicBezTo>
                <a:cubicBezTo>
                  <a:pt x="746" y="247"/>
                  <a:pt x="746" y="246"/>
                  <a:pt x="746" y="246"/>
                </a:cubicBezTo>
                <a:cubicBezTo>
                  <a:pt x="747" y="245"/>
                  <a:pt x="747" y="244"/>
                  <a:pt x="748" y="244"/>
                </a:cubicBezTo>
                <a:cubicBezTo>
                  <a:pt x="748" y="243"/>
                  <a:pt x="749" y="242"/>
                  <a:pt x="750" y="241"/>
                </a:cubicBezTo>
                <a:cubicBezTo>
                  <a:pt x="751" y="240"/>
                  <a:pt x="752" y="239"/>
                  <a:pt x="753" y="239"/>
                </a:cubicBezTo>
                <a:cubicBezTo>
                  <a:pt x="753" y="238"/>
                  <a:pt x="754" y="238"/>
                  <a:pt x="755" y="238"/>
                </a:cubicBezTo>
                <a:cubicBezTo>
                  <a:pt x="755" y="237"/>
                  <a:pt x="756" y="237"/>
                  <a:pt x="756" y="237"/>
                </a:cubicBezTo>
                <a:cubicBezTo>
                  <a:pt x="757" y="237"/>
                  <a:pt x="757" y="238"/>
                  <a:pt x="757" y="238"/>
                </a:cubicBezTo>
                <a:lnTo>
                  <a:pt x="766" y="247"/>
                </a:lnTo>
                <a:cubicBezTo>
                  <a:pt x="766" y="243"/>
                  <a:pt x="766" y="239"/>
                  <a:pt x="767" y="236"/>
                </a:cubicBezTo>
                <a:cubicBezTo>
                  <a:pt x="767" y="233"/>
                  <a:pt x="767" y="229"/>
                  <a:pt x="768" y="227"/>
                </a:cubicBezTo>
                <a:cubicBezTo>
                  <a:pt x="769" y="224"/>
                  <a:pt x="770" y="221"/>
                  <a:pt x="772" y="219"/>
                </a:cubicBezTo>
                <a:cubicBezTo>
                  <a:pt x="773" y="216"/>
                  <a:pt x="775" y="214"/>
                  <a:pt x="777" y="212"/>
                </a:cubicBezTo>
                <a:cubicBezTo>
                  <a:pt x="782" y="207"/>
                  <a:pt x="787" y="204"/>
                  <a:pt x="792" y="203"/>
                </a:cubicBezTo>
                <a:cubicBezTo>
                  <a:pt x="797" y="201"/>
                  <a:pt x="802" y="201"/>
                  <a:pt x="807" y="202"/>
                </a:cubicBezTo>
                <a:cubicBezTo>
                  <a:pt x="813" y="203"/>
                  <a:pt x="818" y="205"/>
                  <a:pt x="823" y="208"/>
                </a:cubicBezTo>
                <a:cubicBezTo>
                  <a:pt x="828" y="212"/>
                  <a:pt x="833" y="216"/>
                  <a:pt x="838" y="220"/>
                </a:cubicBezTo>
                <a:close/>
                <a:moveTo>
                  <a:pt x="827" y="234"/>
                </a:moveTo>
                <a:cubicBezTo>
                  <a:pt x="824" y="231"/>
                  <a:pt x="820" y="228"/>
                  <a:pt x="817" y="225"/>
                </a:cubicBezTo>
                <a:cubicBezTo>
                  <a:pt x="813" y="223"/>
                  <a:pt x="809" y="221"/>
                  <a:pt x="806" y="220"/>
                </a:cubicBezTo>
                <a:cubicBezTo>
                  <a:pt x="802" y="218"/>
                  <a:pt x="799" y="218"/>
                  <a:pt x="795" y="219"/>
                </a:cubicBezTo>
                <a:cubicBezTo>
                  <a:pt x="792" y="219"/>
                  <a:pt x="788" y="221"/>
                  <a:pt x="785" y="224"/>
                </a:cubicBezTo>
                <a:cubicBezTo>
                  <a:pt x="784" y="226"/>
                  <a:pt x="782" y="228"/>
                  <a:pt x="781" y="230"/>
                </a:cubicBezTo>
                <a:cubicBezTo>
                  <a:pt x="780" y="232"/>
                  <a:pt x="779" y="234"/>
                  <a:pt x="779" y="236"/>
                </a:cubicBezTo>
                <a:cubicBezTo>
                  <a:pt x="778" y="239"/>
                  <a:pt x="778" y="242"/>
                  <a:pt x="778" y="245"/>
                </a:cubicBezTo>
                <a:cubicBezTo>
                  <a:pt x="778" y="248"/>
                  <a:pt x="778" y="252"/>
                  <a:pt x="778" y="256"/>
                </a:cubicBezTo>
                <a:lnTo>
                  <a:pt x="804" y="282"/>
                </a:lnTo>
                <a:cubicBezTo>
                  <a:pt x="811" y="283"/>
                  <a:pt x="818" y="283"/>
                  <a:pt x="823" y="282"/>
                </a:cubicBezTo>
                <a:cubicBezTo>
                  <a:pt x="828" y="281"/>
                  <a:pt x="832" y="279"/>
                  <a:pt x="835" y="276"/>
                </a:cubicBezTo>
                <a:cubicBezTo>
                  <a:pt x="838" y="273"/>
                  <a:pt x="840" y="269"/>
                  <a:pt x="841" y="266"/>
                </a:cubicBezTo>
                <a:cubicBezTo>
                  <a:pt x="841" y="262"/>
                  <a:pt x="841" y="259"/>
                  <a:pt x="840" y="255"/>
                </a:cubicBezTo>
                <a:cubicBezTo>
                  <a:pt x="839" y="251"/>
                  <a:pt x="837" y="247"/>
                  <a:pt x="835" y="244"/>
                </a:cubicBezTo>
                <a:cubicBezTo>
                  <a:pt x="833" y="240"/>
                  <a:pt x="830" y="237"/>
                  <a:pt x="827" y="234"/>
                </a:cubicBezTo>
                <a:close/>
                <a:moveTo>
                  <a:pt x="918" y="141"/>
                </a:moveTo>
                <a:cubicBezTo>
                  <a:pt x="923" y="146"/>
                  <a:pt x="927" y="152"/>
                  <a:pt x="930" y="157"/>
                </a:cubicBezTo>
                <a:cubicBezTo>
                  <a:pt x="933" y="163"/>
                  <a:pt x="935" y="169"/>
                  <a:pt x="936" y="175"/>
                </a:cubicBezTo>
                <a:cubicBezTo>
                  <a:pt x="936" y="181"/>
                  <a:pt x="935" y="187"/>
                  <a:pt x="933" y="193"/>
                </a:cubicBezTo>
                <a:cubicBezTo>
                  <a:pt x="930" y="199"/>
                  <a:pt x="927" y="205"/>
                  <a:pt x="921" y="210"/>
                </a:cubicBezTo>
                <a:cubicBezTo>
                  <a:pt x="916" y="215"/>
                  <a:pt x="910" y="219"/>
                  <a:pt x="905" y="222"/>
                </a:cubicBezTo>
                <a:cubicBezTo>
                  <a:pt x="899" y="224"/>
                  <a:pt x="894" y="225"/>
                  <a:pt x="888" y="225"/>
                </a:cubicBezTo>
                <a:cubicBezTo>
                  <a:pt x="882" y="224"/>
                  <a:pt x="877" y="222"/>
                  <a:pt x="871" y="219"/>
                </a:cubicBezTo>
                <a:cubicBezTo>
                  <a:pt x="866" y="216"/>
                  <a:pt x="860" y="212"/>
                  <a:pt x="855" y="207"/>
                </a:cubicBezTo>
                <a:cubicBezTo>
                  <a:pt x="849" y="201"/>
                  <a:pt x="845" y="196"/>
                  <a:pt x="842" y="190"/>
                </a:cubicBezTo>
                <a:cubicBezTo>
                  <a:pt x="839" y="184"/>
                  <a:pt x="837" y="178"/>
                  <a:pt x="837" y="172"/>
                </a:cubicBezTo>
                <a:cubicBezTo>
                  <a:pt x="836" y="167"/>
                  <a:pt x="837" y="161"/>
                  <a:pt x="840" y="155"/>
                </a:cubicBezTo>
                <a:cubicBezTo>
                  <a:pt x="842" y="149"/>
                  <a:pt x="846" y="143"/>
                  <a:pt x="851" y="138"/>
                </a:cubicBezTo>
                <a:cubicBezTo>
                  <a:pt x="857" y="132"/>
                  <a:pt x="862" y="128"/>
                  <a:pt x="868" y="126"/>
                </a:cubicBezTo>
                <a:cubicBezTo>
                  <a:pt x="873" y="124"/>
                  <a:pt x="879" y="123"/>
                  <a:pt x="884" y="123"/>
                </a:cubicBezTo>
                <a:cubicBezTo>
                  <a:pt x="890" y="124"/>
                  <a:pt x="896" y="125"/>
                  <a:pt x="901" y="128"/>
                </a:cubicBezTo>
                <a:cubicBezTo>
                  <a:pt x="907" y="131"/>
                  <a:pt x="913" y="135"/>
                  <a:pt x="918" y="141"/>
                </a:cubicBezTo>
                <a:close/>
                <a:moveTo>
                  <a:pt x="906" y="154"/>
                </a:moveTo>
                <a:cubicBezTo>
                  <a:pt x="903" y="150"/>
                  <a:pt x="899" y="147"/>
                  <a:pt x="896" y="145"/>
                </a:cubicBezTo>
                <a:cubicBezTo>
                  <a:pt x="892" y="142"/>
                  <a:pt x="888" y="141"/>
                  <a:pt x="884" y="140"/>
                </a:cubicBezTo>
                <a:cubicBezTo>
                  <a:pt x="880" y="139"/>
                  <a:pt x="876" y="139"/>
                  <a:pt x="872" y="140"/>
                </a:cubicBezTo>
                <a:cubicBezTo>
                  <a:pt x="869" y="142"/>
                  <a:pt x="865" y="144"/>
                  <a:pt x="861" y="148"/>
                </a:cubicBezTo>
                <a:cubicBezTo>
                  <a:pt x="857" y="152"/>
                  <a:pt x="855" y="155"/>
                  <a:pt x="854" y="159"/>
                </a:cubicBezTo>
                <a:cubicBezTo>
                  <a:pt x="852" y="163"/>
                  <a:pt x="852" y="167"/>
                  <a:pt x="853" y="171"/>
                </a:cubicBezTo>
                <a:cubicBezTo>
                  <a:pt x="853" y="174"/>
                  <a:pt x="855" y="178"/>
                  <a:pt x="857" y="182"/>
                </a:cubicBezTo>
                <a:cubicBezTo>
                  <a:pt x="859" y="186"/>
                  <a:pt x="862" y="190"/>
                  <a:pt x="866" y="194"/>
                </a:cubicBezTo>
                <a:cubicBezTo>
                  <a:pt x="870" y="197"/>
                  <a:pt x="873" y="200"/>
                  <a:pt x="877" y="203"/>
                </a:cubicBezTo>
                <a:cubicBezTo>
                  <a:pt x="881" y="205"/>
                  <a:pt x="885" y="207"/>
                  <a:pt x="888" y="208"/>
                </a:cubicBezTo>
                <a:cubicBezTo>
                  <a:pt x="892" y="208"/>
                  <a:pt x="896" y="208"/>
                  <a:pt x="900" y="207"/>
                </a:cubicBezTo>
                <a:cubicBezTo>
                  <a:pt x="904" y="206"/>
                  <a:pt x="908" y="203"/>
                  <a:pt x="912" y="199"/>
                </a:cubicBezTo>
                <a:cubicBezTo>
                  <a:pt x="915" y="196"/>
                  <a:pt x="918" y="192"/>
                  <a:pt x="919" y="189"/>
                </a:cubicBezTo>
                <a:cubicBezTo>
                  <a:pt x="920" y="185"/>
                  <a:pt x="921" y="181"/>
                  <a:pt x="920" y="177"/>
                </a:cubicBezTo>
                <a:cubicBezTo>
                  <a:pt x="919" y="173"/>
                  <a:pt x="918" y="169"/>
                  <a:pt x="916" y="165"/>
                </a:cubicBezTo>
                <a:cubicBezTo>
                  <a:pt x="913" y="161"/>
                  <a:pt x="910" y="158"/>
                  <a:pt x="906" y="154"/>
                </a:cubicBezTo>
                <a:close/>
                <a:moveTo>
                  <a:pt x="947" y="57"/>
                </a:moveTo>
                <a:cubicBezTo>
                  <a:pt x="948" y="58"/>
                  <a:pt x="949" y="59"/>
                  <a:pt x="950" y="59"/>
                </a:cubicBezTo>
                <a:cubicBezTo>
                  <a:pt x="951" y="60"/>
                  <a:pt x="951" y="61"/>
                  <a:pt x="951" y="61"/>
                </a:cubicBezTo>
                <a:cubicBezTo>
                  <a:pt x="952" y="62"/>
                  <a:pt x="952" y="62"/>
                  <a:pt x="952" y="63"/>
                </a:cubicBezTo>
                <a:cubicBezTo>
                  <a:pt x="952" y="63"/>
                  <a:pt x="952" y="64"/>
                  <a:pt x="951" y="64"/>
                </a:cubicBezTo>
                <a:cubicBezTo>
                  <a:pt x="951" y="64"/>
                  <a:pt x="950" y="65"/>
                  <a:pt x="950" y="65"/>
                </a:cubicBezTo>
                <a:cubicBezTo>
                  <a:pt x="949" y="65"/>
                  <a:pt x="948" y="66"/>
                  <a:pt x="947" y="66"/>
                </a:cubicBezTo>
                <a:cubicBezTo>
                  <a:pt x="946" y="67"/>
                  <a:pt x="945" y="67"/>
                  <a:pt x="944" y="68"/>
                </a:cubicBezTo>
                <a:cubicBezTo>
                  <a:pt x="943" y="69"/>
                  <a:pt x="942" y="69"/>
                  <a:pt x="941" y="70"/>
                </a:cubicBezTo>
                <a:cubicBezTo>
                  <a:pt x="940" y="72"/>
                  <a:pt x="939" y="73"/>
                  <a:pt x="938" y="75"/>
                </a:cubicBezTo>
                <a:cubicBezTo>
                  <a:pt x="937" y="76"/>
                  <a:pt x="937" y="78"/>
                  <a:pt x="937" y="81"/>
                </a:cubicBezTo>
                <a:cubicBezTo>
                  <a:pt x="937" y="83"/>
                  <a:pt x="937" y="86"/>
                  <a:pt x="937" y="89"/>
                </a:cubicBezTo>
                <a:cubicBezTo>
                  <a:pt x="938" y="92"/>
                  <a:pt x="938" y="96"/>
                  <a:pt x="939" y="100"/>
                </a:cubicBezTo>
                <a:lnTo>
                  <a:pt x="982" y="143"/>
                </a:lnTo>
                <a:cubicBezTo>
                  <a:pt x="982" y="143"/>
                  <a:pt x="983" y="144"/>
                  <a:pt x="983" y="144"/>
                </a:cubicBezTo>
                <a:cubicBezTo>
                  <a:pt x="983" y="145"/>
                  <a:pt x="983" y="145"/>
                  <a:pt x="982" y="146"/>
                </a:cubicBezTo>
                <a:cubicBezTo>
                  <a:pt x="982" y="146"/>
                  <a:pt x="982" y="147"/>
                  <a:pt x="981" y="148"/>
                </a:cubicBezTo>
                <a:cubicBezTo>
                  <a:pt x="980" y="149"/>
                  <a:pt x="979" y="150"/>
                  <a:pt x="978" y="151"/>
                </a:cubicBezTo>
                <a:cubicBezTo>
                  <a:pt x="977" y="152"/>
                  <a:pt x="976" y="153"/>
                  <a:pt x="975" y="154"/>
                </a:cubicBezTo>
                <a:cubicBezTo>
                  <a:pt x="974" y="154"/>
                  <a:pt x="974" y="155"/>
                  <a:pt x="973" y="155"/>
                </a:cubicBezTo>
                <a:cubicBezTo>
                  <a:pt x="972" y="155"/>
                  <a:pt x="972" y="156"/>
                  <a:pt x="971" y="155"/>
                </a:cubicBezTo>
                <a:cubicBezTo>
                  <a:pt x="971" y="155"/>
                  <a:pt x="970" y="155"/>
                  <a:pt x="970" y="155"/>
                </a:cubicBezTo>
                <a:lnTo>
                  <a:pt x="905" y="90"/>
                </a:lnTo>
                <a:cubicBezTo>
                  <a:pt x="905" y="90"/>
                  <a:pt x="905" y="89"/>
                  <a:pt x="905" y="89"/>
                </a:cubicBezTo>
                <a:cubicBezTo>
                  <a:pt x="905" y="89"/>
                  <a:pt x="905" y="88"/>
                  <a:pt x="905" y="87"/>
                </a:cubicBezTo>
                <a:cubicBezTo>
                  <a:pt x="905" y="87"/>
                  <a:pt x="905" y="86"/>
                  <a:pt x="906" y="85"/>
                </a:cubicBezTo>
                <a:cubicBezTo>
                  <a:pt x="907" y="85"/>
                  <a:pt x="907" y="84"/>
                  <a:pt x="909" y="82"/>
                </a:cubicBezTo>
                <a:cubicBezTo>
                  <a:pt x="910" y="81"/>
                  <a:pt x="911" y="81"/>
                  <a:pt x="911" y="80"/>
                </a:cubicBezTo>
                <a:cubicBezTo>
                  <a:pt x="912" y="79"/>
                  <a:pt x="913" y="79"/>
                  <a:pt x="913" y="79"/>
                </a:cubicBezTo>
                <a:cubicBezTo>
                  <a:pt x="914" y="79"/>
                  <a:pt x="914" y="79"/>
                  <a:pt x="915" y="79"/>
                </a:cubicBezTo>
                <a:cubicBezTo>
                  <a:pt x="915" y="79"/>
                  <a:pt x="916" y="79"/>
                  <a:pt x="916" y="79"/>
                </a:cubicBezTo>
                <a:lnTo>
                  <a:pt x="926" y="89"/>
                </a:lnTo>
                <a:cubicBezTo>
                  <a:pt x="925" y="84"/>
                  <a:pt x="924" y="81"/>
                  <a:pt x="924" y="77"/>
                </a:cubicBezTo>
                <a:cubicBezTo>
                  <a:pt x="924" y="74"/>
                  <a:pt x="924" y="72"/>
                  <a:pt x="925" y="69"/>
                </a:cubicBezTo>
                <a:cubicBezTo>
                  <a:pt x="925" y="67"/>
                  <a:pt x="926" y="65"/>
                  <a:pt x="927" y="63"/>
                </a:cubicBezTo>
                <a:cubicBezTo>
                  <a:pt x="928" y="61"/>
                  <a:pt x="929" y="60"/>
                  <a:pt x="931" y="59"/>
                </a:cubicBezTo>
                <a:cubicBezTo>
                  <a:pt x="931" y="58"/>
                  <a:pt x="932" y="57"/>
                  <a:pt x="933" y="56"/>
                </a:cubicBezTo>
                <a:cubicBezTo>
                  <a:pt x="934" y="56"/>
                  <a:pt x="935" y="55"/>
                  <a:pt x="936" y="54"/>
                </a:cubicBezTo>
                <a:cubicBezTo>
                  <a:pt x="937" y="54"/>
                  <a:pt x="938" y="53"/>
                  <a:pt x="939" y="53"/>
                </a:cubicBezTo>
                <a:cubicBezTo>
                  <a:pt x="940" y="52"/>
                  <a:pt x="940" y="52"/>
                  <a:pt x="941" y="52"/>
                </a:cubicBezTo>
                <a:cubicBezTo>
                  <a:pt x="941" y="52"/>
                  <a:pt x="942" y="52"/>
                  <a:pt x="942" y="52"/>
                </a:cubicBezTo>
                <a:cubicBezTo>
                  <a:pt x="942" y="52"/>
                  <a:pt x="943" y="52"/>
                  <a:pt x="943" y="53"/>
                </a:cubicBezTo>
                <a:cubicBezTo>
                  <a:pt x="944" y="53"/>
                  <a:pt x="944" y="53"/>
                  <a:pt x="945" y="54"/>
                </a:cubicBezTo>
                <a:cubicBezTo>
                  <a:pt x="945" y="55"/>
                  <a:pt x="946" y="55"/>
                  <a:pt x="947" y="57"/>
                </a:cubicBezTo>
                <a:close/>
                <a:moveTo>
                  <a:pt x="1055" y="60"/>
                </a:moveTo>
                <a:cubicBezTo>
                  <a:pt x="1057" y="61"/>
                  <a:pt x="1058" y="62"/>
                  <a:pt x="1059" y="63"/>
                </a:cubicBezTo>
                <a:cubicBezTo>
                  <a:pt x="1059" y="64"/>
                  <a:pt x="1059" y="65"/>
                  <a:pt x="1059" y="66"/>
                </a:cubicBezTo>
                <a:cubicBezTo>
                  <a:pt x="1059" y="67"/>
                  <a:pt x="1059" y="68"/>
                  <a:pt x="1059" y="69"/>
                </a:cubicBezTo>
                <a:cubicBezTo>
                  <a:pt x="1058" y="70"/>
                  <a:pt x="1058" y="71"/>
                  <a:pt x="1057" y="72"/>
                </a:cubicBezTo>
                <a:cubicBezTo>
                  <a:pt x="1056" y="74"/>
                  <a:pt x="1055" y="75"/>
                  <a:pt x="1054" y="76"/>
                </a:cubicBezTo>
                <a:cubicBezTo>
                  <a:pt x="1053" y="77"/>
                  <a:pt x="1052" y="78"/>
                  <a:pt x="1051" y="79"/>
                </a:cubicBezTo>
                <a:cubicBezTo>
                  <a:pt x="1048" y="83"/>
                  <a:pt x="1045" y="85"/>
                  <a:pt x="1041" y="87"/>
                </a:cubicBezTo>
                <a:cubicBezTo>
                  <a:pt x="1038" y="88"/>
                  <a:pt x="1035" y="89"/>
                  <a:pt x="1031" y="89"/>
                </a:cubicBezTo>
                <a:cubicBezTo>
                  <a:pt x="1028" y="88"/>
                  <a:pt x="1025" y="87"/>
                  <a:pt x="1021" y="85"/>
                </a:cubicBezTo>
                <a:cubicBezTo>
                  <a:pt x="1018" y="83"/>
                  <a:pt x="1014" y="80"/>
                  <a:pt x="1011" y="76"/>
                </a:cubicBezTo>
                <a:lnTo>
                  <a:pt x="973" y="39"/>
                </a:lnTo>
                <a:lnTo>
                  <a:pt x="964" y="48"/>
                </a:lnTo>
                <a:cubicBezTo>
                  <a:pt x="963" y="48"/>
                  <a:pt x="962" y="49"/>
                  <a:pt x="961" y="48"/>
                </a:cubicBezTo>
                <a:cubicBezTo>
                  <a:pt x="960" y="48"/>
                  <a:pt x="958" y="47"/>
                  <a:pt x="956" y="45"/>
                </a:cubicBezTo>
                <a:cubicBezTo>
                  <a:pt x="956" y="44"/>
                  <a:pt x="955" y="44"/>
                  <a:pt x="954" y="43"/>
                </a:cubicBezTo>
                <a:cubicBezTo>
                  <a:pt x="954" y="42"/>
                  <a:pt x="953" y="41"/>
                  <a:pt x="953" y="41"/>
                </a:cubicBezTo>
                <a:cubicBezTo>
                  <a:pt x="953" y="40"/>
                  <a:pt x="953" y="40"/>
                  <a:pt x="953" y="39"/>
                </a:cubicBezTo>
                <a:cubicBezTo>
                  <a:pt x="953" y="39"/>
                  <a:pt x="954" y="38"/>
                  <a:pt x="954" y="38"/>
                </a:cubicBezTo>
                <a:lnTo>
                  <a:pt x="963" y="29"/>
                </a:lnTo>
                <a:lnTo>
                  <a:pt x="948" y="13"/>
                </a:lnTo>
                <a:cubicBezTo>
                  <a:pt x="947" y="13"/>
                  <a:pt x="947" y="13"/>
                  <a:pt x="947" y="12"/>
                </a:cubicBezTo>
                <a:cubicBezTo>
                  <a:pt x="947" y="12"/>
                  <a:pt x="947" y="11"/>
                  <a:pt x="947" y="11"/>
                </a:cubicBezTo>
                <a:cubicBezTo>
                  <a:pt x="947" y="10"/>
                  <a:pt x="948" y="9"/>
                  <a:pt x="948" y="8"/>
                </a:cubicBezTo>
                <a:cubicBezTo>
                  <a:pt x="949" y="7"/>
                  <a:pt x="950" y="6"/>
                  <a:pt x="951" y="5"/>
                </a:cubicBezTo>
                <a:cubicBezTo>
                  <a:pt x="952" y="4"/>
                  <a:pt x="953" y="3"/>
                  <a:pt x="954" y="3"/>
                </a:cubicBezTo>
                <a:cubicBezTo>
                  <a:pt x="955" y="2"/>
                  <a:pt x="956" y="1"/>
                  <a:pt x="956" y="1"/>
                </a:cubicBezTo>
                <a:cubicBezTo>
                  <a:pt x="957" y="1"/>
                  <a:pt x="958" y="1"/>
                  <a:pt x="958" y="1"/>
                </a:cubicBezTo>
                <a:cubicBezTo>
                  <a:pt x="959" y="1"/>
                  <a:pt x="959" y="1"/>
                  <a:pt x="959" y="2"/>
                </a:cubicBezTo>
                <a:lnTo>
                  <a:pt x="975" y="17"/>
                </a:lnTo>
                <a:lnTo>
                  <a:pt x="991" y="0"/>
                </a:lnTo>
                <a:cubicBezTo>
                  <a:pt x="992" y="0"/>
                  <a:pt x="992" y="0"/>
                  <a:pt x="993" y="0"/>
                </a:cubicBezTo>
                <a:cubicBezTo>
                  <a:pt x="993" y="0"/>
                  <a:pt x="994" y="0"/>
                  <a:pt x="994" y="0"/>
                </a:cubicBezTo>
                <a:cubicBezTo>
                  <a:pt x="995" y="0"/>
                  <a:pt x="996" y="0"/>
                  <a:pt x="996" y="1"/>
                </a:cubicBezTo>
                <a:cubicBezTo>
                  <a:pt x="997" y="1"/>
                  <a:pt x="998" y="2"/>
                  <a:pt x="999" y="3"/>
                </a:cubicBezTo>
                <a:cubicBezTo>
                  <a:pt x="1000" y="5"/>
                  <a:pt x="1001" y="6"/>
                  <a:pt x="1002" y="7"/>
                </a:cubicBezTo>
                <a:cubicBezTo>
                  <a:pt x="1002" y="9"/>
                  <a:pt x="1002" y="10"/>
                  <a:pt x="1001" y="10"/>
                </a:cubicBezTo>
                <a:lnTo>
                  <a:pt x="985" y="27"/>
                </a:lnTo>
                <a:lnTo>
                  <a:pt x="1021" y="63"/>
                </a:lnTo>
                <a:cubicBezTo>
                  <a:pt x="1025" y="67"/>
                  <a:pt x="1029" y="70"/>
                  <a:pt x="1033" y="71"/>
                </a:cubicBezTo>
                <a:cubicBezTo>
                  <a:pt x="1036" y="72"/>
                  <a:pt x="1040" y="71"/>
                  <a:pt x="1043" y="67"/>
                </a:cubicBezTo>
                <a:cubicBezTo>
                  <a:pt x="1044" y="66"/>
                  <a:pt x="1045" y="65"/>
                  <a:pt x="1046" y="64"/>
                </a:cubicBezTo>
                <a:cubicBezTo>
                  <a:pt x="1046" y="63"/>
                  <a:pt x="1047" y="62"/>
                  <a:pt x="1047" y="61"/>
                </a:cubicBezTo>
                <a:cubicBezTo>
                  <a:pt x="1048" y="60"/>
                  <a:pt x="1048" y="59"/>
                  <a:pt x="1048" y="59"/>
                </a:cubicBezTo>
                <a:cubicBezTo>
                  <a:pt x="1049" y="58"/>
                  <a:pt x="1049" y="57"/>
                  <a:pt x="1049" y="57"/>
                </a:cubicBezTo>
                <a:cubicBezTo>
                  <a:pt x="1050" y="57"/>
                  <a:pt x="1050" y="57"/>
                  <a:pt x="1050" y="57"/>
                </a:cubicBezTo>
                <a:cubicBezTo>
                  <a:pt x="1051" y="56"/>
                  <a:pt x="1051" y="57"/>
                  <a:pt x="1052" y="57"/>
                </a:cubicBezTo>
                <a:cubicBezTo>
                  <a:pt x="1052" y="57"/>
                  <a:pt x="1053" y="57"/>
                  <a:pt x="1053" y="58"/>
                </a:cubicBezTo>
                <a:cubicBezTo>
                  <a:pt x="1054" y="58"/>
                  <a:pt x="1055" y="59"/>
                  <a:pt x="1055" y="60"/>
                </a:cubicBezTo>
                <a:close/>
              </a:path>
            </a:pathLst>
          </a:custGeom>
          <a:solidFill>
            <a:srgbClr val="000000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095" name="Freeform 39"/>
          <p:cNvSpPr>
            <a:spLocks noEditPoints="1"/>
          </p:cNvSpPr>
          <p:nvPr/>
        </p:nvSpPr>
        <p:spPr bwMode="auto">
          <a:xfrm>
            <a:off x="2260860" y="3985506"/>
            <a:ext cx="1187450" cy="1171575"/>
          </a:xfrm>
          <a:custGeom>
            <a:avLst/>
            <a:gdLst/>
            <a:ahLst/>
            <a:cxnLst>
              <a:cxn ang="0">
                <a:pos x="86" y="1746"/>
              </a:cxn>
              <a:cxn ang="0">
                <a:pos x="201" y="1737"/>
              </a:cxn>
              <a:cxn ang="0">
                <a:pos x="177" y="1763"/>
              </a:cxn>
              <a:cxn ang="0">
                <a:pos x="148" y="1726"/>
              </a:cxn>
              <a:cxn ang="0">
                <a:pos x="311" y="1640"/>
              </a:cxn>
              <a:cxn ang="0">
                <a:pos x="270" y="1685"/>
              </a:cxn>
              <a:cxn ang="0">
                <a:pos x="221" y="1594"/>
              </a:cxn>
              <a:cxn ang="0">
                <a:pos x="413" y="1542"/>
              </a:cxn>
              <a:cxn ang="0">
                <a:pos x="342" y="1494"/>
              </a:cxn>
              <a:cxn ang="0">
                <a:pos x="364" y="1479"/>
              </a:cxn>
              <a:cxn ang="0">
                <a:pos x="491" y="1465"/>
              </a:cxn>
              <a:cxn ang="0">
                <a:pos x="441" y="1513"/>
              </a:cxn>
              <a:cxn ang="0">
                <a:pos x="455" y="1417"/>
              </a:cxn>
              <a:cxn ang="0">
                <a:pos x="469" y="1389"/>
              </a:cxn>
              <a:cxn ang="0">
                <a:pos x="485" y="1351"/>
              </a:cxn>
              <a:cxn ang="0">
                <a:pos x="687" y="1253"/>
              </a:cxn>
              <a:cxn ang="0">
                <a:pos x="612" y="1176"/>
              </a:cxn>
              <a:cxn ang="0">
                <a:pos x="660" y="1275"/>
              </a:cxn>
              <a:cxn ang="0">
                <a:pos x="716" y="1159"/>
              </a:cxn>
              <a:cxn ang="0">
                <a:pos x="614" y="1142"/>
              </a:cxn>
              <a:cxn ang="0">
                <a:pos x="835" y="1120"/>
              </a:cxn>
              <a:cxn ang="0">
                <a:pos x="769" y="1074"/>
              </a:cxn>
              <a:cxn ang="0">
                <a:pos x="771" y="1057"/>
              </a:cxn>
              <a:cxn ang="0">
                <a:pos x="839" y="1002"/>
              </a:cxn>
              <a:cxn ang="0">
                <a:pos x="857" y="1094"/>
              </a:cxn>
              <a:cxn ang="0">
                <a:pos x="828" y="991"/>
              </a:cxn>
              <a:cxn ang="0">
                <a:pos x="901" y="1013"/>
              </a:cxn>
              <a:cxn ang="0">
                <a:pos x="910" y="1037"/>
              </a:cxn>
              <a:cxn ang="0">
                <a:pos x="891" y="951"/>
              </a:cxn>
              <a:cxn ang="0">
                <a:pos x="925" y="1039"/>
              </a:cxn>
              <a:cxn ang="0">
                <a:pos x="1019" y="911"/>
              </a:cxn>
              <a:cxn ang="0">
                <a:pos x="933" y="925"/>
              </a:cxn>
              <a:cxn ang="0">
                <a:pos x="1198" y="755"/>
              </a:cxn>
              <a:cxn ang="0">
                <a:pos x="1140" y="812"/>
              </a:cxn>
              <a:cxn ang="0">
                <a:pos x="1031" y="746"/>
              </a:cxn>
              <a:cxn ang="0">
                <a:pos x="1265" y="691"/>
              </a:cxn>
              <a:cxn ang="0">
                <a:pos x="1198" y="644"/>
              </a:cxn>
              <a:cxn ang="0">
                <a:pos x="1201" y="627"/>
              </a:cxn>
              <a:cxn ang="0">
                <a:pos x="1342" y="613"/>
              </a:cxn>
              <a:cxn ang="0">
                <a:pos x="1292" y="663"/>
              </a:cxn>
              <a:cxn ang="0">
                <a:pos x="1290" y="558"/>
              </a:cxn>
              <a:cxn ang="0">
                <a:pos x="1338" y="548"/>
              </a:cxn>
              <a:cxn ang="0">
                <a:pos x="1306" y="524"/>
              </a:cxn>
              <a:cxn ang="0">
                <a:pos x="1386" y="548"/>
              </a:cxn>
              <a:cxn ang="0">
                <a:pos x="1436" y="490"/>
              </a:cxn>
              <a:cxn ang="0">
                <a:pos x="1421" y="510"/>
              </a:cxn>
              <a:cxn ang="0">
                <a:pos x="1392" y="444"/>
              </a:cxn>
              <a:cxn ang="0">
                <a:pos x="1460" y="524"/>
              </a:cxn>
              <a:cxn ang="0">
                <a:pos x="1542" y="387"/>
              </a:cxn>
              <a:cxn ang="0">
                <a:pos x="1451" y="370"/>
              </a:cxn>
              <a:cxn ang="0">
                <a:pos x="1676" y="279"/>
              </a:cxn>
              <a:cxn ang="0">
                <a:pos x="1628" y="327"/>
              </a:cxn>
              <a:cxn ang="0">
                <a:pos x="1583" y="371"/>
              </a:cxn>
              <a:cxn ang="0">
                <a:pos x="1578" y="251"/>
              </a:cxn>
              <a:cxn ang="0">
                <a:pos x="1729" y="204"/>
              </a:cxn>
              <a:cxn ang="0">
                <a:pos x="1658" y="229"/>
              </a:cxn>
              <a:cxn ang="0">
                <a:pos x="1829" y="122"/>
              </a:cxn>
              <a:cxn ang="0">
                <a:pos x="1786" y="169"/>
              </a:cxn>
              <a:cxn ang="0">
                <a:pos x="1738" y="77"/>
              </a:cxn>
              <a:cxn ang="0">
                <a:pos x="1790" y="48"/>
              </a:cxn>
              <a:cxn ang="0">
                <a:pos x="1818" y="1"/>
              </a:cxn>
              <a:cxn ang="0">
                <a:pos x="1882" y="60"/>
              </a:cxn>
            </a:cxnLst>
            <a:rect l="0" t="0" r="r" b="b"/>
            <a:pathLst>
              <a:path w="1886" h="1861">
                <a:moveTo>
                  <a:pt x="115" y="1744"/>
                </a:moveTo>
                <a:cubicBezTo>
                  <a:pt x="123" y="1752"/>
                  <a:pt x="129" y="1761"/>
                  <a:pt x="133" y="1769"/>
                </a:cubicBezTo>
                <a:cubicBezTo>
                  <a:pt x="137" y="1777"/>
                  <a:pt x="139" y="1785"/>
                  <a:pt x="139" y="1793"/>
                </a:cubicBezTo>
                <a:cubicBezTo>
                  <a:pt x="139" y="1800"/>
                  <a:pt x="137" y="1808"/>
                  <a:pt x="133" y="1816"/>
                </a:cubicBezTo>
                <a:cubicBezTo>
                  <a:pt x="129" y="1824"/>
                  <a:pt x="123" y="1832"/>
                  <a:pt x="115" y="1839"/>
                </a:cubicBezTo>
                <a:lnTo>
                  <a:pt x="96" y="1859"/>
                </a:lnTo>
                <a:cubicBezTo>
                  <a:pt x="95" y="1860"/>
                  <a:pt x="93" y="1861"/>
                  <a:pt x="91" y="1861"/>
                </a:cubicBezTo>
                <a:cubicBezTo>
                  <a:pt x="90" y="1861"/>
                  <a:pt x="88" y="1861"/>
                  <a:pt x="86" y="1859"/>
                </a:cubicBezTo>
                <a:lnTo>
                  <a:pt x="3" y="1776"/>
                </a:lnTo>
                <a:cubicBezTo>
                  <a:pt x="1" y="1774"/>
                  <a:pt x="0" y="1772"/>
                  <a:pt x="1" y="1770"/>
                </a:cubicBezTo>
                <a:cubicBezTo>
                  <a:pt x="1" y="1769"/>
                  <a:pt x="2" y="1767"/>
                  <a:pt x="3" y="1766"/>
                </a:cubicBezTo>
                <a:lnTo>
                  <a:pt x="24" y="1745"/>
                </a:lnTo>
                <a:cubicBezTo>
                  <a:pt x="32" y="1737"/>
                  <a:pt x="40" y="1731"/>
                  <a:pt x="47" y="1728"/>
                </a:cubicBezTo>
                <a:cubicBezTo>
                  <a:pt x="55" y="1724"/>
                  <a:pt x="63" y="1723"/>
                  <a:pt x="70" y="1723"/>
                </a:cubicBezTo>
                <a:cubicBezTo>
                  <a:pt x="78" y="1723"/>
                  <a:pt x="85" y="1725"/>
                  <a:pt x="93" y="1729"/>
                </a:cubicBezTo>
                <a:cubicBezTo>
                  <a:pt x="100" y="1732"/>
                  <a:pt x="108" y="1737"/>
                  <a:pt x="115" y="1744"/>
                </a:cubicBezTo>
                <a:close/>
                <a:moveTo>
                  <a:pt x="102" y="1758"/>
                </a:moveTo>
                <a:cubicBezTo>
                  <a:pt x="97" y="1753"/>
                  <a:pt x="92" y="1749"/>
                  <a:pt x="86" y="1746"/>
                </a:cubicBezTo>
                <a:cubicBezTo>
                  <a:pt x="81" y="1743"/>
                  <a:pt x="75" y="1741"/>
                  <a:pt x="69" y="1740"/>
                </a:cubicBezTo>
                <a:cubicBezTo>
                  <a:pt x="63" y="1740"/>
                  <a:pt x="58" y="1741"/>
                  <a:pt x="52" y="1743"/>
                </a:cubicBezTo>
                <a:cubicBezTo>
                  <a:pt x="46" y="1745"/>
                  <a:pt x="40" y="1750"/>
                  <a:pt x="33" y="1756"/>
                </a:cubicBezTo>
                <a:lnTo>
                  <a:pt x="21" y="1769"/>
                </a:lnTo>
                <a:lnTo>
                  <a:pt x="93" y="1841"/>
                </a:lnTo>
                <a:lnTo>
                  <a:pt x="106" y="1828"/>
                </a:lnTo>
                <a:cubicBezTo>
                  <a:pt x="112" y="1822"/>
                  <a:pt x="116" y="1817"/>
                  <a:pt x="119" y="1811"/>
                </a:cubicBezTo>
                <a:cubicBezTo>
                  <a:pt x="121" y="1806"/>
                  <a:pt x="122" y="1800"/>
                  <a:pt x="122" y="1794"/>
                </a:cubicBezTo>
                <a:cubicBezTo>
                  <a:pt x="122" y="1788"/>
                  <a:pt x="120" y="1782"/>
                  <a:pt x="117" y="1776"/>
                </a:cubicBezTo>
                <a:cubicBezTo>
                  <a:pt x="113" y="1770"/>
                  <a:pt x="108" y="1764"/>
                  <a:pt x="102" y="1758"/>
                </a:cubicBezTo>
                <a:close/>
                <a:moveTo>
                  <a:pt x="198" y="1683"/>
                </a:moveTo>
                <a:cubicBezTo>
                  <a:pt x="200" y="1684"/>
                  <a:pt x="201" y="1686"/>
                  <a:pt x="201" y="1688"/>
                </a:cubicBezTo>
                <a:cubicBezTo>
                  <a:pt x="201" y="1690"/>
                  <a:pt x="200" y="1691"/>
                  <a:pt x="199" y="1692"/>
                </a:cubicBezTo>
                <a:lnTo>
                  <a:pt x="156" y="1735"/>
                </a:lnTo>
                <a:cubicBezTo>
                  <a:pt x="160" y="1738"/>
                  <a:pt x="164" y="1741"/>
                  <a:pt x="167" y="1743"/>
                </a:cubicBezTo>
                <a:cubicBezTo>
                  <a:pt x="171" y="1746"/>
                  <a:pt x="174" y="1747"/>
                  <a:pt x="178" y="1747"/>
                </a:cubicBezTo>
                <a:cubicBezTo>
                  <a:pt x="182" y="1748"/>
                  <a:pt x="186" y="1747"/>
                  <a:pt x="190" y="1745"/>
                </a:cubicBezTo>
                <a:cubicBezTo>
                  <a:pt x="193" y="1744"/>
                  <a:pt x="197" y="1741"/>
                  <a:pt x="201" y="1737"/>
                </a:cubicBezTo>
                <a:cubicBezTo>
                  <a:pt x="204" y="1734"/>
                  <a:pt x="207" y="1731"/>
                  <a:pt x="209" y="1728"/>
                </a:cubicBezTo>
                <a:cubicBezTo>
                  <a:pt x="210" y="1725"/>
                  <a:pt x="212" y="1723"/>
                  <a:pt x="213" y="1720"/>
                </a:cubicBezTo>
                <a:cubicBezTo>
                  <a:pt x="214" y="1718"/>
                  <a:pt x="215" y="1716"/>
                  <a:pt x="216" y="1714"/>
                </a:cubicBezTo>
                <a:cubicBezTo>
                  <a:pt x="216" y="1713"/>
                  <a:pt x="217" y="1712"/>
                  <a:pt x="218" y="1711"/>
                </a:cubicBezTo>
                <a:cubicBezTo>
                  <a:pt x="218" y="1711"/>
                  <a:pt x="218" y="1710"/>
                  <a:pt x="219" y="1710"/>
                </a:cubicBezTo>
                <a:cubicBezTo>
                  <a:pt x="219" y="1710"/>
                  <a:pt x="220" y="1710"/>
                  <a:pt x="220" y="1710"/>
                </a:cubicBezTo>
                <a:cubicBezTo>
                  <a:pt x="221" y="1711"/>
                  <a:pt x="221" y="1711"/>
                  <a:pt x="222" y="1712"/>
                </a:cubicBezTo>
                <a:cubicBezTo>
                  <a:pt x="222" y="1712"/>
                  <a:pt x="223" y="1713"/>
                  <a:pt x="224" y="1714"/>
                </a:cubicBezTo>
                <a:cubicBezTo>
                  <a:pt x="225" y="1714"/>
                  <a:pt x="225" y="1715"/>
                  <a:pt x="226" y="1715"/>
                </a:cubicBezTo>
                <a:cubicBezTo>
                  <a:pt x="226" y="1716"/>
                  <a:pt x="226" y="1716"/>
                  <a:pt x="227" y="1717"/>
                </a:cubicBezTo>
                <a:cubicBezTo>
                  <a:pt x="227" y="1717"/>
                  <a:pt x="227" y="1718"/>
                  <a:pt x="227" y="1718"/>
                </a:cubicBezTo>
                <a:cubicBezTo>
                  <a:pt x="227" y="1718"/>
                  <a:pt x="227" y="1719"/>
                  <a:pt x="227" y="1719"/>
                </a:cubicBezTo>
                <a:cubicBezTo>
                  <a:pt x="227" y="1720"/>
                  <a:pt x="227" y="1721"/>
                  <a:pt x="226" y="1723"/>
                </a:cubicBezTo>
                <a:cubicBezTo>
                  <a:pt x="226" y="1725"/>
                  <a:pt x="225" y="1727"/>
                  <a:pt x="223" y="1730"/>
                </a:cubicBezTo>
                <a:cubicBezTo>
                  <a:pt x="222" y="1733"/>
                  <a:pt x="220" y="1735"/>
                  <a:pt x="218" y="1739"/>
                </a:cubicBezTo>
                <a:cubicBezTo>
                  <a:pt x="215" y="1742"/>
                  <a:pt x="213" y="1745"/>
                  <a:pt x="210" y="1748"/>
                </a:cubicBezTo>
                <a:cubicBezTo>
                  <a:pt x="204" y="1753"/>
                  <a:pt x="199" y="1757"/>
                  <a:pt x="193" y="1760"/>
                </a:cubicBezTo>
                <a:cubicBezTo>
                  <a:pt x="188" y="1762"/>
                  <a:pt x="182" y="1763"/>
                  <a:pt x="177" y="1763"/>
                </a:cubicBezTo>
                <a:cubicBezTo>
                  <a:pt x="171" y="1763"/>
                  <a:pt x="165" y="1761"/>
                  <a:pt x="159" y="1758"/>
                </a:cubicBezTo>
                <a:cubicBezTo>
                  <a:pt x="154" y="1755"/>
                  <a:pt x="148" y="1751"/>
                  <a:pt x="142" y="1745"/>
                </a:cubicBezTo>
                <a:cubicBezTo>
                  <a:pt x="136" y="1740"/>
                  <a:pt x="132" y="1734"/>
                  <a:pt x="129" y="1728"/>
                </a:cubicBezTo>
                <a:cubicBezTo>
                  <a:pt x="126" y="1722"/>
                  <a:pt x="125" y="1716"/>
                  <a:pt x="124" y="1710"/>
                </a:cubicBezTo>
                <a:cubicBezTo>
                  <a:pt x="124" y="1705"/>
                  <a:pt x="125" y="1699"/>
                  <a:pt x="127" y="1694"/>
                </a:cubicBezTo>
                <a:cubicBezTo>
                  <a:pt x="129" y="1688"/>
                  <a:pt x="132" y="1683"/>
                  <a:pt x="137" y="1678"/>
                </a:cubicBezTo>
                <a:cubicBezTo>
                  <a:pt x="142" y="1673"/>
                  <a:pt x="147" y="1670"/>
                  <a:pt x="153" y="1668"/>
                </a:cubicBezTo>
                <a:cubicBezTo>
                  <a:pt x="158" y="1666"/>
                  <a:pt x="163" y="1665"/>
                  <a:pt x="168" y="1665"/>
                </a:cubicBezTo>
                <a:cubicBezTo>
                  <a:pt x="173" y="1666"/>
                  <a:pt x="178" y="1667"/>
                  <a:pt x="183" y="1670"/>
                </a:cubicBezTo>
                <a:cubicBezTo>
                  <a:pt x="188" y="1673"/>
                  <a:pt x="192" y="1676"/>
                  <a:pt x="196" y="1680"/>
                </a:cubicBezTo>
                <a:lnTo>
                  <a:pt x="198" y="1683"/>
                </a:lnTo>
                <a:close/>
                <a:moveTo>
                  <a:pt x="183" y="1691"/>
                </a:moveTo>
                <a:cubicBezTo>
                  <a:pt x="177" y="1685"/>
                  <a:pt x="171" y="1681"/>
                  <a:pt x="164" y="1680"/>
                </a:cubicBezTo>
                <a:cubicBezTo>
                  <a:pt x="158" y="1680"/>
                  <a:pt x="152" y="1682"/>
                  <a:pt x="146" y="1688"/>
                </a:cubicBezTo>
                <a:cubicBezTo>
                  <a:pt x="143" y="1691"/>
                  <a:pt x="141" y="1694"/>
                  <a:pt x="140" y="1697"/>
                </a:cubicBezTo>
                <a:cubicBezTo>
                  <a:pt x="139" y="1701"/>
                  <a:pt x="138" y="1704"/>
                  <a:pt x="139" y="1707"/>
                </a:cubicBezTo>
                <a:cubicBezTo>
                  <a:pt x="139" y="1711"/>
                  <a:pt x="140" y="1714"/>
                  <a:pt x="142" y="1717"/>
                </a:cubicBezTo>
                <a:cubicBezTo>
                  <a:pt x="143" y="1720"/>
                  <a:pt x="145" y="1723"/>
                  <a:pt x="148" y="1726"/>
                </a:cubicBezTo>
                <a:lnTo>
                  <a:pt x="183" y="1691"/>
                </a:lnTo>
                <a:close/>
                <a:moveTo>
                  <a:pt x="353" y="1598"/>
                </a:moveTo>
                <a:cubicBezTo>
                  <a:pt x="354" y="1598"/>
                  <a:pt x="354" y="1599"/>
                  <a:pt x="354" y="1599"/>
                </a:cubicBezTo>
                <a:cubicBezTo>
                  <a:pt x="354" y="1599"/>
                  <a:pt x="354" y="1600"/>
                  <a:pt x="354" y="1601"/>
                </a:cubicBezTo>
                <a:cubicBezTo>
                  <a:pt x="354" y="1601"/>
                  <a:pt x="353" y="1602"/>
                  <a:pt x="353" y="1603"/>
                </a:cubicBezTo>
                <a:cubicBezTo>
                  <a:pt x="352" y="1604"/>
                  <a:pt x="351" y="1605"/>
                  <a:pt x="350" y="1606"/>
                </a:cubicBezTo>
                <a:cubicBezTo>
                  <a:pt x="349" y="1607"/>
                  <a:pt x="348" y="1608"/>
                  <a:pt x="347" y="1609"/>
                </a:cubicBezTo>
                <a:cubicBezTo>
                  <a:pt x="346" y="1609"/>
                  <a:pt x="345" y="1610"/>
                  <a:pt x="344" y="1610"/>
                </a:cubicBezTo>
                <a:cubicBezTo>
                  <a:pt x="344" y="1610"/>
                  <a:pt x="343" y="1610"/>
                  <a:pt x="343" y="1610"/>
                </a:cubicBezTo>
                <a:cubicBezTo>
                  <a:pt x="342" y="1610"/>
                  <a:pt x="342" y="1610"/>
                  <a:pt x="342" y="1610"/>
                </a:cubicBezTo>
                <a:lnTo>
                  <a:pt x="302" y="1570"/>
                </a:lnTo>
                <a:cubicBezTo>
                  <a:pt x="300" y="1568"/>
                  <a:pt x="297" y="1565"/>
                  <a:pt x="294" y="1564"/>
                </a:cubicBezTo>
                <a:cubicBezTo>
                  <a:pt x="291" y="1562"/>
                  <a:pt x="289" y="1561"/>
                  <a:pt x="286" y="1560"/>
                </a:cubicBezTo>
                <a:cubicBezTo>
                  <a:pt x="283" y="1560"/>
                  <a:pt x="281" y="1560"/>
                  <a:pt x="278" y="1560"/>
                </a:cubicBezTo>
                <a:cubicBezTo>
                  <a:pt x="276" y="1561"/>
                  <a:pt x="273" y="1563"/>
                  <a:pt x="271" y="1565"/>
                </a:cubicBezTo>
                <a:cubicBezTo>
                  <a:pt x="268" y="1568"/>
                  <a:pt x="267" y="1571"/>
                  <a:pt x="266" y="1576"/>
                </a:cubicBezTo>
                <a:cubicBezTo>
                  <a:pt x="265" y="1581"/>
                  <a:pt x="266" y="1587"/>
                  <a:pt x="266" y="1595"/>
                </a:cubicBezTo>
                <a:lnTo>
                  <a:pt x="311" y="1640"/>
                </a:lnTo>
                <a:cubicBezTo>
                  <a:pt x="312" y="1640"/>
                  <a:pt x="312" y="1641"/>
                  <a:pt x="312" y="1641"/>
                </a:cubicBezTo>
                <a:cubicBezTo>
                  <a:pt x="312" y="1641"/>
                  <a:pt x="312" y="1642"/>
                  <a:pt x="312" y="1643"/>
                </a:cubicBezTo>
                <a:cubicBezTo>
                  <a:pt x="312" y="1643"/>
                  <a:pt x="311" y="1644"/>
                  <a:pt x="310" y="1645"/>
                </a:cubicBezTo>
                <a:cubicBezTo>
                  <a:pt x="310" y="1646"/>
                  <a:pt x="309" y="1647"/>
                  <a:pt x="308" y="1648"/>
                </a:cubicBezTo>
                <a:cubicBezTo>
                  <a:pt x="307" y="1649"/>
                  <a:pt x="306" y="1650"/>
                  <a:pt x="305" y="1651"/>
                </a:cubicBezTo>
                <a:cubicBezTo>
                  <a:pt x="304" y="1651"/>
                  <a:pt x="303" y="1652"/>
                  <a:pt x="302" y="1652"/>
                </a:cubicBezTo>
                <a:cubicBezTo>
                  <a:pt x="302" y="1652"/>
                  <a:pt x="301" y="1652"/>
                  <a:pt x="301" y="1652"/>
                </a:cubicBezTo>
                <a:cubicBezTo>
                  <a:pt x="300" y="1652"/>
                  <a:pt x="300" y="1652"/>
                  <a:pt x="300" y="1652"/>
                </a:cubicBezTo>
                <a:lnTo>
                  <a:pt x="260" y="1612"/>
                </a:lnTo>
                <a:cubicBezTo>
                  <a:pt x="258" y="1610"/>
                  <a:pt x="255" y="1607"/>
                  <a:pt x="252" y="1606"/>
                </a:cubicBezTo>
                <a:cubicBezTo>
                  <a:pt x="249" y="1604"/>
                  <a:pt x="247" y="1603"/>
                  <a:pt x="244" y="1602"/>
                </a:cubicBezTo>
                <a:cubicBezTo>
                  <a:pt x="241" y="1602"/>
                  <a:pt x="239" y="1602"/>
                  <a:pt x="236" y="1602"/>
                </a:cubicBezTo>
                <a:cubicBezTo>
                  <a:pt x="234" y="1603"/>
                  <a:pt x="231" y="1605"/>
                  <a:pt x="229" y="1607"/>
                </a:cubicBezTo>
                <a:cubicBezTo>
                  <a:pt x="226" y="1610"/>
                  <a:pt x="225" y="1613"/>
                  <a:pt x="224" y="1618"/>
                </a:cubicBezTo>
                <a:cubicBezTo>
                  <a:pt x="223" y="1623"/>
                  <a:pt x="223" y="1629"/>
                  <a:pt x="224" y="1637"/>
                </a:cubicBezTo>
                <a:lnTo>
                  <a:pt x="269" y="1682"/>
                </a:lnTo>
                <a:cubicBezTo>
                  <a:pt x="270" y="1682"/>
                  <a:pt x="270" y="1683"/>
                  <a:pt x="270" y="1683"/>
                </a:cubicBezTo>
                <a:cubicBezTo>
                  <a:pt x="270" y="1683"/>
                  <a:pt x="270" y="1684"/>
                  <a:pt x="270" y="1685"/>
                </a:cubicBezTo>
                <a:cubicBezTo>
                  <a:pt x="270" y="1685"/>
                  <a:pt x="269" y="1686"/>
                  <a:pt x="268" y="1687"/>
                </a:cubicBezTo>
                <a:cubicBezTo>
                  <a:pt x="268" y="1688"/>
                  <a:pt x="267" y="1689"/>
                  <a:pt x="266" y="1690"/>
                </a:cubicBezTo>
                <a:cubicBezTo>
                  <a:pt x="265" y="1691"/>
                  <a:pt x="264" y="1692"/>
                  <a:pt x="263" y="1693"/>
                </a:cubicBezTo>
                <a:cubicBezTo>
                  <a:pt x="262" y="1693"/>
                  <a:pt x="261" y="1694"/>
                  <a:pt x="260" y="1694"/>
                </a:cubicBezTo>
                <a:cubicBezTo>
                  <a:pt x="260" y="1694"/>
                  <a:pt x="259" y="1694"/>
                  <a:pt x="259" y="1694"/>
                </a:cubicBezTo>
                <a:cubicBezTo>
                  <a:pt x="258" y="1694"/>
                  <a:pt x="258" y="1694"/>
                  <a:pt x="258" y="1694"/>
                </a:cubicBezTo>
                <a:lnTo>
                  <a:pt x="193" y="1629"/>
                </a:lnTo>
                <a:cubicBezTo>
                  <a:pt x="193" y="1629"/>
                  <a:pt x="192" y="1628"/>
                  <a:pt x="192" y="1628"/>
                </a:cubicBezTo>
                <a:cubicBezTo>
                  <a:pt x="192" y="1627"/>
                  <a:pt x="192" y="1627"/>
                  <a:pt x="192" y="1626"/>
                </a:cubicBezTo>
                <a:cubicBezTo>
                  <a:pt x="193" y="1626"/>
                  <a:pt x="193" y="1625"/>
                  <a:pt x="194" y="1624"/>
                </a:cubicBezTo>
                <a:cubicBezTo>
                  <a:pt x="194" y="1623"/>
                  <a:pt x="195" y="1622"/>
                  <a:pt x="196" y="1621"/>
                </a:cubicBezTo>
                <a:cubicBezTo>
                  <a:pt x="197" y="1620"/>
                  <a:pt x="198" y="1619"/>
                  <a:pt x="199" y="1619"/>
                </a:cubicBezTo>
                <a:cubicBezTo>
                  <a:pt x="200" y="1618"/>
                  <a:pt x="200" y="1618"/>
                  <a:pt x="201" y="1618"/>
                </a:cubicBezTo>
                <a:cubicBezTo>
                  <a:pt x="201" y="1617"/>
                  <a:pt x="202" y="1617"/>
                  <a:pt x="202" y="1618"/>
                </a:cubicBezTo>
                <a:cubicBezTo>
                  <a:pt x="203" y="1618"/>
                  <a:pt x="203" y="1618"/>
                  <a:pt x="204" y="1618"/>
                </a:cubicBezTo>
                <a:lnTo>
                  <a:pt x="212" y="1627"/>
                </a:lnTo>
                <a:cubicBezTo>
                  <a:pt x="212" y="1619"/>
                  <a:pt x="212" y="1613"/>
                  <a:pt x="214" y="1607"/>
                </a:cubicBezTo>
                <a:cubicBezTo>
                  <a:pt x="215" y="1602"/>
                  <a:pt x="218" y="1598"/>
                  <a:pt x="221" y="1594"/>
                </a:cubicBezTo>
                <a:cubicBezTo>
                  <a:pt x="224" y="1591"/>
                  <a:pt x="227" y="1589"/>
                  <a:pt x="230" y="1588"/>
                </a:cubicBezTo>
                <a:cubicBezTo>
                  <a:pt x="232" y="1586"/>
                  <a:pt x="235" y="1585"/>
                  <a:pt x="238" y="1585"/>
                </a:cubicBezTo>
                <a:cubicBezTo>
                  <a:pt x="241" y="1584"/>
                  <a:pt x="243" y="1584"/>
                  <a:pt x="246" y="1585"/>
                </a:cubicBezTo>
                <a:cubicBezTo>
                  <a:pt x="249" y="1585"/>
                  <a:pt x="251" y="1586"/>
                  <a:pt x="254" y="1587"/>
                </a:cubicBezTo>
                <a:cubicBezTo>
                  <a:pt x="254" y="1582"/>
                  <a:pt x="254" y="1578"/>
                  <a:pt x="254" y="1575"/>
                </a:cubicBezTo>
                <a:cubicBezTo>
                  <a:pt x="255" y="1571"/>
                  <a:pt x="255" y="1568"/>
                  <a:pt x="256" y="1565"/>
                </a:cubicBezTo>
                <a:cubicBezTo>
                  <a:pt x="257" y="1562"/>
                  <a:pt x="258" y="1560"/>
                  <a:pt x="259" y="1558"/>
                </a:cubicBezTo>
                <a:cubicBezTo>
                  <a:pt x="260" y="1556"/>
                  <a:pt x="262" y="1554"/>
                  <a:pt x="263" y="1552"/>
                </a:cubicBezTo>
                <a:cubicBezTo>
                  <a:pt x="268" y="1548"/>
                  <a:pt x="272" y="1545"/>
                  <a:pt x="276" y="1544"/>
                </a:cubicBezTo>
                <a:cubicBezTo>
                  <a:pt x="280" y="1542"/>
                  <a:pt x="285" y="1542"/>
                  <a:pt x="289" y="1543"/>
                </a:cubicBezTo>
                <a:cubicBezTo>
                  <a:pt x="293" y="1543"/>
                  <a:pt x="297" y="1545"/>
                  <a:pt x="301" y="1548"/>
                </a:cubicBezTo>
                <a:cubicBezTo>
                  <a:pt x="305" y="1550"/>
                  <a:pt x="309" y="1553"/>
                  <a:pt x="313" y="1557"/>
                </a:cubicBezTo>
                <a:lnTo>
                  <a:pt x="353" y="1598"/>
                </a:lnTo>
                <a:close/>
                <a:moveTo>
                  <a:pt x="419" y="1532"/>
                </a:moveTo>
                <a:cubicBezTo>
                  <a:pt x="420" y="1532"/>
                  <a:pt x="420" y="1533"/>
                  <a:pt x="420" y="1534"/>
                </a:cubicBezTo>
                <a:cubicBezTo>
                  <a:pt x="420" y="1534"/>
                  <a:pt x="420" y="1535"/>
                  <a:pt x="419" y="1536"/>
                </a:cubicBezTo>
                <a:cubicBezTo>
                  <a:pt x="419" y="1537"/>
                  <a:pt x="418" y="1538"/>
                  <a:pt x="417" y="1539"/>
                </a:cubicBezTo>
                <a:cubicBezTo>
                  <a:pt x="415" y="1540"/>
                  <a:pt x="414" y="1541"/>
                  <a:pt x="413" y="1542"/>
                </a:cubicBezTo>
                <a:cubicBezTo>
                  <a:pt x="412" y="1542"/>
                  <a:pt x="412" y="1543"/>
                  <a:pt x="411" y="1543"/>
                </a:cubicBezTo>
                <a:cubicBezTo>
                  <a:pt x="410" y="1543"/>
                  <a:pt x="410" y="1543"/>
                  <a:pt x="409" y="1542"/>
                </a:cubicBezTo>
                <a:lnTo>
                  <a:pt x="403" y="1536"/>
                </a:lnTo>
                <a:cubicBezTo>
                  <a:pt x="403" y="1541"/>
                  <a:pt x="402" y="1547"/>
                  <a:pt x="400" y="1552"/>
                </a:cubicBezTo>
                <a:cubicBezTo>
                  <a:pt x="399" y="1557"/>
                  <a:pt x="396" y="1562"/>
                  <a:pt x="392" y="1566"/>
                </a:cubicBezTo>
                <a:cubicBezTo>
                  <a:pt x="389" y="1569"/>
                  <a:pt x="385" y="1572"/>
                  <a:pt x="381" y="1573"/>
                </a:cubicBezTo>
                <a:cubicBezTo>
                  <a:pt x="378" y="1575"/>
                  <a:pt x="374" y="1576"/>
                  <a:pt x="370" y="1577"/>
                </a:cubicBezTo>
                <a:cubicBezTo>
                  <a:pt x="367" y="1577"/>
                  <a:pt x="363" y="1576"/>
                  <a:pt x="360" y="1575"/>
                </a:cubicBezTo>
                <a:cubicBezTo>
                  <a:pt x="356" y="1574"/>
                  <a:pt x="353" y="1571"/>
                  <a:pt x="350" y="1568"/>
                </a:cubicBezTo>
                <a:cubicBezTo>
                  <a:pt x="346" y="1565"/>
                  <a:pt x="344" y="1561"/>
                  <a:pt x="343" y="1557"/>
                </a:cubicBezTo>
                <a:cubicBezTo>
                  <a:pt x="341" y="1552"/>
                  <a:pt x="341" y="1548"/>
                  <a:pt x="342" y="1544"/>
                </a:cubicBezTo>
                <a:cubicBezTo>
                  <a:pt x="343" y="1539"/>
                  <a:pt x="345" y="1534"/>
                  <a:pt x="348" y="1529"/>
                </a:cubicBezTo>
                <a:cubicBezTo>
                  <a:pt x="352" y="1524"/>
                  <a:pt x="356" y="1519"/>
                  <a:pt x="361" y="1514"/>
                </a:cubicBezTo>
                <a:lnTo>
                  <a:pt x="370" y="1506"/>
                </a:lnTo>
                <a:lnTo>
                  <a:pt x="365" y="1501"/>
                </a:lnTo>
                <a:cubicBezTo>
                  <a:pt x="362" y="1498"/>
                  <a:pt x="360" y="1496"/>
                  <a:pt x="357" y="1495"/>
                </a:cubicBezTo>
                <a:cubicBezTo>
                  <a:pt x="355" y="1493"/>
                  <a:pt x="352" y="1493"/>
                  <a:pt x="350" y="1492"/>
                </a:cubicBezTo>
                <a:cubicBezTo>
                  <a:pt x="347" y="1492"/>
                  <a:pt x="345" y="1493"/>
                  <a:pt x="342" y="1494"/>
                </a:cubicBezTo>
                <a:cubicBezTo>
                  <a:pt x="340" y="1495"/>
                  <a:pt x="337" y="1497"/>
                  <a:pt x="335" y="1500"/>
                </a:cubicBezTo>
                <a:cubicBezTo>
                  <a:pt x="332" y="1503"/>
                  <a:pt x="329" y="1506"/>
                  <a:pt x="328" y="1509"/>
                </a:cubicBezTo>
                <a:cubicBezTo>
                  <a:pt x="326" y="1512"/>
                  <a:pt x="325" y="1515"/>
                  <a:pt x="324" y="1517"/>
                </a:cubicBezTo>
                <a:cubicBezTo>
                  <a:pt x="323" y="1520"/>
                  <a:pt x="322" y="1522"/>
                  <a:pt x="322" y="1524"/>
                </a:cubicBezTo>
                <a:cubicBezTo>
                  <a:pt x="321" y="1526"/>
                  <a:pt x="321" y="1527"/>
                  <a:pt x="320" y="1528"/>
                </a:cubicBezTo>
                <a:cubicBezTo>
                  <a:pt x="320" y="1528"/>
                  <a:pt x="319" y="1528"/>
                  <a:pt x="319" y="1528"/>
                </a:cubicBezTo>
                <a:cubicBezTo>
                  <a:pt x="319" y="1529"/>
                  <a:pt x="318" y="1529"/>
                  <a:pt x="317" y="1528"/>
                </a:cubicBezTo>
                <a:cubicBezTo>
                  <a:pt x="317" y="1528"/>
                  <a:pt x="316" y="1528"/>
                  <a:pt x="315" y="1527"/>
                </a:cubicBezTo>
                <a:cubicBezTo>
                  <a:pt x="315" y="1527"/>
                  <a:pt x="314" y="1526"/>
                  <a:pt x="313" y="1526"/>
                </a:cubicBezTo>
                <a:cubicBezTo>
                  <a:pt x="312" y="1524"/>
                  <a:pt x="311" y="1523"/>
                  <a:pt x="311" y="1522"/>
                </a:cubicBezTo>
                <a:cubicBezTo>
                  <a:pt x="310" y="1522"/>
                  <a:pt x="310" y="1520"/>
                  <a:pt x="310" y="1519"/>
                </a:cubicBezTo>
                <a:cubicBezTo>
                  <a:pt x="310" y="1518"/>
                  <a:pt x="310" y="1516"/>
                  <a:pt x="311" y="1514"/>
                </a:cubicBezTo>
                <a:cubicBezTo>
                  <a:pt x="312" y="1511"/>
                  <a:pt x="313" y="1509"/>
                  <a:pt x="314" y="1506"/>
                </a:cubicBezTo>
                <a:cubicBezTo>
                  <a:pt x="316" y="1503"/>
                  <a:pt x="317" y="1500"/>
                  <a:pt x="319" y="1497"/>
                </a:cubicBezTo>
                <a:cubicBezTo>
                  <a:pt x="321" y="1495"/>
                  <a:pt x="324" y="1492"/>
                  <a:pt x="326" y="1489"/>
                </a:cubicBezTo>
                <a:cubicBezTo>
                  <a:pt x="331" y="1485"/>
                  <a:pt x="335" y="1481"/>
                  <a:pt x="339" y="1479"/>
                </a:cubicBezTo>
                <a:cubicBezTo>
                  <a:pt x="344" y="1477"/>
                  <a:pt x="348" y="1476"/>
                  <a:pt x="352" y="1476"/>
                </a:cubicBezTo>
                <a:cubicBezTo>
                  <a:pt x="356" y="1476"/>
                  <a:pt x="360" y="1477"/>
                  <a:pt x="364" y="1479"/>
                </a:cubicBezTo>
                <a:cubicBezTo>
                  <a:pt x="368" y="1481"/>
                  <a:pt x="372" y="1484"/>
                  <a:pt x="376" y="1488"/>
                </a:cubicBezTo>
                <a:lnTo>
                  <a:pt x="419" y="1532"/>
                </a:lnTo>
                <a:close/>
                <a:moveTo>
                  <a:pt x="378" y="1514"/>
                </a:moveTo>
                <a:lnTo>
                  <a:pt x="368" y="1524"/>
                </a:lnTo>
                <a:cubicBezTo>
                  <a:pt x="365" y="1527"/>
                  <a:pt x="362" y="1531"/>
                  <a:pt x="360" y="1534"/>
                </a:cubicBezTo>
                <a:cubicBezTo>
                  <a:pt x="359" y="1536"/>
                  <a:pt x="357" y="1539"/>
                  <a:pt x="357" y="1542"/>
                </a:cubicBezTo>
                <a:cubicBezTo>
                  <a:pt x="356" y="1545"/>
                  <a:pt x="357" y="1547"/>
                  <a:pt x="357" y="1549"/>
                </a:cubicBezTo>
                <a:cubicBezTo>
                  <a:pt x="358" y="1552"/>
                  <a:pt x="359" y="1554"/>
                  <a:pt x="361" y="1556"/>
                </a:cubicBezTo>
                <a:cubicBezTo>
                  <a:pt x="365" y="1559"/>
                  <a:pt x="368" y="1561"/>
                  <a:pt x="373" y="1560"/>
                </a:cubicBezTo>
                <a:cubicBezTo>
                  <a:pt x="377" y="1560"/>
                  <a:pt x="381" y="1558"/>
                  <a:pt x="385" y="1554"/>
                </a:cubicBezTo>
                <a:cubicBezTo>
                  <a:pt x="388" y="1551"/>
                  <a:pt x="390" y="1548"/>
                  <a:pt x="391" y="1543"/>
                </a:cubicBezTo>
                <a:cubicBezTo>
                  <a:pt x="392" y="1539"/>
                  <a:pt x="392" y="1534"/>
                  <a:pt x="392" y="1528"/>
                </a:cubicBezTo>
                <a:lnTo>
                  <a:pt x="378" y="1514"/>
                </a:lnTo>
                <a:close/>
                <a:moveTo>
                  <a:pt x="494" y="1457"/>
                </a:moveTo>
                <a:cubicBezTo>
                  <a:pt x="495" y="1457"/>
                  <a:pt x="495" y="1458"/>
                  <a:pt x="495" y="1458"/>
                </a:cubicBezTo>
                <a:cubicBezTo>
                  <a:pt x="495" y="1459"/>
                  <a:pt x="495" y="1459"/>
                  <a:pt x="495" y="1460"/>
                </a:cubicBezTo>
                <a:cubicBezTo>
                  <a:pt x="494" y="1460"/>
                  <a:pt x="494" y="1461"/>
                  <a:pt x="493" y="1462"/>
                </a:cubicBezTo>
                <a:cubicBezTo>
                  <a:pt x="493" y="1463"/>
                  <a:pt x="492" y="1464"/>
                  <a:pt x="491" y="1465"/>
                </a:cubicBezTo>
                <a:cubicBezTo>
                  <a:pt x="489" y="1466"/>
                  <a:pt x="488" y="1467"/>
                  <a:pt x="488" y="1468"/>
                </a:cubicBezTo>
                <a:cubicBezTo>
                  <a:pt x="487" y="1468"/>
                  <a:pt x="486" y="1469"/>
                  <a:pt x="485" y="1469"/>
                </a:cubicBezTo>
                <a:cubicBezTo>
                  <a:pt x="485" y="1469"/>
                  <a:pt x="484" y="1470"/>
                  <a:pt x="484" y="1469"/>
                </a:cubicBezTo>
                <a:cubicBezTo>
                  <a:pt x="483" y="1469"/>
                  <a:pt x="483" y="1469"/>
                  <a:pt x="482" y="1469"/>
                </a:cubicBezTo>
                <a:lnTo>
                  <a:pt x="445" y="1431"/>
                </a:lnTo>
                <a:cubicBezTo>
                  <a:pt x="441" y="1427"/>
                  <a:pt x="438" y="1425"/>
                  <a:pt x="435" y="1423"/>
                </a:cubicBezTo>
                <a:cubicBezTo>
                  <a:pt x="432" y="1421"/>
                  <a:pt x="429" y="1420"/>
                  <a:pt x="426" y="1420"/>
                </a:cubicBezTo>
                <a:cubicBezTo>
                  <a:pt x="424" y="1419"/>
                  <a:pt x="421" y="1419"/>
                  <a:pt x="418" y="1420"/>
                </a:cubicBezTo>
                <a:cubicBezTo>
                  <a:pt x="416" y="1421"/>
                  <a:pt x="413" y="1423"/>
                  <a:pt x="411" y="1425"/>
                </a:cubicBezTo>
                <a:cubicBezTo>
                  <a:pt x="408" y="1428"/>
                  <a:pt x="406" y="1432"/>
                  <a:pt x="405" y="1437"/>
                </a:cubicBezTo>
                <a:cubicBezTo>
                  <a:pt x="404" y="1442"/>
                  <a:pt x="404" y="1448"/>
                  <a:pt x="405" y="1456"/>
                </a:cubicBezTo>
                <a:lnTo>
                  <a:pt x="450" y="1501"/>
                </a:lnTo>
                <a:cubicBezTo>
                  <a:pt x="451" y="1501"/>
                  <a:pt x="451" y="1502"/>
                  <a:pt x="451" y="1502"/>
                </a:cubicBezTo>
                <a:cubicBezTo>
                  <a:pt x="451" y="1502"/>
                  <a:pt x="451" y="1503"/>
                  <a:pt x="451" y="1504"/>
                </a:cubicBezTo>
                <a:cubicBezTo>
                  <a:pt x="451" y="1504"/>
                  <a:pt x="450" y="1505"/>
                  <a:pt x="450" y="1506"/>
                </a:cubicBezTo>
                <a:cubicBezTo>
                  <a:pt x="449" y="1507"/>
                  <a:pt x="448" y="1508"/>
                  <a:pt x="447" y="1509"/>
                </a:cubicBezTo>
                <a:cubicBezTo>
                  <a:pt x="446" y="1510"/>
                  <a:pt x="445" y="1511"/>
                  <a:pt x="444" y="1512"/>
                </a:cubicBezTo>
                <a:cubicBezTo>
                  <a:pt x="443" y="1512"/>
                  <a:pt x="442" y="1513"/>
                  <a:pt x="441" y="1513"/>
                </a:cubicBezTo>
                <a:cubicBezTo>
                  <a:pt x="441" y="1513"/>
                  <a:pt x="440" y="1513"/>
                  <a:pt x="440" y="1513"/>
                </a:cubicBezTo>
                <a:cubicBezTo>
                  <a:pt x="439" y="1513"/>
                  <a:pt x="439" y="1513"/>
                  <a:pt x="439" y="1513"/>
                </a:cubicBezTo>
                <a:lnTo>
                  <a:pt x="374" y="1448"/>
                </a:lnTo>
                <a:cubicBezTo>
                  <a:pt x="374" y="1448"/>
                  <a:pt x="373" y="1447"/>
                  <a:pt x="373" y="1447"/>
                </a:cubicBezTo>
                <a:cubicBezTo>
                  <a:pt x="373" y="1446"/>
                  <a:pt x="373" y="1446"/>
                  <a:pt x="373" y="1445"/>
                </a:cubicBezTo>
                <a:cubicBezTo>
                  <a:pt x="374" y="1445"/>
                  <a:pt x="374" y="1444"/>
                  <a:pt x="375" y="1443"/>
                </a:cubicBezTo>
                <a:cubicBezTo>
                  <a:pt x="375" y="1442"/>
                  <a:pt x="376" y="1441"/>
                  <a:pt x="377" y="1440"/>
                </a:cubicBezTo>
                <a:cubicBezTo>
                  <a:pt x="378" y="1439"/>
                  <a:pt x="379" y="1438"/>
                  <a:pt x="380" y="1438"/>
                </a:cubicBezTo>
                <a:cubicBezTo>
                  <a:pt x="381" y="1437"/>
                  <a:pt x="381" y="1437"/>
                  <a:pt x="382" y="1437"/>
                </a:cubicBezTo>
                <a:cubicBezTo>
                  <a:pt x="383" y="1436"/>
                  <a:pt x="383" y="1436"/>
                  <a:pt x="383" y="1437"/>
                </a:cubicBezTo>
                <a:cubicBezTo>
                  <a:pt x="384" y="1437"/>
                  <a:pt x="384" y="1437"/>
                  <a:pt x="385" y="1437"/>
                </a:cubicBezTo>
                <a:lnTo>
                  <a:pt x="393" y="1446"/>
                </a:lnTo>
                <a:cubicBezTo>
                  <a:pt x="393" y="1438"/>
                  <a:pt x="393" y="1431"/>
                  <a:pt x="395" y="1426"/>
                </a:cubicBezTo>
                <a:cubicBezTo>
                  <a:pt x="397" y="1420"/>
                  <a:pt x="400" y="1416"/>
                  <a:pt x="403" y="1412"/>
                </a:cubicBezTo>
                <a:cubicBezTo>
                  <a:pt x="408" y="1408"/>
                  <a:pt x="412" y="1405"/>
                  <a:pt x="416" y="1403"/>
                </a:cubicBezTo>
                <a:cubicBezTo>
                  <a:pt x="421" y="1402"/>
                  <a:pt x="425" y="1402"/>
                  <a:pt x="429" y="1402"/>
                </a:cubicBezTo>
                <a:cubicBezTo>
                  <a:pt x="434" y="1403"/>
                  <a:pt x="438" y="1404"/>
                  <a:pt x="442" y="1407"/>
                </a:cubicBezTo>
                <a:cubicBezTo>
                  <a:pt x="446" y="1409"/>
                  <a:pt x="450" y="1413"/>
                  <a:pt x="455" y="1417"/>
                </a:cubicBezTo>
                <a:lnTo>
                  <a:pt x="494" y="1457"/>
                </a:lnTo>
                <a:close/>
                <a:moveTo>
                  <a:pt x="573" y="1378"/>
                </a:moveTo>
                <a:cubicBezTo>
                  <a:pt x="574" y="1378"/>
                  <a:pt x="574" y="1379"/>
                  <a:pt x="574" y="1379"/>
                </a:cubicBezTo>
                <a:cubicBezTo>
                  <a:pt x="574" y="1380"/>
                  <a:pt x="574" y="1380"/>
                  <a:pt x="574" y="1381"/>
                </a:cubicBezTo>
                <a:cubicBezTo>
                  <a:pt x="574" y="1381"/>
                  <a:pt x="573" y="1382"/>
                  <a:pt x="573" y="1383"/>
                </a:cubicBezTo>
                <a:cubicBezTo>
                  <a:pt x="572" y="1384"/>
                  <a:pt x="571" y="1384"/>
                  <a:pt x="570" y="1385"/>
                </a:cubicBezTo>
                <a:cubicBezTo>
                  <a:pt x="569" y="1386"/>
                  <a:pt x="568" y="1387"/>
                  <a:pt x="568" y="1388"/>
                </a:cubicBezTo>
                <a:cubicBezTo>
                  <a:pt x="567" y="1388"/>
                  <a:pt x="566" y="1389"/>
                  <a:pt x="566" y="1389"/>
                </a:cubicBezTo>
                <a:cubicBezTo>
                  <a:pt x="565" y="1389"/>
                  <a:pt x="564" y="1389"/>
                  <a:pt x="564" y="1389"/>
                </a:cubicBezTo>
                <a:cubicBezTo>
                  <a:pt x="563" y="1389"/>
                  <a:pt x="563" y="1389"/>
                  <a:pt x="563" y="1389"/>
                </a:cubicBezTo>
                <a:lnTo>
                  <a:pt x="554" y="1380"/>
                </a:lnTo>
                <a:cubicBezTo>
                  <a:pt x="554" y="1387"/>
                  <a:pt x="554" y="1394"/>
                  <a:pt x="552" y="1399"/>
                </a:cubicBezTo>
                <a:cubicBezTo>
                  <a:pt x="550" y="1405"/>
                  <a:pt x="548" y="1410"/>
                  <a:pt x="543" y="1414"/>
                </a:cubicBezTo>
                <a:cubicBezTo>
                  <a:pt x="538" y="1419"/>
                  <a:pt x="533" y="1422"/>
                  <a:pt x="528" y="1424"/>
                </a:cubicBezTo>
                <a:cubicBezTo>
                  <a:pt x="523" y="1425"/>
                  <a:pt x="518" y="1425"/>
                  <a:pt x="513" y="1424"/>
                </a:cubicBezTo>
                <a:cubicBezTo>
                  <a:pt x="507" y="1423"/>
                  <a:pt x="502" y="1421"/>
                  <a:pt x="497" y="1418"/>
                </a:cubicBezTo>
                <a:cubicBezTo>
                  <a:pt x="492" y="1415"/>
                  <a:pt x="487" y="1411"/>
                  <a:pt x="482" y="1406"/>
                </a:cubicBezTo>
                <a:cubicBezTo>
                  <a:pt x="477" y="1400"/>
                  <a:pt x="472" y="1395"/>
                  <a:pt x="469" y="1389"/>
                </a:cubicBezTo>
                <a:cubicBezTo>
                  <a:pt x="466" y="1383"/>
                  <a:pt x="464" y="1378"/>
                  <a:pt x="463" y="1372"/>
                </a:cubicBezTo>
                <a:cubicBezTo>
                  <a:pt x="462" y="1367"/>
                  <a:pt x="462" y="1361"/>
                  <a:pt x="464" y="1356"/>
                </a:cubicBezTo>
                <a:cubicBezTo>
                  <a:pt x="466" y="1351"/>
                  <a:pt x="469" y="1346"/>
                  <a:pt x="474" y="1342"/>
                </a:cubicBezTo>
                <a:cubicBezTo>
                  <a:pt x="477" y="1338"/>
                  <a:pt x="482" y="1335"/>
                  <a:pt x="487" y="1334"/>
                </a:cubicBezTo>
                <a:cubicBezTo>
                  <a:pt x="491" y="1332"/>
                  <a:pt x="497" y="1332"/>
                  <a:pt x="503" y="1332"/>
                </a:cubicBezTo>
                <a:lnTo>
                  <a:pt x="466" y="1294"/>
                </a:lnTo>
                <a:cubicBezTo>
                  <a:pt x="465" y="1294"/>
                  <a:pt x="465" y="1294"/>
                  <a:pt x="465" y="1293"/>
                </a:cubicBezTo>
                <a:cubicBezTo>
                  <a:pt x="465" y="1293"/>
                  <a:pt x="465" y="1292"/>
                  <a:pt x="465" y="1291"/>
                </a:cubicBezTo>
                <a:cubicBezTo>
                  <a:pt x="465" y="1291"/>
                  <a:pt x="466" y="1290"/>
                  <a:pt x="467" y="1289"/>
                </a:cubicBezTo>
                <a:cubicBezTo>
                  <a:pt x="467" y="1288"/>
                  <a:pt x="468" y="1287"/>
                  <a:pt x="469" y="1286"/>
                </a:cubicBezTo>
                <a:cubicBezTo>
                  <a:pt x="470" y="1285"/>
                  <a:pt x="471" y="1284"/>
                  <a:pt x="472" y="1283"/>
                </a:cubicBezTo>
                <a:cubicBezTo>
                  <a:pt x="473" y="1283"/>
                  <a:pt x="474" y="1282"/>
                  <a:pt x="475" y="1282"/>
                </a:cubicBezTo>
                <a:cubicBezTo>
                  <a:pt x="475" y="1282"/>
                  <a:pt x="476" y="1282"/>
                  <a:pt x="476" y="1282"/>
                </a:cubicBezTo>
                <a:cubicBezTo>
                  <a:pt x="477" y="1282"/>
                  <a:pt x="477" y="1282"/>
                  <a:pt x="478" y="1282"/>
                </a:cubicBezTo>
                <a:lnTo>
                  <a:pt x="573" y="1378"/>
                </a:lnTo>
                <a:close/>
                <a:moveTo>
                  <a:pt x="516" y="1344"/>
                </a:moveTo>
                <a:cubicBezTo>
                  <a:pt x="509" y="1344"/>
                  <a:pt x="502" y="1344"/>
                  <a:pt x="497" y="1345"/>
                </a:cubicBezTo>
                <a:cubicBezTo>
                  <a:pt x="492" y="1346"/>
                  <a:pt x="488" y="1348"/>
                  <a:pt x="485" y="1351"/>
                </a:cubicBezTo>
                <a:cubicBezTo>
                  <a:pt x="482" y="1354"/>
                  <a:pt x="480" y="1357"/>
                  <a:pt x="479" y="1361"/>
                </a:cubicBezTo>
                <a:cubicBezTo>
                  <a:pt x="479" y="1364"/>
                  <a:pt x="479" y="1368"/>
                  <a:pt x="480" y="1372"/>
                </a:cubicBezTo>
                <a:cubicBezTo>
                  <a:pt x="481" y="1375"/>
                  <a:pt x="483" y="1379"/>
                  <a:pt x="485" y="1382"/>
                </a:cubicBezTo>
                <a:cubicBezTo>
                  <a:pt x="487" y="1386"/>
                  <a:pt x="490" y="1389"/>
                  <a:pt x="493" y="1392"/>
                </a:cubicBezTo>
                <a:cubicBezTo>
                  <a:pt x="496" y="1396"/>
                  <a:pt x="500" y="1399"/>
                  <a:pt x="503" y="1401"/>
                </a:cubicBezTo>
                <a:cubicBezTo>
                  <a:pt x="507" y="1404"/>
                  <a:pt x="511" y="1406"/>
                  <a:pt x="514" y="1407"/>
                </a:cubicBezTo>
                <a:cubicBezTo>
                  <a:pt x="518" y="1408"/>
                  <a:pt x="522" y="1408"/>
                  <a:pt x="525" y="1408"/>
                </a:cubicBezTo>
                <a:cubicBezTo>
                  <a:pt x="529" y="1407"/>
                  <a:pt x="532" y="1405"/>
                  <a:pt x="535" y="1402"/>
                </a:cubicBezTo>
                <a:cubicBezTo>
                  <a:pt x="537" y="1401"/>
                  <a:pt x="538" y="1399"/>
                  <a:pt x="539" y="1397"/>
                </a:cubicBezTo>
                <a:cubicBezTo>
                  <a:pt x="540" y="1395"/>
                  <a:pt x="541" y="1393"/>
                  <a:pt x="541" y="1390"/>
                </a:cubicBezTo>
                <a:cubicBezTo>
                  <a:pt x="542" y="1388"/>
                  <a:pt x="542" y="1385"/>
                  <a:pt x="542" y="1382"/>
                </a:cubicBezTo>
                <a:cubicBezTo>
                  <a:pt x="542" y="1378"/>
                  <a:pt x="542" y="1375"/>
                  <a:pt x="542" y="1370"/>
                </a:cubicBezTo>
                <a:lnTo>
                  <a:pt x="516" y="1344"/>
                </a:lnTo>
                <a:close/>
                <a:moveTo>
                  <a:pt x="683" y="1245"/>
                </a:moveTo>
                <a:cubicBezTo>
                  <a:pt x="684" y="1246"/>
                  <a:pt x="684" y="1247"/>
                  <a:pt x="685" y="1248"/>
                </a:cubicBezTo>
                <a:cubicBezTo>
                  <a:pt x="685" y="1248"/>
                  <a:pt x="686" y="1249"/>
                  <a:pt x="686" y="1249"/>
                </a:cubicBezTo>
                <a:cubicBezTo>
                  <a:pt x="687" y="1250"/>
                  <a:pt x="687" y="1250"/>
                  <a:pt x="687" y="1251"/>
                </a:cubicBezTo>
                <a:cubicBezTo>
                  <a:pt x="687" y="1251"/>
                  <a:pt x="687" y="1252"/>
                  <a:pt x="687" y="1253"/>
                </a:cubicBezTo>
                <a:cubicBezTo>
                  <a:pt x="687" y="1254"/>
                  <a:pt x="687" y="1256"/>
                  <a:pt x="686" y="1258"/>
                </a:cubicBezTo>
                <a:cubicBezTo>
                  <a:pt x="686" y="1261"/>
                  <a:pt x="685" y="1264"/>
                  <a:pt x="683" y="1267"/>
                </a:cubicBezTo>
                <a:cubicBezTo>
                  <a:pt x="682" y="1270"/>
                  <a:pt x="680" y="1274"/>
                  <a:pt x="678" y="1277"/>
                </a:cubicBezTo>
                <a:cubicBezTo>
                  <a:pt x="676" y="1281"/>
                  <a:pt x="673" y="1284"/>
                  <a:pt x="669" y="1288"/>
                </a:cubicBezTo>
                <a:cubicBezTo>
                  <a:pt x="663" y="1294"/>
                  <a:pt x="657" y="1298"/>
                  <a:pt x="650" y="1301"/>
                </a:cubicBezTo>
                <a:cubicBezTo>
                  <a:pt x="643" y="1304"/>
                  <a:pt x="636" y="1305"/>
                  <a:pt x="629" y="1305"/>
                </a:cubicBezTo>
                <a:cubicBezTo>
                  <a:pt x="621" y="1304"/>
                  <a:pt x="614" y="1302"/>
                  <a:pt x="606" y="1298"/>
                </a:cubicBezTo>
                <a:cubicBezTo>
                  <a:pt x="599" y="1294"/>
                  <a:pt x="591" y="1288"/>
                  <a:pt x="583" y="1281"/>
                </a:cubicBezTo>
                <a:cubicBezTo>
                  <a:pt x="576" y="1273"/>
                  <a:pt x="570" y="1265"/>
                  <a:pt x="566" y="1257"/>
                </a:cubicBezTo>
                <a:cubicBezTo>
                  <a:pt x="562" y="1249"/>
                  <a:pt x="559" y="1241"/>
                  <a:pt x="559" y="1234"/>
                </a:cubicBezTo>
                <a:cubicBezTo>
                  <a:pt x="558" y="1226"/>
                  <a:pt x="559" y="1218"/>
                  <a:pt x="562" y="1211"/>
                </a:cubicBezTo>
                <a:cubicBezTo>
                  <a:pt x="565" y="1204"/>
                  <a:pt x="569" y="1197"/>
                  <a:pt x="575" y="1191"/>
                </a:cubicBezTo>
                <a:cubicBezTo>
                  <a:pt x="578" y="1188"/>
                  <a:pt x="581" y="1186"/>
                  <a:pt x="584" y="1184"/>
                </a:cubicBezTo>
                <a:cubicBezTo>
                  <a:pt x="587" y="1182"/>
                  <a:pt x="590" y="1180"/>
                  <a:pt x="593" y="1179"/>
                </a:cubicBezTo>
                <a:cubicBezTo>
                  <a:pt x="596" y="1178"/>
                  <a:pt x="599" y="1176"/>
                  <a:pt x="601" y="1176"/>
                </a:cubicBezTo>
                <a:cubicBezTo>
                  <a:pt x="604" y="1175"/>
                  <a:pt x="606" y="1175"/>
                  <a:pt x="607" y="1175"/>
                </a:cubicBezTo>
                <a:cubicBezTo>
                  <a:pt x="609" y="1175"/>
                  <a:pt x="610" y="1175"/>
                  <a:pt x="610" y="1175"/>
                </a:cubicBezTo>
                <a:cubicBezTo>
                  <a:pt x="611" y="1175"/>
                  <a:pt x="611" y="1175"/>
                  <a:pt x="612" y="1176"/>
                </a:cubicBezTo>
                <a:cubicBezTo>
                  <a:pt x="612" y="1176"/>
                  <a:pt x="613" y="1177"/>
                  <a:pt x="614" y="1177"/>
                </a:cubicBezTo>
                <a:cubicBezTo>
                  <a:pt x="614" y="1178"/>
                  <a:pt x="615" y="1178"/>
                  <a:pt x="616" y="1179"/>
                </a:cubicBezTo>
                <a:cubicBezTo>
                  <a:pt x="617" y="1180"/>
                  <a:pt x="618" y="1181"/>
                  <a:pt x="618" y="1182"/>
                </a:cubicBezTo>
                <a:cubicBezTo>
                  <a:pt x="619" y="1183"/>
                  <a:pt x="619" y="1183"/>
                  <a:pt x="620" y="1184"/>
                </a:cubicBezTo>
                <a:cubicBezTo>
                  <a:pt x="620" y="1185"/>
                  <a:pt x="620" y="1185"/>
                  <a:pt x="620" y="1186"/>
                </a:cubicBezTo>
                <a:cubicBezTo>
                  <a:pt x="620" y="1186"/>
                  <a:pt x="620" y="1186"/>
                  <a:pt x="619" y="1187"/>
                </a:cubicBezTo>
                <a:cubicBezTo>
                  <a:pt x="619" y="1188"/>
                  <a:pt x="617" y="1188"/>
                  <a:pt x="615" y="1188"/>
                </a:cubicBezTo>
                <a:cubicBezTo>
                  <a:pt x="613" y="1189"/>
                  <a:pt x="610" y="1189"/>
                  <a:pt x="607" y="1190"/>
                </a:cubicBezTo>
                <a:cubicBezTo>
                  <a:pt x="604" y="1191"/>
                  <a:pt x="601" y="1192"/>
                  <a:pt x="597" y="1194"/>
                </a:cubicBezTo>
                <a:cubicBezTo>
                  <a:pt x="594" y="1195"/>
                  <a:pt x="590" y="1198"/>
                  <a:pt x="586" y="1202"/>
                </a:cubicBezTo>
                <a:cubicBezTo>
                  <a:pt x="582" y="1206"/>
                  <a:pt x="579" y="1211"/>
                  <a:pt x="577" y="1216"/>
                </a:cubicBezTo>
                <a:cubicBezTo>
                  <a:pt x="575" y="1221"/>
                  <a:pt x="575" y="1226"/>
                  <a:pt x="576" y="1232"/>
                </a:cubicBezTo>
                <a:cubicBezTo>
                  <a:pt x="577" y="1237"/>
                  <a:pt x="579" y="1243"/>
                  <a:pt x="582" y="1249"/>
                </a:cubicBezTo>
                <a:cubicBezTo>
                  <a:pt x="585" y="1255"/>
                  <a:pt x="590" y="1261"/>
                  <a:pt x="596" y="1267"/>
                </a:cubicBezTo>
                <a:cubicBezTo>
                  <a:pt x="602" y="1273"/>
                  <a:pt x="608" y="1277"/>
                  <a:pt x="613" y="1281"/>
                </a:cubicBezTo>
                <a:cubicBezTo>
                  <a:pt x="619" y="1284"/>
                  <a:pt x="625" y="1286"/>
                  <a:pt x="630" y="1287"/>
                </a:cubicBezTo>
                <a:cubicBezTo>
                  <a:pt x="636" y="1287"/>
                  <a:pt x="641" y="1287"/>
                  <a:pt x="646" y="1285"/>
                </a:cubicBezTo>
                <a:cubicBezTo>
                  <a:pt x="651" y="1283"/>
                  <a:pt x="656" y="1280"/>
                  <a:pt x="660" y="1275"/>
                </a:cubicBezTo>
                <a:cubicBezTo>
                  <a:pt x="664" y="1272"/>
                  <a:pt x="666" y="1268"/>
                  <a:pt x="668" y="1264"/>
                </a:cubicBezTo>
                <a:cubicBezTo>
                  <a:pt x="670" y="1261"/>
                  <a:pt x="671" y="1257"/>
                  <a:pt x="672" y="1254"/>
                </a:cubicBezTo>
                <a:cubicBezTo>
                  <a:pt x="673" y="1251"/>
                  <a:pt x="674" y="1248"/>
                  <a:pt x="674" y="1246"/>
                </a:cubicBezTo>
                <a:cubicBezTo>
                  <a:pt x="674" y="1244"/>
                  <a:pt x="675" y="1243"/>
                  <a:pt x="676" y="1242"/>
                </a:cubicBezTo>
                <a:cubicBezTo>
                  <a:pt x="676" y="1242"/>
                  <a:pt x="676" y="1241"/>
                  <a:pt x="677" y="1241"/>
                </a:cubicBezTo>
                <a:cubicBezTo>
                  <a:pt x="677" y="1241"/>
                  <a:pt x="678" y="1241"/>
                  <a:pt x="678" y="1241"/>
                </a:cubicBezTo>
                <a:cubicBezTo>
                  <a:pt x="679" y="1242"/>
                  <a:pt x="679" y="1242"/>
                  <a:pt x="680" y="1243"/>
                </a:cubicBezTo>
                <a:cubicBezTo>
                  <a:pt x="681" y="1243"/>
                  <a:pt x="682" y="1244"/>
                  <a:pt x="683" y="1245"/>
                </a:cubicBezTo>
                <a:close/>
                <a:moveTo>
                  <a:pt x="766" y="1185"/>
                </a:moveTo>
                <a:cubicBezTo>
                  <a:pt x="766" y="1186"/>
                  <a:pt x="766" y="1186"/>
                  <a:pt x="766" y="1187"/>
                </a:cubicBezTo>
                <a:cubicBezTo>
                  <a:pt x="767" y="1187"/>
                  <a:pt x="766" y="1188"/>
                  <a:pt x="766" y="1188"/>
                </a:cubicBezTo>
                <a:cubicBezTo>
                  <a:pt x="766" y="1189"/>
                  <a:pt x="766" y="1190"/>
                  <a:pt x="765" y="1190"/>
                </a:cubicBezTo>
                <a:cubicBezTo>
                  <a:pt x="764" y="1191"/>
                  <a:pt x="763" y="1192"/>
                  <a:pt x="762" y="1193"/>
                </a:cubicBezTo>
                <a:cubicBezTo>
                  <a:pt x="761" y="1195"/>
                  <a:pt x="760" y="1196"/>
                  <a:pt x="759" y="1196"/>
                </a:cubicBezTo>
                <a:cubicBezTo>
                  <a:pt x="758" y="1197"/>
                  <a:pt x="757" y="1197"/>
                  <a:pt x="757" y="1198"/>
                </a:cubicBezTo>
                <a:cubicBezTo>
                  <a:pt x="756" y="1198"/>
                  <a:pt x="756" y="1198"/>
                  <a:pt x="755" y="1198"/>
                </a:cubicBezTo>
                <a:cubicBezTo>
                  <a:pt x="755" y="1198"/>
                  <a:pt x="754" y="1198"/>
                  <a:pt x="754" y="1197"/>
                </a:cubicBezTo>
                <a:lnTo>
                  <a:pt x="716" y="1159"/>
                </a:lnTo>
                <a:cubicBezTo>
                  <a:pt x="712" y="1156"/>
                  <a:pt x="709" y="1153"/>
                  <a:pt x="706" y="1151"/>
                </a:cubicBezTo>
                <a:cubicBezTo>
                  <a:pt x="704" y="1150"/>
                  <a:pt x="701" y="1149"/>
                  <a:pt x="698" y="1148"/>
                </a:cubicBezTo>
                <a:cubicBezTo>
                  <a:pt x="695" y="1148"/>
                  <a:pt x="693" y="1148"/>
                  <a:pt x="690" y="1149"/>
                </a:cubicBezTo>
                <a:cubicBezTo>
                  <a:pt x="687" y="1149"/>
                  <a:pt x="685" y="1151"/>
                  <a:pt x="683" y="1153"/>
                </a:cubicBezTo>
                <a:cubicBezTo>
                  <a:pt x="680" y="1156"/>
                  <a:pt x="678" y="1160"/>
                  <a:pt x="677" y="1165"/>
                </a:cubicBezTo>
                <a:cubicBezTo>
                  <a:pt x="676" y="1170"/>
                  <a:pt x="676" y="1177"/>
                  <a:pt x="677" y="1184"/>
                </a:cubicBezTo>
                <a:lnTo>
                  <a:pt x="722" y="1229"/>
                </a:lnTo>
                <a:cubicBezTo>
                  <a:pt x="722" y="1230"/>
                  <a:pt x="723" y="1230"/>
                  <a:pt x="723" y="1230"/>
                </a:cubicBezTo>
                <a:cubicBezTo>
                  <a:pt x="723" y="1231"/>
                  <a:pt x="723" y="1231"/>
                  <a:pt x="722" y="1232"/>
                </a:cubicBezTo>
                <a:cubicBezTo>
                  <a:pt x="722" y="1233"/>
                  <a:pt x="722" y="1233"/>
                  <a:pt x="721" y="1234"/>
                </a:cubicBezTo>
                <a:cubicBezTo>
                  <a:pt x="720" y="1235"/>
                  <a:pt x="719" y="1236"/>
                  <a:pt x="718" y="1237"/>
                </a:cubicBezTo>
                <a:cubicBezTo>
                  <a:pt x="717" y="1239"/>
                  <a:pt x="716" y="1239"/>
                  <a:pt x="715" y="1240"/>
                </a:cubicBezTo>
                <a:cubicBezTo>
                  <a:pt x="714" y="1241"/>
                  <a:pt x="714" y="1241"/>
                  <a:pt x="713" y="1242"/>
                </a:cubicBezTo>
                <a:cubicBezTo>
                  <a:pt x="712" y="1242"/>
                  <a:pt x="712" y="1242"/>
                  <a:pt x="711" y="1242"/>
                </a:cubicBezTo>
                <a:cubicBezTo>
                  <a:pt x="711" y="1242"/>
                  <a:pt x="711" y="1241"/>
                  <a:pt x="710" y="1241"/>
                </a:cubicBezTo>
                <a:lnTo>
                  <a:pt x="614" y="1145"/>
                </a:lnTo>
                <a:cubicBezTo>
                  <a:pt x="614" y="1145"/>
                  <a:pt x="614" y="1144"/>
                  <a:pt x="613" y="1144"/>
                </a:cubicBezTo>
                <a:cubicBezTo>
                  <a:pt x="613" y="1143"/>
                  <a:pt x="613" y="1143"/>
                  <a:pt x="614" y="1142"/>
                </a:cubicBezTo>
                <a:cubicBezTo>
                  <a:pt x="614" y="1142"/>
                  <a:pt x="614" y="1141"/>
                  <a:pt x="615" y="1140"/>
                </a:cubicBezTo>
                <a:cubicBezTo>
                  <a:pt x="616" y="1139"/>
                  <a:pt x="617" y="1138"/>
                  <a:pt x="618" y="1137"/>
                </a:cubicBezTo>
                <a:cubicBezTo>
                  <a:pt x="619" y="1136"/>
                  <a:pt x="620" y="1135"/>
                  <a:pt x="621" y="1134"/>
                </a:cubicBezTo>
                <a:cubicBezTo>
                  <a:pt x="622" y="1133"/>
                  <a:pt x="622" y="1133"/>
                  <a:pt x="623" y="1133"/>
                </a:cubicBezTo>
                <a:cubicBezTo>
                  <a:pt x="624" y="1132"/>
                  <a:pt x="624" y="1132"/>
                  <a:pt x="625" y="1133"/>
                </a:cubicBezTo>
                <a:cubicBezTo>
                  <a:pt x="625" y="1133"/>
                  <a:pt x="626" y="1133"/>
                  <a:pt x="626" y="1133"/>
                </a:cubicBezTo>
                <a:lnTo>
                  <a:pt x="665" y="1172"/>
                </a:lnTo>
                <a:cubicBezTo>
                  <a:pt x="665" y="1165"/>
                  <a:pt x="665" y="1159"/>
                  <a:pt x="667" y="1154"/>
                </a:cubicBezTo>
                <a:cubicBezTo>
                  <a:pt x="669" y="1148"/>
                  <a:pt x="671" y="1144"/>
                  <a:pt x="675" y="1141"/>
                </a:cubicBezTo>
                <a:cubicBezTo>
                  <a:pt x="679" y="1136"/>
                  <a:pt x="683" y="1133"/>
                  <a:pt x="688" y="1132"/>
                </a:cubicBezTo>
                <a:cubicBezTo>
                  <a:pt x="692" y="1130"/>
                  <a:pt x="697" y="1130"/>
                  <a:pt x="701" y="1131"/>
                </a:cubicBezTo>
                <a:cubicBezTo>
                  <a:pt x="705" y="1131"/>
                  <a:pt x="709" y="1133"/>
                  <a:pt x="713" y="1135"/>
                </a:cubicBezTo>
                <a:cubicBezTo>
                  <a:pt x="717" y="1138"/>
                  <a:pt x="722" y="1141"/>
                  <a:pt x="726" y="1146"/>
                </a:cubicBezTo>
                <a:lnTo>
                  <a:pt x="766" y="1185"/>
                </a:lnTo>
                <a:close/>
                <a:moveTo>
                  <a:pt x="838" y="1113"/>
                </a:moveTo>
                <a:cubicBezTo>
                  <a:pt x="839" y="1114"/>
                  <a:pt x="839" y="1114"/>
                  <a:pt x="839" y="1115"/>
                </a:cubicBezTo>
                <a:cubicBezTo>
                  <a:pt x="839" y="1116"/>
                  <a:pt x="838" y="1117"/>
                  <a:pt x="838" y="1117"/>
                </a:cubicBezTo>
                <a:cubicBezTo>
                  <a:pt x="837" y="1118"/>
                  <a:pt x="836" y="1119"/>
                  <a:pt x="835" y="1120"/>
                </a:cubicBezTo>
                <a:cubicBezTo>
                  <a:pt x="834" y="1122"/>
                  <a:pt x="833" y="1123"/>
                  <a:pt x="832" y="1123"/>
                </a:cubicBezTo>
                <a:cubicBezTo>
                  <a:pt x="831" y="1124"/>
                  <a:pt x="830" y="1124"/>
                  <a:pt x="830" y="1124"/>
                </a:cubicBezTo>
                <a:cubicBezTo>
                  <a:pt x="829" y="1124"/>
                  <a:pt x="828" y="1124"/>
                  <a:pt x="828" y="1123"/>
                </a:cubicBezTo>
                <a:lnTo>
                  <a:pt x="821" y="1117"/>
                </a:lnTo>
                <a:cubicBezTo>
                  <a:pt x="822" y="1123"/>
                  <a:pt x="821" y="1128"/>
                  <a:pt x="819" y="1133"/>
                </a:cubicBezTo>
                <a:cubicBezTo>
                  <a:pt x="817" y="1139"/>
                  <a:pt x="814" y="1143"/>
                  <a:pt x="811" y="1147"/>
                </a:cubicBezTo>
                <a:cubicBezTo>
                  <a:pt x="807" y="1150"/>
                  <a:pt x="804" y="1153"/>
                  <a:pt x="800" y="1155"/>
                </a:cubicBezTo>
                <a:cubicBezTo>
                  <a:pt x="796" y="1157"/>
                  <a:pt x="793" y="1158"/>
                  <a:pt x="789" y="1158"/>
                </a:cubicBezTo>
                <a:cubicBezTo>
                  <a:pt x="785" y="1158"/>
                  <a:pt x="782" y="1158"/>
                  <a:pt x="778" y="1156"/>
                </a:cubicBezTo>
                <a:cubicBezTo>
                  <a:pt x="775" y="1155"/>
                  <a:pt x="772" y="1153"/>
                  <a:pt x="768" y="1150"/>
                </a:cubicBezTo>
                <a:cubicBezTo>
                  <a:pt x="765" y="1146"/>
                  <a:pt x="762" y="1142"/>
                  <a:pt x="761" y="1138"/>
                </a:cubicBezTo>
                <a:cubicBezTo>
                  <a:pt x="760" y="1134"/>
                  <a:pt x="760" y="1129"/>
                  <a:pt x="761" y="1125"/>
                </a:cubicBezTo>
                <a:cubicBezTo>
                  <a:pt x="762" y="1120"/>
                  <a:pt x="764" y="1116"/>
                  <a:pt x="767" y="1111"/>
                </a:cubicBezTo>
                <a:cubicBezTo>
                  <a:pt x="770" y="1106"/>
                  <a:pt x="774" y="1101"/>
                  <a:pt x="779" y="1096"/>
                </a:cubicBezTo>
                <a:lnTo>
                  <a:pt x="788" y="1087"/>
                </a:lnTo>
                <a:lnTo>
                  <a:pt x="783" y="1082"/>
                </a:lnTo>
                <a:cubicBezTo>
                  <a:pt x="781" y="1079"/>
                  <a:pt x="778" y="1077"/>
                  <a:pt x="776" y="1076"/>
                </a:cubicBezTo>
                <a:cubicBezTo>
                  <a:pt x="773" y="1075"/>
                  <a:pt x="771" y="1074"/>
                  <a:pt x="769" y="1074"/>
                </a:cubicBezTo>
                <a:cubicBezTo>
                  <a:pt x="766" y="1074"/>
                  <a:pt x="764" y="1074"/>
                  <a:pt x="761" y="1076"/>
                </a:cubicBezTo>
                <a:cubicBezTo>
                  <a:pt x="759" y="1077"/>
                  <a:pt x="756" y="1079"/>
                  <a:pt x="753" y="1081"/>
                </a:cubicBezTo>
                <a:cubicBezTo>
                  <a:pt x="750" y="1084"/>
                  <a:pt x="748" y="1087"/>
                  <a:pt x="746" y="1090"/>
                </a:cubicBezTo>
                <a:cubicBezTo>
                  <a:pt x="745" y="1093"/>
                  <a:pt x="743" y="1096"/>
                  <a:pt x="743" y="1099"/>
                </a:cubicBezTo>
                <a:cubicBezTo>
                  <a:pt x="742" y="1101"/>
                  <a:pt x="741" y="1104"/>
                  <a:pt x="740" y="1105"/>
                </a:cubicBezTo>
                <a:cubicBezTo>
                  <a:pt x="740" y="1107"/>
                  <a:pt x="739" y="1109"/>
                  <a:pt x="739" y="1109"/>
                </a:cubicBezTo>
                <a:cubicBezTo>
                  <a:pt x="739" y="1110"/>
                  <a:pt x="738" y="1110"/>
                  <a:pt x="738" y="1110"/>
                </a:cubicBezTo>
                <a:cubicBezTo>
                  <a:pt x="737" y="1110"/>
                  <a:pt x="737" y="1110"/>
                  <a:pt x="736" y="1110"/>
                </a:cubicBezTo>
                <a:cubicBezTo>
                  <a:pt x="735" y="1110"/>
                  <a:pt x="735" y="1109"/>
                  <a:pt x="734" y="1109"/>
                </a:cubicBezTo>
                <a:cubicBezTo>
                  <a:pt x="733" y="1108"/>
                  <a:pt x="733" y="1108"/>
                  <a:pt x="732" y="1107"/>
                </a:cubicBezTo>
                <a:cubicBezTo>
                  <a:pt x="731" y="1106"/>
                  <a:pt x="730" y="1105"/>
                  <a:pt x="729" y="1104"/>
                </a:cubicBezTo>
                <a:cubicBezTo>
                  <a:pt x="729" y="1103"/>
                  <a:pt x="729" y="1102"/>
                  <a:pt x="729" y="1101"/>
                </a:cubicBezTo>
                <a:cubicBezTo>
                  <a:pt x="729" y="1099"/>
                  <a:pt x="729" y="1098"/>
                  <a:pt x="730" y="1095"/>
                </a:cubicBezTo>
                <a:cubicBezTo>
                  <a:pt x="730" y="1093"/>
                  <a:pt x="732" y="1090"/>
                  <a:pt x="733" y="1087"/>
                </a:cubicBezTo>
                <a:cubicBezTo>
                  <a:pt x="734" y="1085"/>
                  <a:pt x="736" y="1082"/>
                  <a:pt x="738" y="1079"/>
                </a:cubicBezTo>
                <a:cubicBezTo>
                  <a:pt x="740" y="1076"/>
                  <a:pt x="742" y="1073"/>
                  <a:pt x="745" y="1071"/>
                </a:cubicBezTo>
                <a:cubicBezTo>
                  <a:pt x="749" y="1066"/>
                  <a:pt x="754" y="1063"/>
                  <a:pt x="758" y="1061"/>
                </a:cubicBezTo>
                <a:cubicBezTo>
                  <a:pt x="762" y="1058"/>
                  <a:pt x="767" y="1057"/>
                  <a:pt x="771" y="1057"/>
                </a:cubicBezTo>
                <a:cubicBezTo>
                  <a:pt x="775" y="1057"/>
                  <a:pt x="779" y="1058"/>
                  <a:pt x="783" y="1060"/>
                </a:cubicBezTo>
                <a:cubicBezTo>
                  <a:pt x="787" y="1063"/>
                  <a:pt x="790" y="1066"/>
                  <a:pt x="794" y="1070"/>
                </a:cubicBezTo>
                <a:lnTo>
                  <a:pt x="838" y="1113"/>
                </a:lnTo>
                <a:close/>
                <a:moveTo>
                  <a:pt x="797" y="1095"/>
                </a:moveTo>
                <a:lnTo>
                  <a:pt x="787" y="1106"/>
                </a:lnTo>
                <a:cubicBezTo>
                  <a:pt x="783" y="1109"/>
                  <a:pt x="781" y="1112"/>
                  <a:pt x="779" y="1115"/>
                </a:cubicBezTo>
                <a:cubicBezTo>
                  <a:pt x="777" y="1118"/>
                  <a:pt x="776" y="1121"/>
                  <a:pt x="776" y="1123"/>
                </a:cubicBezTo>
                <a:cubicBezTo>
                  <a:pt x="775" y="1126"/>
                  <a:pt x="775" y="1128"/>
                  <a:pt x="776" y="1131"/>
                </a:cubicBezTo>
                <a:cubicBezTo>
                  <a:pt x="777" y="1133"/>
                  <a:pt x="778" y="1135"/>
                  <a:pt x="780" y="1137"/>
                </a:cubicBezTo>
                <a:cubicBezTo>
                  <a:pt x="783" y="1140"/>
                  <a:pt x="787" y="1142"/>
                  <a:pt x="791" y="1142"/>
                </a:cubicBezTo>
                <a:cubicBezTo>
                  <a:pt x="795" y="1142"/>
                  <a:pt x="799" y="1140"/>
                  <a:pt x="803" y="1136"/>
                </a:cubicBezTo>
                <a:cubicBezTo>
                  <a:pt x="806" y="1133"/>
                  <a:pt x="808" y="1129"/>
                  <a:pt x="809" y="1125"/>
                </a:cubicBezTo>
                <a:cubicBezTo>
                  <a:pt x="810" y="1121"/>
                  <a:pt x="811" y="1115"/>
                  <a:pt x="811" y="1109"/>
                </a:cubicBezTo>
                <a:lnTo>
                  <a:pt x="797" y="1095"/>
                </a:lnTo>
                <a:close/>
                <a:moveTo>
                  <a:pt x="835" y="996"/>
                </a:moveTo>
                <a:cubicBezTo>
                  <a:pt x="836" y="997"/>
                  <a:pt x="837" y="998"/>
                  <a:pt x="837" y="999"/>
                </a:cubicBezTo>
                <a:cubicBezTo>
                  <a:pt x="838" y="999"/>
                  <a:pt x="838" y="1000"/>
                  <a:pt x="839" y="1000"/>
                </a:cubicBezTo>
                <a:cubicBezTo>
                  <a:pt x="839" y="1001"/>
                  <a:pt x="839" y="1002"/>
                  <a:pt x="839" y="1002"/>
                </a:cubicBezTo>
                <a:cubicBezTo>
                  <a:pt x="839" y="1002"/>
                  <a:pt x="839" y="1003"/>
                  <a:pt x="838" y="1003"/>
                </a:cubicBezTo>
                <a:cubicBezTo>
                  <a:pt x="838" y="1004"/>
                  <a:pt x="837" y="1004"/>
                  <a:pt x="837" y="1004"/>
                </a:cubicBezTo>
                <a:cubicBezTo>
                  <a:pt x="836" y="1005"/>
                  <a:pt x="835" y="1005"/>
                  <a:pt x="834" y="1005"/>
                </a:cubicBezTo>
                <a:cubicBezTo>
                  <a:pt x="833" y="1006"/>
                  <a:pt x="832" y="1007"/>
                  <a:pt x="831" y="1007"/>
                </a:cubicBezTo>
                <a:cubicBezTo>
                  <a:pt x="830" y="1008"/>
                  <a:pt x="829" y="1009"/>
                  <a:pt x="828" y="1010"/>
                </a:cubicBezTo>
                <a:cubicBezTo>
                  <a:pt x="827" y="1011"/>
                  <a:pt x="826" y="1012"/>
                  <a:pt x="825" y="1014"/>
                </a:cubicBezTo>
                <a:cubicBezTo>
                  <a:pt x="825" y="1016"/>
                  <a:pt x="824" y="1018"/>
                  <a:pt x="824" y="1020"/>
                </a:cubicBezTo>
                <a:cubicBezTo>
                  <a:pt x="824" y="1022"/>
                  <a:pt x="824" y="1025"/>
                  <a:pt x="824" y="1028"/>
                </a:cubicBezTo>
                <a:cubicBezTo>
                  <a:pt x="825" y="1032"/>
                  <a:pt x="826" y="1035"/>
                  <a:pt x="827" y="1040"/>
                </a:cubicBezTo>
                <a:lnTo>
                  <a:pt x="869" y="1082"/>
                </a:lnTo>
                <a:cubicBezTo>
                  <a:pt x="869" y="1082"/>
                  <a:pt x="870" y="1083"/>
                  <a:pt x="870" y="1083"/>
                </a:cubicBezTo>
                <a:cubicBezTo>
                  <a:pt x="870" y="1084"/>
                  <a:pt x="870" y="1084"/>
                  <a:pt x="869" y="1085"/>
                </a:cubicBezTo>
                <a:cubicBezTo>
                  <a:pt x="869" y="1086"/>
                  <a:pt x="869" y="1086"/>
                  <a:pt x="868" y="1087"/>
                </a:cubicBezTo>
                <a:cubicBezTo>
                  <a:pt x="867" y="1088"/>
                  <a:pt x="867" y="1089"/>
                  <a:pt x="865" y="1090"/>
                </a:cubicBezTo>
                <a:cubicBezTo>
                  <a:pt x="864" y="1091"/>
                  <a:pt x="863" y="1092"/>
                  <a:pt x="862" y="1093"/>
                </a:cubicBezTo>
                <a:cubicBezTo>
                  <a:pt x="861" y="1094"/>
                  <a:pt x="861" y="1094"/>
                  <a:pt x="860" y="1094"/>
                </a:cubicBezTo>
                <a:cubicBezTo>
                  <a:pt x="859" y="1095"/>
                  <a:pt x="859" y="1095"/>
                  <a:pt x="858" y="1095"/>
                </a:cubicBezTo>
                <a:cubicBezTo>
                  <a:pt x="858" y="1095"/>
                  <a:pt x="858" y="1094"/>
                  <a:pt x="857" y="1094"/>
                </a:cubicBezTo>
                <a:lnTo>
                  <a:pt x="793" y="1029"/>
                </a:lnTo>
                <a:cubicBezTo>
                  <a:pt x="792" y="1029"/>
                  <a:pt x="792" y="1029"/>
                  <a:pt x="792" y="1028"/>
                </a:cubicBezTo>
                <a:cubicBezTo>
                  <a:pt x="792" y="1028"/>
                  <a:pt x="792" y="1027"/>
                  <a:pt x="792" y="1027"/>
                </a:cubicBezTo>
                <a:cubicBezTo>
                  <a:pt x="792" y="1026"/>
                  <a:pt x="793" y="1025"/>
                  <a:pt x="793" y="1024"/>
                </a:cubicBezTo>
                <a:cubicBezTo>
                  <a:pt x="794" y="1024"/>
                  <a:pt x="795" y="1023"/>
                  <a:pt x="796" y="1022"/>
                </a:cubicBezTo>
                <a:cubicBezTo>
                  <a:pt x="797" y="1021"/>
                  <a:pt x="798" y="1020"/>
                  <a:pt x="798" y="1019"/>
                </a:cubicBezTo>
                <a:cubicBezTo>
                  <a:pt x="799" y="1019"/>
                  <a:pt x="800" y="1018"/>
                  <a:pt x="801" y="1018"/>
                </a:cubicBezTo>
                <a:cubicBezTo>
                  <a:pt x="801" y="1018"/>
                  <a:pt x="802" y="1018"/>
                  <a:pt x="802" y="1018"/>
                </a:cubicBezTo>
                <a:cubicBezTo>
                  <a:pt x="802" y="1018"/>
                  <a:pt x="803" y="1018"/>
                  <a:pt x="803" y="1019"/>
                </a:cubicBezTo>
                <a:lnTo>
                  <a:pt x="813" y="1028"/>
                </a:lnTo>
                <a:cubicBezTo>
                  <a:pt x="812" y="1024"/>
                  <a:pt x="811" y="1020"/>
                  <a:pt x="811" y="1017"/>
                </a:cubicBezTo>
                <a:cubicBezTo>
                  <a:pt x="811" y="1014"/>
                  <a:pt x="811" y="1011"/>
                  <a:pt x="812" y="1008"/>
                </a:cubicBezTo>
                <a:cubicBezTo>
                  <a:pt x="812" y="1006"/>
                  <a:pt x="813" y="1004"/>
                  <a:pt x="814" y="1002"/>
                </a:cubicBezTo>
                <a:cubicBezTo>
                  <a:pt x="815" y="1001"/>
                  <a:pt x="816" y="999"/>
                  <a:pt x="818" y="998"/>
                </a:cubicBezTo>
                <a:cubicBezTo>
                  <a:pt x="818" y="997"/>
                  <a:pt x="819" y="996"/>
                  <a:pt x="820" y="996"/>
                </a:cubicBezTo>
                <a:cubicBezTo>
                  <a:pt x="821" y="995"/>
                  <a:pt x="822" y="994"/>
                  <a:pt x="823" y="994"/>
                </a:cubicBezTo>
                <a:cubicBezTo>
                  <a:pt x="824" y="993"/>
                  <a:pt x="825" y="992"/>
                  <a:pt x="826" y="992"/>
                </a:cubicBezTo>
                <a:cubicBezTo>
                  <a:pt x="827" y="991"/>
                  <a:pt x="827" y="991"/>
                  <a:pt x="828" y="991"/>
                </a:cubicBezTo>
                <a:cubicBezTo>
                  <a:pt x="829" y="991"/>
                  <a:pt x="829" y="991"/>
                  <a:pt x="829" y="991"/>
                </a:cubicBezTo>
                <a:cubicBezTo>
                  <a:pt x="830" y="991"/>
                  <a:pt x="830" y="992"/>
                  <a:pt x="830" y="992"/>
                </a:cubicBezTo>
                <a:cubicBezTo>
                  <a:pt x="831" y="992"/>
                  <a:pt x="831" y="993"/>
                  <a:pt x="832" y="993"/>
                </a:cubicBezTo>
                <a:cubicBezTo>
                  <a:pt x="833" y="994"/>
                  <a:pt x="833" y="995"/>
                  <a:pt x="835" y="996"/>
                </a:cubicBezTo>
                <a:close/>
                <a:moveTo>
                  <a:pt x="906" y="922"/>
                </a:moveTo>
                <a:cubicBezTo>
                  <a:pt x="908" y="923"/>
                  <a:pt x="909" y="925"/>
                  <a:pt x="909" y="926"/>
                </a:cubicBezTo>
                <a:cubicBezTo>
                  <a:pt x="909" y="927"/>
                  <a:pt x="909" y="928"/>
                  <a:pt x="908" y="929"/>
                </a:cubicBezTo>
                <a:lnTo>
                  <a:pt x="899" y="938"/>
                </a:lnTo>
                <a:cubicBezTo>
                  <a:pt x="903" y="938"/>
                  <a:pt x="906" y="939"/>
                  <a:pt x="908" y="940"/>
                </a:cubicBezTo>
                <a:cubicBezTo>
                  <a:pt x="911" y="942"/>
                  <a:pt x="914" y="944"/>
                  <a:pt x="916" y="946"/>
                </a:cubicBezTo>
                <a:cubicBezTo>
                  <a:pt x="920" y="950"/>
                  <a:pt x="922" y="953"/>
                  <a:pt x="924" y="958"/>
                </a:cubicBezTo>
                <a:cubicBezTo>
                  <a:pt x="926" y="962"/>
                  <a:pt x="926" y="966"/>
                  <a:pt x="926" y="970"/>
                </a:cubicBezTo>
                <a:cubicBezTo>
                  <a:pt x="926" y="974"/>
                  <a:pt x="925" y="978"/>
                  <a:pt x="923" y="982"/>
                </a:cubicBezTo>
                <a:cubicBezTo>
                  <a:pt x="921" y="987"/>
                  <a:pt x="918" y="990"/>
                  <a:pt x="914" y="994"/>
                </a:cubicBezTo>
                <a:cubicBezTo>
                  <a:pt x="912" y="997"/>
                  <a:pt x="909" y="999"/>
                  <a:pt x="906" y="1001"/>
                </a:cubicBezTo>
                <a:cubicBezTo>
                  <a:pt x="903" y="1002"/>
                  <a:pt x="900" y="1003"/>
                  <a:pt x="897" y="1004"/>
                </a:cubicBezTo>
                <a:cubicBezTo>
                  <a:pt x="897" y="1005"/>
                  <a:pt x="898" y="1007"/>
                  <a:pt x="898" y="1009"/>
                </a:cubicBezTo>
                <a:cubicBezTo>
                  <a:pt x="899" y="1010"/>
                  <a:pt x="900" y="1012"/>
                  <a:pt x="901" y="1013"/>
                </a:cubicBezTo>
                <a:cubicBezTo>
                  <a:pt x="903" y="1015"/>
                  <a:pt x="905" y="1016"/>
                  <a:pt x="908" y="1015"/>
                </a:cubicBezTo>
                <a:cubicBezTo>
                  <a:pt x="910" y="1015"/>
                  <a:pt x="913" y="1013"/>
                  <a:pt x="916" y="1011"/>
                </a:cubicBezTo>
                <a:lnTo>
                  <a:pt x="933" y="995"/>
                </a:lnTo>
                <a:cubicBezTo>
                  <a:pt x="937" y="991"/>
                  <a:pt x="940" y="989"/>
                  <a:pt x="944" y="987"/>
                </a:cubicBezTo>
                <a:cubicBezTo>
                  <a:pt x="947" y="985"/>
                  <a:pt x="950" y="984"/>
                  <a:pt x="954" y="983"/>
                </a:cubicBezTo>
                <a:cubicBezTo>
                  <a:pt x="957" y="983"/>
                  <a:pt x="961" y="983"/>
                  <a:pt x="964" y="984"/>
                </a:cubicBezTo>
                <a:cubicBezTo>
                  <a:pt x="967" y="985"/>
                  <a:pt x="970" y="987"/>
                  <a:pt x="973" y="990"/>
                </a:cubicBezTo>
                <a:cubicBezTo>
                  <a:pt x="976" y="993"/>
                  <a:pt x="978" y="996"/>
                  <a:pt x="980" y="1000"/>
                </a:cubicBezTo>
                <a:cubicBezTo>
                  <a:pt x="981" y="1004"/>
                  <a:pt x="981" y="1009"/>
                  <a:pt x="981" y="1013"/>
                </a:cubicBezTo>
                <a:cubicBezTo>
                  <a:pt x="980" y="1018"/>
                  <a:pt x="979" y="1023"/>
                  <a:pt x="976" y="1028"/>
                </a:cubicBezTo>
                <a:cubicBezTo>
                  <a:pt x="973" y="1033"/>
                  <a:pt x="969" y="1038"/>
                  <a:pt x="964" y="1044"/>
                </a:cubicBezTo>
                <a:cubicBezTo>
                  <a:pt x="958" y="1049"/>
                  <a:pt x="954" y="1053"/>
                  <a:pt x="949" y="1056"/>
                </a:cubicBezTo>
                <a:cubicBezTo>
                  <a:pt x="944" y="1058"/>
                  <a:pt x="940" y="1060"/>
                  <a:pt x="936" y="1061"/>
                </a:cubicBezTo>
                <a:cubicBezTo>
                  <a:pt x="932" y="1062"/>
                  <a:pt x="929" y="1062"/>
                  <a:pt x="926" y="1061"/>
                </a:cubicBezTo>
                <a:cubicBezTo>
                  <a:pt x="923" y="1059"/>
                  <a:pt x="920" y="1058"/>
                  <a:pt x="917" y="1055"/>
                </a:cubicBezTo>
                <a:cubicBezTo>
                  <a:pt x="916" y="1054"/>
                  <a:pt x="914" y="1052"/>
                  <a:pt x="913" y="1050"/>
                </a:cubicBezTo>
                <a:cubicBezTo>
                  <a:pt x="912" y="1048"/>
                  <a:pt x="911" y="1046"/>
                  <a:pt x="911" y="1044"/>
                </a:cubicBezTo>
                <a:cubicBezTo>
                  <a:pt x="910" y="1042"/>
                  <a:pt x="910" y="1040"/>
                  <a:pt x="910" y="1037"/>
                </a:cubicBezTo>
                <a:cubicBezTo>
                  <a:pt x="910" y="1035"/>
                  <a:pt x="910" y="1032"/>
                  <a:pt x="910" y="1030"/>
                </a:cubicBezTo>
                <a:cubicBezTo>
                  <a:pt x="907" y="1031"/>
                  <a:pt x="903" y="1031"/>
                  <a:pt x="901" y="1030"/>
                </a:cubicBezTo>
                <a:cubicBezTo>
                  <a:pt x="898" y="1030"/>
                  <a:pt x="895" y="1028"/>
                  <a:pt x="893" y="1026"/>
                </a:cubicBezTo>
                <a:cubicBezTo>
                  <a:pt x="890" y="1023"/>
                  <a:pt x="888" y="1020"/>
                  <a:pt x="887" y="1016"/>
                </a:cubicBezTo>
                <a:cubicBezTo>
                  <a:pt x="886" y="1013"/>
                  <a:pt x="885" y="1009"/>
                  <a:pt x="885" y="1006"/>
                </a:cubicBezTo>
                <a:cubicBezTo>
                  <a:pt x="882" y="1006"/>
                  <a:pt x="879" y="1005"/>
                  <a:pt x="876" y="1003"/>
                </a:cubicBezTo>
                <a:cubicBezTo>
                  <a:pt x="873" y="1002"/>
                  <a:pt x="869" y="1000"/>
                  <a:pt x="866" y="997"/>
                </a:cubicBezTo>
                <a:cubicBezTo>
                  <a:pt x="863" y="993"/>
                  <a:pt x="860" y="989"/>
                  <a:pt x="858" y="985"/>
                </a:cubicBezTo>
                <a:cubicBezTo>
                  <a:pt x="857" y="981"/>
                  <a:pt x="856" y="976"/>
                  <a:pt x="856" y="972"/>
                </a:cubicBezTo>
                <a:cubicBezTo>
                  <a:pt x="856" y="968"/>
                  <a:pt x="857" y="964"/>
                  <a:pt x="859" y="960"/>
                </a:cubicBezTo>
                <a:cubicBezTo>
                  <a:pt x="861" y="955"/>
                  <a:pt x="864" y="952"/>
                  <a:pt x="868" y="948"/>
                </a:cubicBezTo>
                <a:cubicBezTo>
                  <a:pt x="870" y="946"/>
                  <a:pt x="872" y="944"/>
                  <a:pt x="874" y="943"/>
                </a:cubicBezTo>
                <a:cubicBezTo>
                  <a:pt x="876" y="941"/>
                  <a:pt x="877" y="940"/>
                  <a:pt x="879" y="939"/>
                </a:cubicBezTo>
                <a:lnTo>
                  <a:pt x="899" y="919"/>
                </a:lnTo>
                <a:cubicBezTo>
                  <a:pt x="900" y="919"/>
                  <a:pt x="901" y="918"/>
                  <a:pt x="902" y="919"/>
                </a:cubicBezTo>
                <a:cubicBezTo>
                  <a:pt x="903" y="919"/>
                  <a:pt x="904" y="920"/>
                  <a:pt x="906" y="922"/>
                </a:cubicBezTo>
                <a:close/>
                <a:moveTo>
                  <a:pt x="905" y="957"/>
                </a:moveTo>
                <a:cubicBezTo>
                  <a:pt x="900" y="953"/>
                  <a:pt x="896" y="951"/>
                  <a:pt x="891" y="951"/>
                </a:cubicBezTo>
                <a:cubicBezTo>
                  <a:pt x="886" y="951"/>
                  <a:pt x="881" y="953"/>
                  <a:pt x="877" y="957"/>
                </a:cubicBezTo>
                <a:cubicBezTo>
                  <a:pt x="874" y="959"/>
                  <a:pt x="873" y="962"/>
                  <a:pt x="872" y="964"/>
                </a:cubicBezTo>
                <a:cubicBezTo>
                  <a:pt x="871" y="967"/>
                  <a:pt x="871" y="969"/>
                  <a:pt x="871" y="972"/>
                </a:cubicBezTo>
                <a:cubicBezTo>
                  <a:pt x="871" y="974"/>
                  <a:pt x="872" y="977"/>
                  <a:pt x="873" y="979"/>
                </a:cubicBezTo>
                <a:cubicBezTo>
                  <a:pt x="874" y="981"/>
                  <a:pt x="876" y="983"/>
                  <a:pt x="878" y="985"/>
                </a:cubicBezTo>
                <a:cubicBezTo>
                  <a:pt x="882" y="989"/>
                  <a:pt x="886" y="992"/>
                  <a:pt x="891" y="992"/>
                </a:cubicBezTo>
                <a:cubicBezTo>
                  <a:pt x="896" y="992"/>
                  <a:pt x="901" y="989"/>
                  <a:pt x="905" y="985"/>
                </a:cubicBezTo>
                <a:cubicBezTo>
                  <a:pt x="907" y="983"/>
                  <a:pt x="909" y="980"/>
                  <a:pt x="910" y="978"/>
                </a:cubicBezTo>
                <a:cubicBezTo>
                  <a:pt x="911" y="975"/>
                  <a:pt x="911" y="973"/>
                  <a:pt x="911" y="971"/>
                </a:cubicBezTo>
                <a:cubicBezTo>
                  <a:pt x="911" y="968"/>
                  <a:pt x="910" y="966"/>
                  <a:pt x="909" y="963"/>
                </a:cubicBezTo>
                <a:cubicBezTo>
                  <a:pt x="908" y="961"/>
                  <a:pt x="906" y="959"/>
                  <a:pt x="905" y="957"/>
                </a:cubicBezTo>
                <a:close/>
                <a:moveTo>
                  <a:pt x="962" y="1002"/>
                </a:moveTo>
                <a:cubicBezTo>
                  <a:pt x="959" y="1000"/>
                  <a:pt x="956" y="999"/>
                  <a:pt x="952" y="999"/>
                </a:cubicBezTo>
                <a:cubicBezTo>
                  <a:pt x="948" y="1000"/>
                  <a:pt x="944" y="1003"/>
                  <a:pt x="940" y="1006"/>
                </a:cubicBezTo>
                <a:lnTo>
                  <a:pt x="923" y="1022"/>
                </a:lnTo>
                <a:cubicBezTo>
                  <a:pt x="923" y="1025"/>
                  <a:pt x="923" y="1028"/>
                  <a:pt x="923" y="1030"/>
                </a:cubicBezTo>
                <a:cubicBezTo>
                  <a:pt x="923" y="1032"/>
                  <a:pt x="923" y="1033"/>
                  <a:pt x="923" y="1035"/>
                </a:cubicBezTo>
                <a:cubicBezTo>
                  <a:pt x="924" y="1037"/>
                  <a:pt x="924" y="1038"/>
                  <a:pt x="925" y="1039"/>
                </a:cubicBezTo>
                <a:cubicBezTo>
                  <a:pt x="926" y="1040"/>
                  <a:pt x="927" y="1041"/>
                  <a:pt x="928" y="1042"/>
                </a:cubicBezTo>
                <a:cubicBezTo>
                  <a:pt x="931" y="1046"/>
                  <a:pt x="935" y="1046"/>
                  <a:pt x="940" y="1045"/>
                </a:cubicBezTo>
                <a:cubicBezTo>
                  <a:pt x="944" y="1043"/>
                  <a:pt x="949" y="1040"/>
                  <a:pt x="955" y="1034"/>
                </a:cubicBezTo>
                <a:cubicBezTo>
                  <a:pt x="959" y="1030"/>
                  <a:pt x="961" y="1027"/>
                  <a:pt x="963" y="1024"/>
                </a:cubicBezTo>
                <a:cubicBezTo>
                  <a:pt x="965" y="1021"/>
                  <a:pt x="966" y="1018"/>
                  <a:pt x="966" y="1015"/>
                </a:cubicBezTo>
                <a:cubicBezTo>
                  <a:pt x="967" y="1013"/>
                  <a:pt x="966" y="1010"/>
                  <a:pt x="965" y="1008"/>
                </a:cubicBezTo>
                <a:cubicBezTo>
                  <a:pt x="965" y="1006"/>
                  <a:pt x="963" y="1004"/>
                  <a:pt x="962" y="1002"/>
                </a:cubicBezTo>
                <a:close/>
                <a:moveTo>
                  <a:pt x="1002" y="879"/>
                </a:moveTo>
                <a:cubicBezTo>
                  <a:pt x="1004" y="881"/>
                  <a:pt x="1004" y="883"/>
                  <a:pt x="1004" y="885"/>
                </a:cubicBezTo>
                <a:cubicBezTo>
                  <a:pt x="1004" y="886"/>
                  <a:pt x="1003" y="888"/>
                  <a:pt x="1002" y="889"/>
                </a:cubicBezTo>
                <a:lnTo>
                  <a:pt x="960" y="932"/>
                </a:lnTo>
                <a:cubicBezTo>
                  <a:pt x="963" y="935"/>
                  <a:pt x="967" y="938"/>
                  <a:pt x="970" y="940"/>
                </a:cubicBezTo>
                <a:cubicBezTo>
                  <a:pt x="974" y="942"/>
                  <a:pt x="978" y="944"/>
                  <a:pt x="981" y="944"/>
                </a:cubicBezTo>
                <a:cubicBezTo>
                  <a:pt x="985" y="944"/>
                  <a:pt x="989" y="944"/>
                  <a:pt x="993" y="942"/>
                </a:cubicBezTo>
                <a:cubicBezTo>
                  <a:pt x="997" y="941"/>
                  <a:pt x="1000" y="938"/>
                  <a:pt x="1004" y="934"/>
                </a:cubicBezTo>
                <a:cubicBezTo>
                  <a:pt x="1007" y="931"/>
                  <a:pt x="1010" y="928"/>
                  <a:pt x="1012" y="925"/>
                </a:cubicBezTo>
                <a:cubicBezTo>
                  <a:pt x="1014" y="922"/>
                  <a:pt x="1015" y="919"/>
                  <a:pt x="1016" y="917"/>
                </a:cubicBezTo>
                <a:cubicBezTo>
                  <a:pt x="1017" y="915"/>
                  <a:pt x="1018" y="913"/>
                  <a:pt x="1019" y="911"/>
                </a:cubicBezTo>
                <a:cubicBezTo>
                  <a:pt x="1020" y="909"/>
                  <a:pt x="1020" y="908"/>
                  <a:pt x="1021" y="908"/>
                </a:cubicBezTo>
                <a:cubicBezTo>
                  <a:pt x="1021" y="907"/>
                  <a:pt x="1022" y="907"/>
                  <a:pt x="1022" y="907"/>
                </a:cubicBezTo>
                <a:cubicBezTo>
                  <a:pt x="1022" y="907"/>
                  <a:pt x="1023" y="907"/>
                  <a:pt x="1023" y="907"/>
                </a:cubicBezTo>
                <a:cubicBezTo>
                  <a:pt x="1024" y="907"/>
                  <a:pt x="1024" y="908"/>
                  <a:pt x="1025" y="908"/>
                </a:cubicBezTo>
                <a:cubicBezTo>
                  <a:pt x="1026" y="909"/>
                  <a:pt x="1026" y="909"/>
                  <a:pt x="1027" y="910"/>
                </a:cubicBezTo>
                <a:cubicBezTo>
                  <a:pt x="1028" y="911"/>
                  <a:pt x="1028" y="912"/>
                  <a:pt x="1029" y="912"/>
                </a:cubicBezTo>
                <a:cubicBezTo>
                  <a:pt x="1029" y="913"/>
                  <a:pt x="1030" y="913"/>
                  <a:pt x="1030" y="913"/>
                </a:cubicBezTo>
                <a:cubicBezTo>
                  <a:pt x="1030" y="914"/>
                  <a:pt x="1030" y="914"/>
                  <a:pt x="1031" y="915"/>
                </a:cubicBezTo>
                <a:cubicBezTo>
                  <a:pt x="1031" y="915"/>
                  <a:pt x="1031" y="916"/>
                  <a:pt x="1031" y="916"/>
                </a:cubicBezTo>
                <a:cubicBezTo>
                  <a:pt x="1031" y="917"/>
                  <a:pt x="1030" y="918"/>
                  <a:pt x="1030" y="920"/>
                </a:cubicBezTo>
                <a:cubicBezTo>
                  <a:pt x="1029" y="922"/>
                  <a:pt x="1028" y="924"/>
                  <a:pt x="1026" y="927"/>
                </a:cubicBezTo>
                <a:cubicBezTo>
                  <a:pt x="1025" y="929"/>
                  <a:pt x="1023" y="932"/>
                  <a:pt x="1021" y="935"/>
                </a:cubicBezTo>
                <a:cubicBezTo>
                  <a:pt x="1019" y="938"/>
                  <a:pt x="1016" y="942"/>
                  <a:pt x="1013" y="945"/>
                </a:cubicBezTo>
                <a:cubicBezTo>
                  <a:pt x="1008" y="950"/>
                  <a:pt x="1002" y="954"/>
                  <a:pt x="997" y="956"/>
                </a:cubicBezTo>
                <a:cubicBezTo>
                  <a:pt x="991" y="959"/>
                  <a:pt x="986" y="960"/>
                  <a:pt x="980" y="960"/>
                </a:cubicBezTo>
                <a:cubicBezTo>
                  <a:pt x="974" y="960"/>
                  <a:pt x="969" y="958"/>
                  <a:pt x="963" y="955"/>
                </a:cubicBezTo>
                <a:cubicBezTo>
                  <a:pt x="957" y="952"/>
                  <a:pt x="951" y="948"/>
                  <a:pt x="945" y="942"/>
                </a:cubicBezTo>
                <a:cubicBezTo>
                  <a:pt x="940" y="936"/>
                  <a:pt x="935" y="931"/>
                  <a:pt x="933" y="925"/>
                </a:cubicBezTo>
                <a:cubicBezTo>
                  <a:pt x="930" y="919"/>
                  <a:pt x="928" y="913"/>
                  <a:pt x="927" y="907"/>
                </a:cubicBezTo>
                <a:cubicBezTo>
                  <a:pt x="927" y="901"/>
                  <a:pt x="928" y="896"/>
                  <a:pt x="930" y="890"/>
                </a:cubicBezTo>
                <a:cubicBezTo>
                  <a:pt x="932" y="885"/>
                  <a:pt x="936" y="880"/>
                  <a:pt x="941" y="875"/>
                </a:cubicBezTo>
                <a:cubicBezTo>
                  <a:pt x="946" y="870"/>
                  <a:pt x="951" y="866"/>
                  <a:pt x="956" y="864"/>
                </a:cubicBezTo>
                <a:cubicBezTo>
                  <a:pt x="961" y="862"/>
                  <a:pt x="966" y="862"/>
                  <a:pt x="971" y="862"/>
                </a:cubicBezTo>
                <a:cubicBezTo>
                  <a:pt x="976" y="863"/>
                  <a:pt x="981" y="864"/>
                  <a:pt x="986" y="867"/>
                </a:cubicBezTo>
                <a:cubicBezTo>
                  <a:pt x="991" y="869"/>
                  <a:pt x="995" y="873"/>
                  <a:pt x="1000" y="877"/>
                </a:cubicBezTo>
                <a:lnTo>
                  <a:pt x="1002" y="879"/>
                </a:lnTo>
                <a:close/>
                <a:moveTo>
                  <a:pt x="986" y="888"/>
                </a:moveTo>
                <a:cubicBezTo>
                  <a:pt x="980" y="881"/>
                  <a:pt x="974" y="878"/>
                  <a:pt x="967" y="877"/>
                </a:cubicBezTo>
                <a:cubicBezTo>
                  <a:pt x="961" y="877"/>
                  <a:pt x="955" y="879"/>
                  <a:pt x="949" y="885"/>
                </a:cubicBezTo>
                <a:cubicBezTo>
                  <a:pt x="946" y="888"/>
                  <a:pt x="944" y="891"/>
                  <a:pt x="943" y="894"/>
                </a:cubicBezTo>
                <a:cubicBezTo>
                  <a:pt x="942" y="897"/>
                  <a:pt x="942" y="901"/>
                  <a:pt x="942" y="904"/>
                </a:cubicBezTo>
                <a:cubicBezTo>
                  <a:pt x="942" y="907"/>
                  <a:pt x="943" y="911"/>
                  <a:pt x="945" y="914"/>
                </a:cubicBezTo>
                <a:cubicBezTo>
                  <a:pt x="946" y="917"/>
                  <a:pt x="948" y="920"/>
                  <a:pt x="951" y="923"/>
                </a:cubicBezTo>
                <a:lnTo>
                  <a:pt x="986" y="888"/>
                </a:lnTo>
                <a:close/>
                <a:moveTo>
                  <a:pt x="1197" y="754"/>
                </a:moveTo>
                <a:cubicBezTo>
                  <a:pt x="1198" y="754"/>
                  <a:pt x="1198" y="755"/>
                  <a:pt x="1198" y="755"/>
                </a:cubicBezTo>
                <a:cubicBezTo>
                  <a:pt x="1198" y="756"/>
                  <a:pt x="1198" y="756"/>
                  <a:pt x="1197" y="757"/>
                </a:cubicBezTo>
                <a:cubicBezTo>
                  <a:pt x="1197" y="758"/>
                  <a:pt x="1197" y="758"/>
                  <a:pt x="1196" y="759"/>
                </a:cubicBezTo>
                <a:cubicBezTo>
                  <a:pt x="1195" y="760"/>
                  <a:pt x="1194" y="761"/>
                  <a:pt x="1193" y="762"/>
                </a:cubicBezTo>
                <a:cubicBezTo>
                  <a:pt x="1192" y="764"/>
                  <a:pt x="1191" y="764"/>
                  <a:pt x="1190" y="765"/>
                </a:cubicBezTo>
                <a:cubicBezTo>
                  <a:pt x="1189" y="766"/>
                  <a:pt x="1188" y="766"/>
                  <a:pt x="1188" y="767"/>
                </a:cubicBezTo>
                <a:cubicBezTo>
                  <a:pt x="1187" y="767"/>
                  <a:pt x="1187" y="767"/>
                  <a:pt x="1186" y="767"/>
                </a:cubicBezTo>
                <a:cubicBezTo>
                  <a:pt x="1186" y="767"/>
                  <a:pt x="1185" y="767"/>
                  <a:pt x="1185" y="766"/>
                </a:cubicBezTo>
                <a:lnTo>
                  <a:pt x="1104" y="685"/>
                </a:lnTo>
                <a:lnTo>
                  <a:pt x="1104" y="685"/>
                </a:lnTo>
                <a:lnTo>
                  <a:pt x="1152" y="799"/>
                </a:lnTo>
                <a:cubicBezTo>
                  <a:pt x="1152" y="800"/>
                  <a:pt x="1153" y="800"/>
                  <a:pt x="1153" y="801"/>
                </a:cubicBezTo>
                <a:cubicBezTo>
                  <a:pt x="1152" y="801"/>
                  <a:pt x="1152" y="802"/>
                  <a:pt x="1152" y="803"/>
                </a:cubicBezTo>
                <a:cubicBezTo>
                  <a:pt x="1152" y="803"/>
                  <a:pt x="1151" y="804"/>
                  <a:pt x="1151" y="805"/>
                </a:cubicBezTo>
                <a:cubicBezTo>
                  <a:pt x="1150" y="806"/>
                  <a:pt x="1149" y="807"/>
                  <a:pt x="1148" y="807"/>
                </a:cubicBezTo>
                <a:cubicBezTo>
                  <a:pt x="1147" y="808"/>
                  <a:pt x="1146" y="809"/>
                  <a:pt x="1145" y="810"/>
                </a:cubicBezTo>
                <a:cubicBezTo>
                  <a:pt x="1145" y="811"/>
                  <a:pt x="1144" y="811"/>
                  <a:pt x="1143" y="811"/>
                </a:cubicBezTo>
                <a:cubicBezTo>
                  <a:pt x="1143" y="812"/>
                  <a:pt x="1142" y="812"/>
                  <a:pt x="1142" y="812"/>
                </a:cubicBezTo>
                <a:cubicBezTo>
                  <a:pt x="1141" y="812"/>
                  <a:pt x="1141" y="812"/>
                  <a:pt x="1140" y="812"/>
                </a:cubicBezTo>
                <a:lnTo>
                  <a:pt x="1028" y="762"/>
                </a:lnTo>
                <a:lnTo>
                  <a:pt x="1028" y="762"/>
                </a:lnTo>
                <a:lnTo>
                  <a:pt x="1108" y="843"/>
                </a:lnTo>
                <a:cubicBezTo>
                  <a:pt x="1109" y="843"/>
                  <a:pt x="1109" y="843"/>
                  <a:pt x="1109" y="844"/>
                </a:cubicBezTo>
                <a:cubicBezTo>
                  <a:pt x="1109" y="844"/>
                  <a:pt x="1109" y="845"/>
                  <a:pt x="1109" y="846"/>
                </a:cubicBezTo>
                <a:cubicBezTo>
                  <a:pt x="1108" y="846"/>
                  <a:pt x="1108" y="847"/>
                  <a:pt x="1107" y="848"/>
                </a:cubicBezTo>
                <a:cubicBezTo>
                  <a:pt x="1107" y="849"/>
                  <a:pt x="1106" y="850"/>
                  <a:pt x="1104" y="851"/>
                </a:cubicBezTo>
                <a:cubicBezTo>
                  <a:pt x="1103" y="852"/>
                  <a:pt x="1102" y="853"/>
                  <a:pt x="1101" y="854"/>
                </a:cubicBezTo>
                <a:cubicBezTo>
                  <a:pt x="1100" y="855"/>
                  <a:pt x="1100" y="855"/>
                  <a:pt x="1099" y="855"/>
                </a:cubicBezTo>
                <a:cubicBezTo>
                  <a:pt x="1098" y="856"/>
                  <a:pt x="1098" y="856"/>
                  <a:pt x="1097" y="856"/>
                </a:cubicBezTo>
                <a:cubicBezTo>
                  <a:pt x="1097" y="856"/>
                  <a:pt x="1096" y="855"/>
                  <a:pt x="1096" y="855"/>
                </a:cubicBezTo>
                <a:lnTo>
                  <a:pt x="1011" y="769"/>
                </a:lnTo>
                <a:cubicBezTo>
                  <a:pt x="1009" y="767"/>
                  <a:pt x="1008" y="765"/>
                  <a:pt x="1008" y="764"/>
                </a:cubicBezTo>
                <a:cubicBezTo>
                  <a:pt x="1008" y="762"/>
                  <a:pt x="1009" y="760"/>
                  <a:pt x="1010" y="759"/>
                </a:cubicBezTo>
                <a:lnTo>
                  <a:pt x="1018" y="751"/>
                </a:lnTo>
                <a:cubicBezTo>
                  <a:pt x="1019" y="750"/>
                  <a:pt x="1021" y="748"/>
                  <a:pt x="1022" y="747"/>
                </a:cubicBezTo>
                <a:cubicBezTo>
                  <a:pt x="1024" y="747"/>
                  <a:pt x="1025" y="746"/>
                  <a:pt x="1027" y="746"/>
                </a:cubicBezTo>
                <a:cubicBezTo>
                  <a:pt x="1028" y="746"/>
                  <a:pt x="1030" y="746"/>
                  <a:pt x="1031" y="746"/>
                </a:cubicBezTo>
                <a:cubicBezTo>
                  <a:pt x="1033" y="746"/>
                  <a:pt x="1034" y="747"/>
                  <a:pt x="1036" y="748"/>
                </a:cubicBezTo>
                <a:lnTo>
                  <a:pt x="1130" y="789"/>
                </a:lnTo>
                <a:lnTo>
                  <a:pt x="1130" y="788"/>
                </a:lnTo>
                <a:lnTo>
                  <a:pt x="1091" y="693"/>
                </a:lnTo>
                <a:cubicBezTo>
                  <a:pt x="1090" y="691"/>
                  <a:pt x="1089" y="690"/>
                  <a:pt x="1089" y="688"/>
                </a:cubicBezTo>
                <a:cubicBezTo>
                  <a:pt x="1089" y="686"/>
                  <a:pt x="1089" y="685"/>
                  <a:pt x="1089" y="684"/>
                </a:cubicBezTo>
                <a:cubicBezTo>
                  <a:pt x="1089" y="682"/>
                  <a:pt x="1089" y="681"/>
                  <a:pt x="1090" y="680"/>
                </a:cubicBezTo>
                <a:cubicBezTo>
                  <a:pt x="1091" y="679"/>
                  <a:pt x="1092" y="677"/>
                  <a:pt x="1093" y="676"/>
                </a:cubicBezTo>
                <a:lnTo>
                  <a:pt x="1101" y="668"/>
                </a:lnTo>
                <a:cubicBezTo>
                  <a:pt x="1101" y="667"/>
                  <a:pt x="1102" y="667"/>
                  <a:pt x="1103" y="666"/>
                </a:cubicBezTo>
                <a:cubicBezTo>
                  <a:pt x="1104" y="666"/>
                  <a:pt x="1105" y="666"/>
                  <a:pt x="1106" y="666"/>
                </a:cubicBezTo>
                <a:cubicBezTo>
                  <a:pt x="1107" y="666"/>
                  <a:pt x="1108" y="666"/>
                  <a:pt x="1109" y="666"/>
                </a:cubicBezTo>
                <a:cubicBezTo>
                  <a:pt x="1110" y="667"/>
                  <a:pt x="1111" y="667"/>
                  <a:pt x="1112" y="668"/>
                </a:cubicBezTo>
                <a:lnTo>
                  <a:pt x="1197" y="754"/>
                </a:lnTo>
                <a:close/>
                <a:moveTo>
                  <a:pt x="1268" y="683"/>
                </a:moveTo>
                <a:cubicBezTo>
                  <a:pt x="1269" y="684"/>
                  <a:pt x="1269" y="684"/>
                  <a:pt x="1269" y="685"/>
                </a:cubicBezTo>
                <a:cubicBezTo>
                  <a:pt x="1269" y="686"/>
                  <a:pt x="1268" y="687"/>
                  <a:pt x="1268" y="687"/>
                </a:cubicBezTo>
                <a:cubicBezTo>
                  <a:pt x="1267" y="688"/>
                  <a:pt x="1266" y="689"/>
                  <a:pt x="1265" y="691"/>
                </a:cubicBezTo>
                <a:cubicBezTo>
                  <a:pt x="1264" y="692"/>
                  <a:pt x="1263" y="693"/>
                  <a:pt x="1262" y="693"/>
                </a:cubicBezTo>
                <a:cubicBezTo>
                  <a:pt x="1261" y="694"/>
                  <a:pt x="1260" y="694"/>
                  <a:pt x="1260" y="694"/>
                </a:cubicBezTo>
                <a:cubicBezTo>
                  <a:pt x="1259" y="694"/>
                  <a:pt x="1258" y="694"/>
                  <a:pt x="1258" y="693"/>
                </a:cubicBezTo>
                <a:lnTo>
                  <a:pt x="1251" y="687"/>
                </a:lnTo>
                <a:cubicBezTo>
                  <a:pt x="1252" y="693"/>
                  <a:pt x="1251" y="698"/>
                  <a:pt x="1249" y="704"/>
                </a:cubicBezTo>
                <a:cubicBezTo>
                  <a:pt x="1247" y="709"/>
                  <a:pt x="1244" y="713"/>
                  <a:pt x="1240" y="717"/>
                </a:cubicBezTo>
                <a:cubicBezTo>
                  <a:pt x="1237" y="720"/>
                  <a:pt x="1234" y="723"/>
                  <a:pt x="1230" y="725"/>
                </a:cubicBezTo>
                <a:cubicBezTo>
                  <a:pt x="1226" y="727"/>
                  <a:pt x="1223" y="728"/>
                  <a:pt x="1219" y="728"/>
                </a:cubicBezTo>
                <a:cubicBezTo>
                  <a:pt x="1215" y="728"/>
                  <a:pt x="1212" y="728"/>
                  <a:pt x="1208" y="726"/>
                </a:cubicBezTo>
                <a:cubicBezTo>
                  <a:pt x="1205" y="725"/>
                  <a:pt x="1201" y="723"/>
                  <a:pt x="1198" y="720"/>
                </a:cubicBezTo>
                <a:cubicBezTo>
                  <a:pt x="1195" y="716"/>
                  <a:pt x="1192" y="712"/>
                  <a:pt x="1191" y="708"/>
                </a:cubicBezTo>
                <a:cubicBezTo>
                  <a:pt x="1190" y="704"/>
                  <a:pt x="1190" y="700"/>
                  <a:pt x="1191" y="695"/>
                </a:cubicBezTo>
                <a:cubicBezTo>
                  <a:pt x="1192" y="690"/>
                  <a:pt x="1194" y="686"/>
                  <a:pt x="1197" y="681"/>
                </a:cubicBezTo>
                <a:cubicBezTo>
                  <a:pt x="1200" y="676"/>
                  <a:pt x="1204" y="671"/>
                  <a:pt x="1209" y="666"/>
                </a:cubicBezTo>
                <a:lnTo>
                  <a:pt x="1218" y="657"/>
                </a:lnTo>
                <a:lnTo>
                  <a:pt x="1213" y="652"/>
                </a:lnTo>
                <a:cubicBezTo>
                  <a:pt x="1211" y="649"/>
                  <a:pt x="1208" y="648"/>
                  <a:pt x="1206" y="646"/>
                </a:cubicBezTo>
                <a:cubicBezTo>
                  <a:pt x="1203" y="645"/>
                  <a:pt x="1201" y="644"/>
                  <a:pt x="1198" y="644"/>
                </a:cubicBezTo>
                <a:cubicBezTo>
                  <a:pt x="1196" y="644"/>
                  <a:pt x="1194" y="644"/>
                  <a:pt x="1191" y="646"/>
                </a:cubicBezTo>
                <a:cubicBezTo>
                  <a:pt x="1188" y="647"/>
                  <a:pt x="1186" y="649"/>
                  <a:pt x="1183" y="652"/>
                </a:cubicBezTo>
                <a:cubicBezTo>
                  <a:pt x="1180" y="654"/>
                  <a:pt x="1178" y="657"/>
                  <a:pt x="1176" y="660"/>
                </a:cubicBezTo>
                <a:cubicBezTo>
                  <a:pt x="1175" y="663"/>
                  <a:pt x="1173" y="666"/>
                  <a:pt x="1172" y="669"/>
                </a:cubicBezTo>
                <a:cubicBezTo>
                  <a:pt x="1172" y="671"/>
                  <a:pt x="1171" y="674"/>
                  <a:pt x="1170" y="676"/>
                </a:cubicBezTo>
                <a:cubicBezTo>
                  <a:pt x="1170" y="677"/>
                  <a:pt x="1169" y="679"/>
                  <a:pt x="1169" y="679"/>
                </a:cubicBezTo>
                <a:cubicBezTo>
                  <a:pt x="1168" y="680"/>
                  <a:pt x="1168" y="680"/>
                  <a:pt x="1168" y="680"/>
                </a:cubicBezTo>
                <a:cubicBezTo>
                  <a:pt x="1167" y="680"/>
                  <a:pt x="1167" y="680"/>
                  <a:pt x="1166" y="680"/>
                </a:cubicBezTo>
                <a:cubicBezTo>
                  <a:pt x="1165" y="680"/>
                  <a:pt x="1165" y="679"/>
                  <a:pt x="1164" y="679"/>
                </a:cubicBezTo>
                <a:cubicBezTo>
                  <a:pt x="1163" y="678"/>
                  <a:pt x="1163" y="678"/>
                  <a:pt x="1162" y="677"/>
                </a:cubicBezTo>
                <a:cubicBezTo>
                  <a:pt x="1161" y="676"/>
                  <a:pt x="1160" y="675"/>
                  <a:pt x="1159" y="674"/>
                </a:cubicBezTo>
                <a:cubicBezTo>
                  <a:pt x="1159" y="673"/>
                  <a:pt x="1159" y="672"/>
                  <a:pt x="1159" y="671"/>
                </a:cubicBezTo>
                <a:cubicBezTo>
                  <a:pt x="1159" y="669"/>
                  <a:pt x="1159" y="668"/>
                  <a:pt x="1160" y="665"/>
                </a:cubicBezTo>
                <a:cubicBezTo>
                  <a:pt x="1160" y="663"/>
                  <a:pt x="1161" y="660"/>
                  <a:pt x="1163" y="657"/>
                </a:cubicBezTo>
                <a:cubicBezTo>
                  <a:pt x="1164" y="655"/>
                  <a:pt x="1166" y="652"/>
                  <a:pt x="1168" y="649"/>
                </a:cubicBezTo>
                <a:cubicBezTo>
                  <a:pt x="1170" y="646"/>
                  <a:pt x="1172" y="643"/>
                  <a:pt x="1175" y="641"/>
                </a:cubicBezTo>
                <a:cubicBezTo>
                  <a:pt x="1179" y="636"/>
                  <a:pt x="1184" y="633"/>
                  <a:pt x="1188" y="631"/>
                </a:cubicBezTo>
                <a:cubicBezTo>
                  <a:pt x="1192" y="628"/>
                  <a:pt x="1196" y="627"/>
                  <a:pt x="1201" y="627"/>
                </a:cubicBezTo>
                <a:cubicBezTo>
                  <a:pt x="1205" y="627"/>
                  <a:pt x="1209" y="628"/>
                  <a:pt x="1212" y="631"/>
                </a:cubicBezTo>
                <a:cubicBezTo>
                  <a:pt x="1216" y="633"/>
                  <a:pt x="1220" y="636"/>
                  <a:pt x="1224" y="640"/>
                </a:cubicBezTo>
                <a:lnTo>
                  <a:pt x="1268" y="683"/>
                </a:lnTo>
                <a:close/>
                <a:moveTo>
                  <a:pt x="1227" y="666"/>
                </a:moveTo>
                <a:lnTo>
                  <a:pt x="1217" y="676"/>
                </a:lnTo>
                <a:cubicBezTo>
                  <a:pt x="1213" y="679"/>
                  <a:pt x="1211" y="682"/>
                  <a:pt x="1209" y="685"/>
                </a:cubicBezTo>
                <a:cubicBezTo>
                  <a:pt x="1207" y="688"/>
                  <a:pt x="1206" y="691"/>
                  <a:pt x="1205" y="693"/>
                </a:cubicBezTo>
                <a:cubicBezTo>
                  <a:pt x="1205" y="696"/>
                  <a:pt x="1205" y="699"/>
                  <a:pt x="1206" y="701"/>
                </a:cubicBezTo>
                <a:cubicBezTo>
                  <a:pt x="1207" y="703"/>
                  <a:pt x="1208" y="705"/>
                  <a:pt x="1210" y="707"/>
                </a:cubicBezTo>
                <a:cubicBezTo>
                  <a:pt x="1213" y="710"/>
                  <a:pt x="1217" y="712"/>
                  <a:pt x="1221" y="712"/>
                </a:cubicBezTo>
                <a:cubicBezTo>
                  <a:pt x="1225" y="712"/>
                  <a:pt x="1229" y="710"/>
                  <a:pt x="1233" y="706"/>
                </a:cubicBezTo>
                <a:cubicBezTo>
                  <a:pt x="1236" y="703"/>
                  <a:pt x="1238" y="699"/>
                  <a:pt x="1239" y="695"/>
                </a:cubicBezTo>
                <a:cubicBezTo>
                  <a:pt x="1240" y="691"/>
                  <a:pt x="1241" y="685"/>
                  <a:pt x="1240" y="679"/>
                </a:cubicBezTo>
                <a:lnTo>
                  <a:pt x="1227" y="666"/>
                </a:lnTo>
                <a:close/>
                <a:moveTo>
                  <a:pt x="1343" y="608"/>
                </a:moveTo>
                <a:cubicBezTo>
                  <a:pt x="1343" y="609"/>
                  <a:pt x="1343" y="609"/>
                  <a:pt x="1343" y="610"/>
                </a:cubicBezTo>
                <a:cubicBezTo>
                  <a:pt x="1344" y="610"/>
                  <a:pt x="1343" y="611"/>
                  <a:pt x="1343" y="611"/>
                </a:cubicBezTo>
                <a:cubicBezTo>
                  <a:pt x="1343" y="612"/>
                  <a:pt x="1343" y="613"/>
                  <a:pt x="1342" y="613"/>
                </a:cubicBezTo>
                <a:cubicBezTo>
                  <a:pt x="1341" y="614"/>
                  <a:pt x="1340" y="615"/>
                  <a:pt x="1339" y="616"/>
                </a:cubicBezTo>
                <a:cubicBezTo>
                  <a:pt x="1338" y="618"/>
                  <a:pt x="1337" y="619"/>
                  <a:pt x="1336" y="619"/>
                </a:cubicBezTo>
                <a:cubicBezTo>
                  <a:pt x="1335" y="620"/>
                  <a:pt x="1334" y="620"/>
                  <a:pt x="1334" y="621"/>
                </a:cubicBezTo>
                <a:cubicBezTo>
                  <a:pt x="1333" y="621"/>
                  <a:pt x="1333" y="621"/>
                  <a:pt x="1332" y="621"/>
                </a:cubicBezTo>
                <a:cubicBezTo>
                  <a:pt x="1332" y="621"/>
                  <a:pt x="1331" y="621"/>
                  <a:pt x="1331" y="620"/>
                </a:cubicBezTo>
                <a:lnTo>
                  <a:pt x="1293" y="582"/>
                </a:lnTo>
                <a:cubicBezTo>
                  <a:pt x="1289" y="579"/>
                  <a:pt x="1286" y="576"/>
                  <a:pt x="1283" y="574"/>
                </a:cubicBezTo>
                <a:cubicBezTo>
                  <a:pt x="1280" y="573"/>
                  <a:pt x="1278" y="572"/>
                  <a:pt x="1275" y="571"/>
                </a:cubicBezTo>
                <a:cubicBezTo>
                  <a:pt x="1272" y="571"/>
                  <a:pt x="1270" y="571"/>
                  <a:pt x="1267" y="572"/>
                </a:cubicBezTo>
                <a:cubicBezTo>
                  <a:pt x="1264" y="572"/>
                  <a:pt x="1262" y="574"/>
                  <a:pt x="1260" y="576"/>
                </a:cubicBezTo>
                <a:cubicBezTo>
                  <a:pt x="1257" y="579"/>
                  <a:pt x="1255" y="583"/>
                  <a:pt x="1254" y="588"/>
                </a:cubicBezTo>
                <a:cubicBezTo>
                  <a:pt x="1253" y="593"/>
                  <a:pt x="1253" y="600"/>
                  <a:pt x="1254" y="607"/>
                </a:cubicBezTo>
                <a:lnTo>
                  <a:pt x="1299" y="652"/>
                </a:lnTo>
                <a:cubicBezTo>
                  <a:pt x="1299" y="653"/>
                  <a:pt x="1300" y="653"/>
                  <a:pt x="1300" y="653"/>
                </a:cubicBezTo>
                <a:cubicBezTo>
                  <a:pt x="1300" y="654"/>
                  <a:pt x="1300" y="654"/>
                  <a:pt x="1299" y="655"/>
                </a:cubicBezTo>
                <a:cubicBezTo>
                  <a:pt x="1299" y="656"/>
                  <a:pt x="1299" y="656"/>
                  <a:pt x="1298" y="657"/>
                </a:cubicBezTo>
                <a:cubicBezTo>
                  <a:pt x="1297" y="658"/>
                  <a:pt x="1296" y="659"/>
                  <a:pt x="1295" y="660"/>
                </a:cubicBezTo>
                <a:cubicBezTo>
                  <a:pt x="1294" y="662"/>
                  <a:pt x="1293" y="662"/>
                  <a:pt x="1292" y="663"/>
                </a:cubicBezTo>
                <a:cubicBezTo>
                  <a:pt x="1291" y="664"/>
                  <a:pt x="1291" y="664"/>
                  <a:pt x="1290" y="665"/>
                </a:cubicBezTo>
                <a:cubicBezTo>
                  <a:pt x="1289" y="665"/>
                  <a:pt x="1289" y="665"/>
                  <a:pt x="1288" y="665"/>
                </a:cubicBezTo>
                <a:cubicBezTo>
                  <a:pt x="1288" y="665"/>
                  <a:pt x="1288" y="664"/>
                  <a:pt x="1287" y="664"/>
                </a:cubicBezTo>
                <a:lnTo>
                  <a:pt x="1222" y="599"/>
                </a:lnTo>
                <a:cubicBezTo>
                  <a:pt x="1222" y="599"/>
                  <a:pt x="1222" y="599"/>
                  <a:pt x="1222" y="598"/>
                </a:cubicBezTo>
                <a:cubicBezTo>
                  <a:pt x="1222" y="598"/>
                  <a:pt x="1222" y="597"/>
                  <a:pt x="1222" y="597"/>
                </a:cubicBezTo>
                <a:cubicBezTo>
                  <a:pt x="1222" y="596"/>
                  <a:pt x="1223" y="595"/>
                  <a:pt x="1223" y="595"/>
                </a:cubicBezTo>
                <a:cubicBezTo>
                  <a:pt x="1224" y="594"/>
                  <a:pt x="1225" y="593"/>
                  <a:pt x="1226" y="592"/>
                </a:cubicBezTo>
                <a:cubicBezTo>
                  <a:pt x="1227" y="591"/>
                  <a:pt x="1228" y="590"/>
                  <a:pt x="1228" y="589"/>
                </a:cubicBezTo>
                <a:cubicBezTo>
                  <a:pt x="1229" y="589"/>
                  <a:pt x="1230" y="588"/>
                  <a:pt x="1230" y="588"/>
                </a:cubicBezTo>
                <a:cubicBezTo>
                  <a:pt x="1231" y="588"/>
                  <a:pt x="1232" y="588"/>
                  <a:pt x="1232" y="588"/>
                </a:cubicBezTo>
                <a:cubicBezTo>
                  <a:pt x="1232" y="588"/>
                  <a:pt x="1233" y="588"/>
                  <a:pt x="1233" y="589"/>
                </a:cubicBezTo>
                <a:lnTo>
                  <a:pt x="1242" y="597"/>
                </a:lnTo>
                <a:cubicBezTo>
                  <a:pt x="1241" y="590"/>
                  <a:pt x="1242" y="583"/>
                  <a:pt x="1244" y="577"/>
                </a:cubicBezTo>
                <a:cubicBezTo>
                  <a:pt x="1245" y="572"/>
                  <a:pt x="1248" y="567"/>
                  <a:pt x="1252" y="564"/>
                </a:cubicBezTo>
                <a:cubicBezTo>
                  <a:pt x="1256" y="559"/>
                  <a:pt x="1260" y="556"/>
                  <a:pt x="1265" y="555"/>
                </a:cubicBezTo>
                <a:cubicBezTo>
                  <a:pt x="1269" y="553"/>
                  <a:pt x="1274" y="553"/>
                  <a:pt x="1278" y="554"/>
                </a:cubicBezTo>
                <a:cubicBezTo>
                  <a:pt x="1282" y="554"/>
                  <a:pt x="1286" y="556"/>
                  <a:pt x="1290" y="558"/>
                </a:cubicBezTo>
                <a:cubicBezTo>
                  <a:pt x="1294" y="561"/>
                  <a:pt x="1299" y="564"/>
                  <a:pt x="1303" y="569"/>
                </a:cubicBezTo>
                <a:lnTo>
                  <a:pt x="1343" y="608"/>
                </a:lnTo>
                <a:close/>
                <a:moveTo>
                  <a:pt x="1415" y="536"/>
                </a:moveTo>
                <a:cubicBezTo>
                  <a:pt x="1416" y="537"/>
                  <a:pt x="1416" y="537"/>
                  <a:pt x="1416" y="538"/>
                </a:cubicBezTo>
                <a:cubicBezTo>
                  <a:pt x="1416" y="539"/>
                  <a:pt x="1415" y="540"/>
                  <a:pt x="1415" y="540"/>
                </a:cubicBezTo>
                <a:cubicBezTo>
                  <a:pt x="1414" y="541"/>
                  <a:pt x="1413" y="542"/>
                  <a:pt x="1412" y="543"/>
                </a:cubicBezTo>
                <a:cubicBezTo>
                  <a:pt x="1411" y="545"/>
                  <a:pt x="1410" y="546"/>
                  <a:pt x="1409" y="546"/>
                </a:cubicBezTo>
                <a:cubicBezTo>
                  <a:pt x="1408" y="547"/>
                  <a:pt x="1407" y="547"/>
                  <a:pt x="1407" y="547"/>
                </a:cubicBezTo>
                <a:cubicBezTo>
                  <a:pt x="1406" y="547"/>
                  <a:pt x="1405" y="547"/>
                  <a:pt x="1405" y="546"/>
                </a:cubicBezTo>
                <a:lnTo>
                  <a:pt x="1398" y="540"/>
                </a:lnTo>
                <a:cubicBezTo>
                  <a:pt x="1399" y="546"/>
                  <a:pt x="1398" y="551"/>
                  <a:pt x="1396" y="556"/>
                </a:cubicBezTo>
                <a:cubicBezTo>
                  <a:pt x="1394" y="562"/>
                  <a:pt x="1391" y="566"/>
                  <a:pt x="1388" y="570"/>
                </a:cubicBezTo>
                <a:cubicBezTo>
                  <a:pt x="1384" y="573"/>
                  <a:pt x="1381" y="576"/>
                  <a:pt x="1377" y="578"/>
                </a:cubicBezTo>
                <a:cubicBezTo>
                  <a:pt x="1373" y="580"/>
                  <a:pt x="1370" y="581"/>
                  <a:pt x="1366" y="581"/>
                </a:cubicBezTo>
                <a:cubicBezTo>
                  <a:pt x="1362" y="581"/>
                  <a:pt x="1359" y="581"/>
                  <a:pt x="1355" y="579"/>
                </a:cubicBezTo>
                <a:cubicBezTo>
                  <a:pt x="1352" y="578"/>
                  <a:pt x="1349" y="576"/>
                  <a:pt x="1345" y="573"/>
                </a:cubicBezTo>
                <a:cubicBezTo>
                  <a:pt x="1342" y="569"/>
                  <a:pt x="1339" y="565"/>
                  <a:pt x="1338" y="561"/>
                </a:cubicBezTo>
                <a:cubicBezTo>
                  <a:pt x="1337" y="557"/>
                  <a:pt x="1337" y="552"/>
                  <a:pt x="1338" y="548"/>
                </a:cubicBezTo>
                <a:cubicBezTo>
                  <a:pt x="1339" y="543"/>
                  <a:pt x="1341" y="539"/>
                  <a:pt x="1344" y="534"/>
                </a:cubicBezTo>
                <a:cubicBezTo>
                  <a:pt x="1347" y="529"/>
                  <a:pt x="1351" y="524"/>
                  <a:pt x="1356" y="519"/>
                </a:cubicBezTo>
                <a:lnTo>
                  <a:pt x="1365" y="510"/>
                </a:lnTo>
                <a:lnTo>
                  <a:pt x="1360" y="505"/>
                </a:lnTo>
                <a:cubicBezTo>
                  <a:pt x="1358" y="502"/>
                  <a:pt x="1355" y="500"/>
                  <a:pt x="1353" y="499"/>
                </a:cubicBezTo>
                <a:cubicBezTo>
                  <a:pt x="1350" y="498"/>
                  <a:pt x="1348" y="497"/>
                  <a:pt x="1346" y="497"/>
                </a:cubicBezTo>
                <a:cubicBezTo>
                  <a:pt x="1343" y="497"/>
                  <a:pt x="1341" y="497"/>
                  <a:pt x="1338" y="499"/>
                </a:cubicBezTo>
                <a:cubicBezTo>
                  <a:pt x="1336" y="500"/>
                  <a:pt x="1333" y="502"/>
                  <a:pt x="1330" y="504"/>
                </a:cubicBezTo>
                <a:cubicBezTo>
                  <a:pt x="1327" y="507"/>
                  <a:pt x="1325" y="510"/>
                  <a:pt x="1323" y="513"/>
                </a:cubicBezTo>
                <a:cubicBezTo>
                  <a:pt x="1322" y="516"/>
                  <a:pt x="1320" y="519"/>
                  <a:pt x="1320" y="522"/>
                </a:cubicBezTo>
                <a:cubicBezTo>
                  <a:pt x="1319" y="524"/>
                  <a:pt x="1318" y="527"/>
                  <a:pt x="1317" y="528"/>
                </a:cubicBezTo>
                <a:cubicBezTo>
                  <a:pt x="1317" y="530"/>
                  <a:pt x="1316" y="532"/>
                  <a:pt x="1316" y="532"/>
                </a:cubicBezTo>
                <a:cubicBezTo>
                  <a:pt x="1316" y="533"/>
                  <a:pt x="1315" y="533"/>
                  <a:pt x="1315" y="533"/>
                </a:cubicBezTo>
                <a:cubicBezTo>
                  <a:pt x="1314" y="533"/>
                  <a:pt x="1314" y="533"/>
                  <a:pt x="1313" y="533"/>
                </a:cubicBezTo>
                <a:cubicBezTo>
                  <a:pt x="1312" y="533"/>
                  <a:pt x="1312" y="532"/>
                  <a:pt x="1311" y="532"/>
                </a:cubicBezTo>
                <a:cubicBezTo>
                  <a:pt x="1310" y="531"/>
                  <a:pt x="1310" y="531"/>
                  <a:pt x="1309" y="530"/>
                </a:cubicBezTo>
                <a:cubicBezTo>
                  <a:pt x="1308" y="529"/>
                  <a:pt x="1307" y="528"/>
                  <a:pt x="1306" y="527"/>
                </a:cubicBezTo>
                <a:cubicBezTo>
                  <a:pt x="1306" y="526"/>
                  <a:pt x="1306" y="525"/>
                  <a:pt x="1306" y="524"/>
                </a:cubicBezTo>
                <a:cubicBezTo>
                  <a:pt x="1306" y="522"/>
                  <a:pt x="1306" y="521"/>
                  <a:pt x="1307" y="518"/>
                </a:cubicBezTo>
                <a:cubicBezTo>
                  <a:pt x="1307" y="516"/>
                  <a:pt x="1309" y="513"/>
                  <a:pt x="1310" y="510"/>
                </a:cubicBezTo>
                <a:cubicBezTo>
                  <a:pt x="1311" y="508"/>
                  <a:pt x="1313" y="505"/>
                  <a:pt x="1315" y="502"/>
                </a:cubicBezTo>
                <a:cubicBezTo>
                  <a:pt x="1317" y="499"/>
                  <a:pt x="1319" y="496"/>
                  <a:pt x="1322" y="494"/>
                </a:cubicBezTo>
                <a:cubicBezTo>
                  <a:pt x="1326" y="489"/>
                  <a:pt x="1331" y="486"/>
                  <a:pt x="1335" y="484"/>
                </a:cubicBezTo>
                <a:cubicBezTo>
                  <a:pt x="1339" y="481"/>
                  <a:pt x="1344" y="480"/>
                  <a:pt x="1348" y="480"/>
                </a:cubicBezTo>
                <a:cubicBezTo>
                  <a:pt x="1352" y="480"/>
                  <a:pt x="1356" y="481"/>
                  <a:pt x="1360" y="483"/>
                </a:cubicBezTo>
                <a:cubicBezTo>
                  <a:pt x="1364" y="486"/>
                  <a:pt x="1367" y="489"/>
                  <a:pt x="1371" y="493"/>
                </a:cubicBezTo>
                <a:lnTo>
                  <a:pt x="1415" y="536"/>
                </a:lnTo>
                <a:close/>
                <a:moveTo>
                  <a:pt x="1374" y="518"/>
                </a:moveTo>
                <a:lnTo>
                  <a:pt x="1364" y="529"/>
                </a:lnTo>
                <a:cubicBezTo>
                  <a:pt x="1360" y="532"/>
                  <a:pt x="1358" y="535"/>
                  <a:pt x="1356" y="538"/>
                </a:cubicBezTo>
                <a:cubicBezTo>
                  <a:pt x="1354" y="541"/>
                  <a:pt x="1353" y="544"/>
                  <a:pt x="1353" y="546"/>
                </a:cubicBezTo>
                <a:cubicBezTo>
                  <a:pt x="1352" y="549"/>
                  <a:pt x="1352" y="551"/>
                  <a:pt x="1353" y="554"/>
                </a:cubicBezTo>
                <a:cubicBezTo>
                  <a:pt x="1354" y="556"/>
                  <a:pt x="1355" y="558"/>
                  <a:pt x="1357" y="560"/>
                </a:cubicBezTo>
                <a:cubicBezTo>
                  <a:pt x="1360" y="563"/>
                  <a:pt x="1364" y="565"/>
                  <a:pt x="1368" y="565"/>
                </a:cubicBezTo>
                <a:cubicBezTo>
                  <a:pt x="1372" y="565"/>
                  <a:pt x="1376" y="563"/>
                  <a:pt x="1380" y="559"/>
                </a:cubicBezTo>
                <a:cubicBezTo>
                  <a:pt x="1383" y="556"/>
                  <a:pt x="1385" y="552"/>
                  <a:pt x="1386" y="548"/>
                </a:cubicBezTo>
                <a:cubicBezTo>
                  <a:pt x="1387" y="544"/>
                  <a:pt x="1388" y="538"/>
                  <a:pt x="1388" y="532"/>
                </a:cubicBezTo>
                <a:lnTo>
                  <a:pt x="1374" y="518"/>
                </a:lnTo>
                <a:close/>
                <a:moveTo>
                  <a:pt x="1427" y="401"/>
                </a:moveTo>
                <a:cubicBezTo>
                  <a:pt x="1428" y="403"/>
                  <a:pt x="1429" y="404"/>
                  <a:pt x="1429" y="406"/>
                </a:cubicBezTo>
                <a:cubicBezTo>
                  <a:pt x="1430" y="407"/>
                  <a:pt x="1430" y="408"/>
                  <a:pt x="1429" y="408"/>
                </a:cubicBezTo>
                <a:lnTo>
                  <a:pt x="1420" y="418"/>
                </a:lnTo>
                <a:cubicBezTo>
                  <a:pt x="1423" y="418"/>
                  <a:pt x="1426" y="418"/>
                  <a:pt x="1429" y="420"/>
                </a:cubicBezTo>
                <a:cubicBezTo>
                  <a:pt x="1432" y="421"/>
                  <a:pt x="1434" y="423"/>
                  <a:pt x="1436" y="425"/>
                </a:cubicBezTo>
                <a:cubicBezTo>
                  <a:pt x="1440" y="429"/>
                  <a:pt x="1443" y="433"/>
                  <a:pt x="1444" y="437"/>
                </a:cubicBezTo>
                <a:cubicBezTo>
                  <a:pt x="1446" y="441"/>
                  <a:pt x="1447" y="445"/>
                  <a:pt x="1447" y="450"/>
                </a:cubicBezTo>
                <a:cubicBezTo>
                  <a:pt x="1446" y="454"/>
                  <a:pt x="1445" y="458"/>
                  <a:pt x="1443" y="462"/>
                </a:cubicBezTo>
                <a:cubicBezTo>
                  <a:pt x="1441" y="466"/>
                  <a:pt x="1438" y="470"/>
                  <a:pt x="1435" y="474"/>
                </a:cubicBezTo>
                <a:cubicBezTo>
                  <a:pt x="1432" y="476"/>
                  <a:pt x="1429" y="479"/>
                  <a:pt x="1426" y="480"/>
                </a:cubicBezTo>
                <a:cubicBezTo>
                  <a:pt x="1423" y="482"/>
                  <a:pt x="1420" y="483"/>
                  <a:pt x="1418" y="483"/>
                </a:cubicBezTo>
                <a:cubicBezTo>
                  <a:pt x="1418" y="485"/>
                  <a:pt x="1418" y="487"/>
                  <a:pt x="1419" y="488"/>
                </a:cubicBezTo>
                <a:cubicBezTo>
                  <a:pt x="1419" y="490"/>
                  <a:pt x="1420" y="491"/>
                  <a:pt x="1422" y="493"/>
                </a:cubicBezTo>
                <a:cubicBezTo>
                  <a:pt x="1423" y="495"/>
                  <a:pt x="1426" y="495"/>
                  <a:pt x="1428" y="495"/>
                </a:cubicBezTo>
                <a:cubicBezTo>
                  <a:pt x="1431" y="494"/>
                  <a:pt x="1434" y="493"/>
                  <a:pt x="1436" y="490"/>
                </a:cubicBezTo>
                <a:lnTo>
                  <a:pt x="1454" y="474"/>
                </a:lnTo>
                <a:cubicBezTo>
                  <a:pt x="1457" y="471"/>
                  <a:pt x="1461" y="468"/>
                  <a:pt x="1464" y="467"/>
                </a:cubicBezTo>
                <a:cubicBezTo>
                  <a:pt x="1467" y="465"/>
                  <a:pt x="1471" y="463"/>
                  <a:pt x="1474" y="463"/>
                </a:cubicBezTo>
                <a:cubicBezTo>
                  <a:pt x="1478" y="462"/>
                  <a:pt x="1481" y="463"/>
                  <a:pt x="1484" y="464"/>
                </a:cubicBezTo>
                <a:cubicBezTo>
                  <a:pt x="1488" y="465"/>
                  <a:pt x="1491" y="467"/>
                  <a:pt x="1493" y="470"/>
                </a:cubicBezTo>
                <a:cubicBezTo>
                  <a:pt x="1496" y="473"/>
                  <a:pt x="1499" y="476"/>
                  <a:pt x="1500" y="480"/>
                </a:cubicBezTo>
                <a:cubicBezTo>
                  <a:pt x="1501" y="484"/>
                  <a:pt x="1502" y="488"/>
                  <a:pt x="1501" y="493"/>
                </a:cubicBezTo>
                <a:cubicBezTo>
                  <a:pt x="1501" y="497"/>
                  <a:pt x="1499" y="502"/>
                  <a:pt x="1496" y="507"/>
                </a:cubicBezTo>
                <a:cubicBezTo>
                  <a:pt x="1494" y="512"/>
                  <a:pt x="1489" y="518"/>
                  <a:pt x="1484" y="523"/>
                </a:cubicBezTo>
                <a:cubicBezTo>
                  <a:pt x="1479" y="528"/>
                  <a:pt x="1474" y="532"/>
                  <a:pt x="1469" y="535"/>
                </a:cubicBezTo>
                <a:cubicBezTo>
                  <a:pt x="1465" y="538"/>
                  <a:pt x="1461" y="540"/>
                  <a:pt x="1457" y="541"/>
                </a:cubicBezTo>
                <a:cubicBezTo>
                  <a:pt x="1453" y="541"/>
                  <a:pt x="1449" y="541"/>
                  <a:pt x="1446" y="540"/>
                </a:cubicBezTo>
                <a:cubicBezTo>
                  <a:pt x="1443" y="539"/>
                  <a:pt x="1440" y="537"/>
                  <a:pt x="1438" y="535"/>
                </a:cubicBezTo>
                <a:cubicBezTo>
                  <a:pt x="1436" y="533"/>
                  <a:pt x="1435" y="531"/>
                  <a:pt x="1434" y="530"/>
                </a:cubicBezTo>
                <a:cubicBezTo>
                  <a:pt x="1433" y="528"/>
                  <a:pt x="1432" y="526"/>
                  <a:pt x="1431" y="524"/>
                </a:cubicBezTo>
                <a:cubicBezTo>
                  <a:pt x="1431" y="521"/>
                  <a:pt x="1430" y="519"/>
                  <a:pt x="1430" y="517"/>
                </a:cubicBezTo>
                <a:cubicBezTo>
                  <a:pt x="1430" y="514"/>
                  <a:pt x="1430" y="512"/>
                  <a:pt x="1431" y="509"/>
                </a:cubicBezTo>
                <a:cubicBezTo>
                  <a:pt x="1427" y="510"/>
                  <a:pt x="1424" y="511"/>
                  <a:pt x="1421" y="510"/>
                </a:cubicBezTo>
                <a:cubicBezTo>
                  <a:pt x="1418" y="509"/>
                  <a:pt x="1415" y="508"/>
                  <a:pt x="1413" y="506"/>
                </a:cubicBezTo>
                <a:cubicBezTo>
                  <a:pt x="1410" y="503"/>
                  <a:pt x="1408" y="499"/>
                  <a:pt x="1407" y="496"/>
                </a:cubicBezTo>
                <a:cubicBezTo>
                  <a:pt x="1406" y="492"/>
                  <a:pt x="1406" y="489"/>
                  <a:pt x="1406" y="485"/>
                </a:cubicBezTo>
                <a:cubicBezTo>
                  <a:pt x="1402" y="485"/>
                  <a:pt x="1399" y="484"/>
                  <a:pt x="1396" y="483"/>
                </a:cubicBezTo>
                <a:cubicBezTo>
                  <a:pt x="1393" y="482"/>
                  <a:pt x="1390" y="479"/>
                  <a:pt x="1387" y="476"/>
                </a:cubicBezTo>
                <a:cubicBezTo>
                  <a:pt x="1383" y="472"/>
                  <a:pt x="1380" y="468"/>
                  <a:pt x="1379" y="464"/>
                </a:cubicBezTo>
                <a:cubicBezTo>
                  <a:pt x="1377" y="460"/>
                  <a:pt x="1376" y="456"/>
                  <a:pt x="1376" y="452"/>
                </a:cubicBezTo>
                <a:cubicBezTo>
                  <a:pt x="1377" y="448"/>
                  <a:pt x="1378" y="443"/>
                  <a:pt x="1380" y="439"/>
                </a:cubicBezTo>
                <a:cubicBezTo>
                  <a:pt x="1382" y="435"/>
                  <a:pt x="1385" y="431"/>
                  <a:pt x="1388" y="427"/>
                </a:cubicBezTo>
                <a:cubicBezTo>
                  <a:pt x="1390" y="426"/>
                  <a:pt x="1392" y="424"/>
                  <a:pt x="1394" y="422"/>
                </a:cubicBezTo>
                <a:cubicBezTo>
                  <a:pt x="1396" y="421"/>
                  <a:pt x="1398" y="420"/>
                  <a:pt x="1400" y="418"/>
                </a:cubicBezTo>
                <a:lnTo>
                  <a:pt x="1419" y="399"/>
                </a:lnTo>
                <a:cubicBezTo>
                  <a:pt x="1420" y="398"/>
                  <a:pt x="1421" y="398"/>
                  <a:pt x="1422" y="398"/>
                </a:cubicBezTo>
                <a:cubicBezTo>
                  <a:pt x="1423" y="399"/>
                  <a:pt x="1425" y="400"/>
                  <a:pt x="1427" y="401"/>
                </a:cubicBezTo>
                <a:close/>
                <a:moveTo>
                  <a:pt x="1425" y="437"/>
                </a:moveTo>
                <a:cubicBezTo>
                  <a:pt x="1421" y="432"/>
                  <a:pt x="1416" y="430"/>
                  <a:pt x="1411" y="430"/>
                </a:cubicBezTo>
                <a:cubicBezTo>
                  <a:pt x="1406" y="430"/>
                  <a:pt x="1402" y="432"/>
                  <a:pt x="1397" y="437"/>
                </a:cubicBezTo>
                <a:cubicBezTo>
                  <a:pt x="1395" y="439"/>
                  <a:pt x="1393" y="441"/>
                  <a:pt x="1392" y="444"/>
                </a:cubicBezTo>
                <a:cubicBezTo>
                  <a:pt x="1391" y="446"/>
                  <a:pt x="1391" y="449"/>
                  <a:pt x="1391" y="451"/>
                </a:cubicBezTo>
                <a:cubicBezTo>
                  <a:pt x="1391" y="454"/>
                  <a:pt x="1392" y="456"/>
                  <a:pt x="1393" y="458"/>
                </a:cubicBezTo>
                <a:cubicBezTo>
                  <a:pt x="1394" y="461"/>
                  <a:pt x="1396" y="463"/>
                  <a:pt x="1398" y="465"/>
                </a:cubicBezTo>
                <a:cubicBezTo>
                  <a:pt x="1402" y="469"/>
                  <a:pt x="1407" y="471"/>
                  <a:pt x="1412" y="471"/>
                </a:cubicBezTo>
                <a:cubicBezTo>
                  <a:pt x="1416" y="471"/>
                  <a:pt x="1421" y="469"/>
                  <a:pt x="1425" y="465"/>
                </a:cubicBezTo>
                <a:cubicBezTo>
                  <a:pt x="1428" y="462"/>
                  <a:pt x="1429" y="460"/>
                  <a:pt x="1430" y="457"/>
                </a:cubicBezTo>
                <a:cubicBezTo>
                  <a:pt x="1431" y="455"/>
                  <a:pt x="1432" y="453"/>
                  <a:pt x="1432" y="450"/>
                </a:cubicBezTo>
                <a:cubicBezTo>
                  <a:pt x="1431" y="448"/>
                  <a:pt x="1431" y="445"/>
                  <a:pt x="1430" y="443"/>
                </a:cubicBezTo>
                <a:cubicBezTo>
                  <a:pt x="1428" y="441"/>
                  <a:pt x="1427" y="439"/>
                  <a:pt x="1425" y="437"/>
                </a:cubicBezTo>
                <a:close/>
                <a:moveTo>
                  <a:pt x="1482" y="482"/>
                </a:moveTo>
                <a:cubicBezTo>
                  <a:pt x="1479" y="479"/>
                  <a:pt x="1476" y="478"/>
                  <a:pt x="1472" y="479"/>
                </a:cubicBezTo>
                <a:cubicBezTo>
                  <a:pt x="1469" y="480"/>
                  <a:pt x="1465" y="482"/>
                  <a:pt x="1461" y="486"/>
                </a:cubicBezTo>
                <a:lnTo>
                  <a:pt x="1443" y="502"/>
                </a:lnTo>
                <a:cubicBezTo>
                  <a:pt x="1443" y="505"/>
                  <a:pt x="1443" y="507"/>
                  <a:pt x="1443" y="509"/>
                </a:cubicBezTo>
                <a:cubicBezTo>
                  <a:pt x="1443" y="511"/>
                  <a:pt x="1443" y="513"/>
                  <a:pt x="1444" y="515"/>
                </a:cubicBezTo>
                <a:cubicBezTo>
                  <a:pt x="1444" y="516"/>
                  <a:pt x="1445" y="518"/>
                  <a:pt x="1446" y="519"/>
                </a:cubicBezTo>
                <a:cubicBezTo>
                  <a:pt x="1446" y="520"/>
                  <a:pt x="1447" y="521"/>
                  <a:pt x="1448" y="522"/>
                </a:cubicBezTo>
                <a:cubicBezTo>
                  <a:pt x="1451" y="525"/>
                  <a:pt x="1455" y="526"/>
                  <a:pt x="1460" y="524"/>
                </a:cubicBezTo>
                <a:cubicBezTo>
                  <a:pt x="1465" y="523"/>
                  <a:pt x="1470" y="519"/>
                  <a:pt x="1476" y="514"/>
                </a:cubicBezTo>
                <a:cubicBezTo>
                  <a:pt x="1479" y="510"/>
                  <a:pt x="1482" y="507"/>
                  <a:pt x="1484" y="503"/>
                </a:cubicBezTo>
                <a:cubicBezTo>
                  <a:pt x="1485" y="500"/>
                  <a:pt x="1486" y="497"/>
                  <a:pt x="1487" y="495"/>
                </a:cubicBezTo>
                <a:cubicBezTo>
                  <a:pt x="1487" y="492"/>
                  <a:pt x="1487" y="490"/>
                  <a:pt x="1486" y="488"/>
                </a:cubicBezTo>
                <a:cubicBezTo>
                  <a:pt x="1485" y="486"/>
                  <a:pt x="1484" y="484"/>
                  <a:pt x="1482" y="482"/>
                </a:cubicBezTo>
                <a:close/>
                <a:moveTo>
                  <a:pt x="1522" y="359"/>
                </a:moveTo>
                <a:cubicBezTo>
                  <a:pt x="1524" y="361"/>
                  <a:pt x="1525" y="362"/>
                  <a:pt x="1525" y="364"/>
                </a:cubicBezTo>
                <a:cubicBezTo>
                  <a:pt x="1525" y="366"/>
                  <a:pt x="1524" y="367"/>
                  <a:pt x="1523" y="369"/>
                </a:cubicBezTo>
                <a:lnTo>
                  <a:pt x="1480" y="411"/>
                </a:lnTo>
                <a:cubicBezTo>
                  <a:pt x="1484" y="415"/>
                  <a:pt x="1487" y="418"/>
                  <a:pt x="1491" y="420"/>
                </a:cubicBezTo>
                <a:cubicBezTo>
                  <a:pt x="1494" y="422"/>
                  <a:pt x="1498" y="423"/>
                  <a:pt x="1502" y="424"/>
                </a:cubicBezTo>
                <a:cubicBezTo>
                  <a:pt x="1506" y="424"/>
                  <a:pt x="1509" y="423"/>
                  <a:pt x="1513" y="422"/>
                </a:cubicBezTo>
                <a:cubicBezTo>
                  <a:pt x="1517" y="420"/>
                  <a:pt x="1521" y="417"/>
                  <a:pt x="1525" y="413"/>
                </a:cubicBezTo>
                <a:cubicBezTo>
                  <a:pt x="1528" y="410"/>
                  <a:pt x="1530" y="407"/>
                  <a:pt x="1532" y="405"/>
                </a:cubicBezTo>
                <a:cubicBezTo>
                  <a:pt x="1534" y="402"/>
                  <a:pt x="1536" y="399"/>
                  <a:pt x="1537" y="397"/>
                </a:cubicBezTo>
                <a:cubicBezTo>
                  <a:pt x="1538" y="394"/>
                  <a:pt x="1539" y="392"/>
                  <a:pt x="1539" y="391"/>
                </a:cubicBezTo>
                <a:cubicBezTo>
                  <a:pt x="1540" y="389"/>
                  <a:pt x="1541" y="388"/>
                  <a:pt x="1541" y="387"/>
                </a:cubicBezTo>
                <a:cubicBezTo>
                  <a:pt x="1542" y="387"/>
                  <a:pt x="1542" y="387"/>
                  <a:pt x="1542" y="387"/>
                </a:cubicBezTo>
                <a:cubicBezTo>
                  <a:pt x="1543" y="387"/>
                  <a:pt x="1543" y="387"/>
                  <a:pt x="1544" y="387"/>
                </a:cubicBezTo>
                <a:cubicBezTo>
                  <a:pt x="1544" y="387"/>
                  <a:pt x="1545" y="387"/>
                  <a:pt x="1545" y="388"/>
                </a:cubicBezTo>
                <a:cubicBezTo>
                  <a:pt x="1546" y="388"/>
                  <a:pt x="1547" y="389"/>
                  <a:pt x="1548" y="390"/>
                </a:cubicBezTo>
                <a:cubicBezTo>
                  <a:pt x="1548" y="391"/>
                  <a:pt x="1549" y="391"/>
                  <a:pt x="1549" y="392"/>
                </a:cubicBezTo>
                <a:cubicBezTo>
                  <a:pt x="1550" y="392"/>
                  <a:pt x="1550" y="393"/>
                  <a:pt x="1550" y="393"/>
                </a:cubicBezTo>
                <a:cubicBezTo>
                  <a:pt x="1551" y="393"/>
                  <a:pt x="1551" y="394"/>
                  <a:pt x="1551" y="394"/>
                </a:cubicBezTo>
                <a:cubicBezTo>
                  <a:pt x="1551" y="395"/>
                  <a:pt x="1551" y="395"/>
                  <a:pt x="1551" y="396"/>
                </a:cubicBezTo>
                <a:cubicBezTo>
                  <a:pt x="1551" y="396"/>
                  <a:pt x="1551" y="398"/>
                  <a:pt x="1550" y="399"/>
                </a:cubicBezTo>
                <a:cubicBezTo>
                  <a:pt x="1549" y="401"/>
                  <a:pt x="1548" y="404"/>
                  <a:pt x="1547" y="406"/>
                </a:cubicBezTo>
                <a:cubicBezTo>
                  <a:pt x="1545" y="409"/>
                  <a:pt x="1543" y="412"/>
                  <a:pt x="1541" y="415"/>
                </a:cubicBezTo>
                <a:cubicBezTo>
                  <a:pt x="1539" y="418"/>
                  <a:pt x="1536" y="421"/>
                  <a:pt x="1533" y="424"/>
                </a:cubicBezTo>
                <a:cubicBezTo>
                  <a:pt x="1528" y="430"/>
                  <a:pt x="1523" y="433"/>
                  <a:pt x="1517" y="436"/>
                </a:cubicBezTo>
                <a:cubicBezTo>
                  <a:pt x="1512" y="438"/>
                  <a:pt x="1506" y="440"/>
                  <a:pt x="1500" y="439"/>
                </a:cubicBezTo>
                <a:cubicBezTo>
                  <a:pt x="1495" y="439"/>
                  <a:pt x="1489" y="438"/>
                  <a:pt x="1483" y="435"/>
                </a:cubicBezTo>
                <a:cubicBezTo>
                  <a:pt x="1477" y="432"/>
                  <a:pt x="1472" y="427"/>
                  <a:pt x="1466" y="421"/>
                </a:cubicBezTo>
                <a:cubicBezTo>
                  <a:pt x="1460" y="416"/>
                  <a:pt x="1456" y="410"/>
                  <a:pt x="1453" y="404"/>
                </a:cubicBezTo>
                <a:cubicBezTo>
                  <a:pt x="1450" y="398"/>
                  <a:pt x="1448" y="393"/>
                  <a:pt x="1448" y="387"/>
                </a:cubicBezTo>
                <a:cubicBezTo>
                  <a:pt x="1447" y="381"/>
                  <a:pt x="1448" y="375"/>
                  <a:pt x="1451" y="370"/>
                </a:cubicBezTo>
                <a:cubicBezTo>
                  <a:pt x="1453" y="364"/>
                  <a:pt x="1456" y="359"/>
                  <a:pt x="1461" y="354"/>
                </a:cubicBezTo>
                <a:cubicBezTo>
                  <a:pt x="1466" y="349"/>
                  <a:pt x="1471" y="346"/>
                  <a:pt x="1476" y="344"/>
                </a:cubicBezTo>
                <a:cubicBezTo>
                  <a:pt x="1482" y="342"/>
                  <a:pt x="1487" y="341"/>
                  <a:pt x="1492" y="342"/>
                </a:cubicBezTo>
                <a:cubicBezTo>
                  <a:pt x="1497" y="342"/>
                  <a:pt x="1502" y="344"/>
                  <a:pt x="1506" y="346"/>
                </a:cubicBezTo>
                <a:cubicBezTo>
                  <a:pt x="1511" y="349"/>
                  <a:pt x="1516" y="352"/>
                  <a:pt x="1520" y="357"/>
                </a:cubicBezTo>
                <a:lnTo>
                  <a:pt x="1522" y="359"/>
                </a:lnTo>
                <a:close/>
                <a:moveTo>
                  <a:pt x="1507" y="367"/>
                </a:moveTo>
                <a:cubicBezTo>
                  <a:pt x="1501" y="361"/>
                  <a:pt x="1494" y="357"/>
                  <a:pt x="1488" y="357"/>
                </a:cubicBezTo>
                <a:cubicBezTo>
                  <a:pt x="1481" y="356"/>
                  <a:pt x="1475" y="359"/>
                  <a:pt x="1470" y="364"/>
                </a:cubicBezTo>
                <a:cubicBezTo>
                  <a:pt x="1467" y="367"/>
                  <a:pt x="1465" y="370"/>
                  <a:pt x="1464" y="374"/>
                </a:cubicBezTo>
                <a:cubicBezTo>
                  <a:pt x="1462" y="377"/>
                  <a:pt x="1462" y="380"/>
                  <a:pt x="1462" y="384"/>
                </a:cubicBezTo>
                <a:cubicBezTo>
                  <a:pt x="1463" y="387"/>
                  <a:pt x="1464" y="390"/>
                  <a:pt x="1465" y="394"/>
                </a:cubicBezTo>
                <a:cubicBezTo>
                  <a:pt x="1467" y="397"/>
                  <a:pt x="1469" y="400"/>
                  <a:pt x="1471" y="402"/>
                </a:cubicBezTo>
                <a:lnTo>
                  <a:pt x="1507" y="367"/>
                </a:lnTo>
                <a:close/>
                <a:moveTo>
                  <a:pt x="1677" y="274"/>
                </a:moveTo>
                <a:cubicBezTo>
                  <a:pt x="1678" y="274"/>
                  <a:pt x="1678" y="275"/>
                  <a:pt x="1678" y="275"/>
                </a:cubicBezTo>
                <a:cubicBezTo>
                  <a:pt x="1678" y="276"/>
                  <a:pt x="1678" y="276"/>
                  <a:pt x="1678" y="277"/>
                </a:cubicBezTo>
                <a:cubicBezTo>
                  <a:pt x="1677" y="278"/>
                  <a:pt x="1677" y="278"/>
                  <a:pt x="1676" y="279"/>
                </a:cubicBezTo>
                <a:cubicBezTo>
                  <a:pt x="1676" y="280"/>
                  <a:pt x="1675" y="281"/>
                  <a:pt x="1673" y="282"/>
                </a:cubicBezTo>
                <a:cubicBezTo>
                  <a:pt x="1672" y="283"/>
                  <a:pt x="1671" y="284"/>
                  <a:pt x="1670" y="285"/>
                </a:cubicBezTo>
                <a:cubicBezTo>
                  <a:pt x="1670" y="286"/>
                  <a:pt x="1669" y="286"/>
                  <a:pt x="1668" y="286"/>
                </a:cubicBezTo>
                <a:cubicBezTo>
                  <a:pt x="1668" y="287"/>
                  <a:pt x="1667" y="287"/>
                  <a:pt x="1666" y="287"/>
                </a:cubicBezTo>
                <a:cubicBezTo>
                  <a:pt x="1666" y="287"/>
                  <a:pt x="1666" y="286"/>
                  <a:pt x="1665" y="286"/>
                </a:cubicBezTo>
                <a:lnTo>
                  <a:pt x="1626" y="247"/>
                </a:lnTo>
                <a:cubicBezTo>
                  <a:pt x="1623" y="244"/>
                  <a:pt x="1620" y="242"/>
                  <a:pt x="1618" y="240"/>
                </a:cubicBezTo>
                <a:cubicBezTo>
                  <a:pt x="1615" y="238"/>
                  <a:pt x="1612" y="237"/>
                  <a:pt x="1610" y="236"/>
                </a:cubicBezTo>
                <a:cubicBezTo>
                  <a:pt x="1607" y="236"/>
                  <a:pt x="1604" y="236"/>
                  <a:pt x="1602" y="237"/>
                </a:cubicBezTo>
                <a:cubicBezTo>
                  <a:pt x="1599" y="237"/>
                  <a:pt x="1597" y="239"/>
                  <a:pt x="1595" y="241"/>
                </a:cubicBezTo>
                <a:cubicBezTo>
                  <a:pt x="1592" y="244"/>
                  <a:pt x="1590" y="248"/>
                  <a:pt x="1590" y="252"/>
                </a:cubicBezTo>
                <a:cubicBezTo>
                  <a:pt x="1589" y="257"/>
                  <a:pt x="1589" y="263"/>
                  <a:pt x="1590" y="271"/>
                </a:cubicBezTo>
                <a:lnTo>
                  <a:pt x="1635" y="316"/>
                </a:lnTo>
                <a:cubicBezTo>
                  <a:pt x="1636" y="316"/>
                  <a:pt x="1636" y="317"/>
                  <a:pt x="1636" y="317"/>
                </a:cubicBezTo>
                <a:cubicBezTo>
                  <a:pt x="1636" y="318"/>
                  <a:pt x="1636" y="318"/>
                  <a:pt x="1636" y="319"/>
                </a:cubicBezTo>
                <a:cubicBezTo>
                  <a:pt x="1635" y="320"/>
                  <a:pt x="1635" y="320"/>
                  <a:pt x="1634" y="321"/>
                </a:cubicBezTo>
                <a:cubicBezTo>
                  <a:pt x="1633" y="322"/>
                  <a:pt x="1633" y="323"/>
                  <a:pt x="1631" y="324"/>
                </a:cubicBezTo>
                <a:cubicBezTo>
                  <a:pt x="1630" y="325"/>
                  <a:pt x="1629" y="326"/>
                  <a:pt x="1628" y="327"/>
                </a:cubicBezTo>
                <a:cubicBezTo>
                  <a:pt x="1628" y="328"/>
                  <a:pt x="1627" y="328"/>
                  <a:pt x="1626" y="328"/>
                </a:cubicBezTo>
                <a:cubicBezTo>
                  <a:pt x="1625" y="329"/>
                  <a:pt x="1625" y="329"/>
                  <a:pt x="1625" y="329"/>
                </a:cubicBezTo>
                <a:cubicBezTo>
                  <a:pt x="1624" y="328"/>
                  <a:pt x="1624" y="328"/>
                  <a:pt x="1623" y="328"/>
                </a:cubicBezTo>
                <a:lnTo>
                  <a:pt x="1584" y="289"/>
                </a:lnTo>
                <a:cubicBezTo>
                  <a:pt x="1581" y="286"/>
                  <a:pt x="1579" y="284"/>
                  <a:pt x="1576" y="282"/>
                </a:cubicBezTo>
                <a:cubicBezTo>
                  <a:pt x="1573" y="280"/>
                  <a:pt x="1570" y="279"/>
                  <a:pt x="1568" y="278"/>
                </a:cubicBezTo>
                <a:cubicBezTo>
                  <a:pt x="1565" y="278"/>
                  <a:pt x="1562" y="278"/>
                  <a:pt x="1560" y="279"/>
                </a:cubicBezTo>
                <a:cubicBezTo>
                  <a:pt x="1557" y="279"/>
                  <a:pt x="1555" y="281"/>
                  <a:pt x="1553" y="283"/>
                </a:cubicBezTo>
                <a:cubicBezTo>
                  <a:pt x="1550" y="286"/>
                  <a:pt x="1548" y="290"/>
                  <a:pt x="1548" y="295"/>
                </a:cubicBezTo>
                <a:cubicBezTo>
                  <a:pt x="1547" y="299"/>
                  <a:pt x="1547" y="306"/>
                  <a:pt x="1548" y="313"/>
                </a:cubicBezTo>
                <a:lnTo>
                  <a:pt x="1593" y="358"/>
                </a:lnTo>
                <a:cubicBezTo>
                  <a:pt x="1594" y="358"/>
                  <a:pt x="1594" y="359"/>
                  <a:pt x="1594" y="359"/>
                </a:cubicBezTo>
                <a:cubicBezTo>
                  <a:pt x="1594" y="360"/>
                  <a:pt x="1594" y="360"/>
                  <a:pt x="1594" y="361"/>
                </a:cubicBezTo>
                <a:cubicBezTo>
                  <a:pt x="1593" y="362"/>
                  <a:pt x="1593" y="362"/>
                  <a:pt x="1592" y="363"/>
                </a:cubicBezTo>
                <a:cubicBezTo>
                  <a:pt x="1592" y="364"/>
                  <a:pt x="1591" y="365"/>
                  <a:pt x="1589" y="366"/>
                </a:cubicBezTo>
                <a:cubicBezTo>
                  <a:pt x="1588" y="367"/>
                  <a:pt x="1587" y="368"/>
                  <a:pt x="1586" y="369"/>
                </a:cubicBezTo>
                <a:cubicBezTo>
                  <a:pt x="1586" y="370"/>
                  <a:pt x="1585" y="370"/>
                  <a:pt x="1584" y="370"/>
                </a:cubicBezTo>
                <a:cubicBezTo>
                  <a:pt x="1583" y="371"/>
                  <a:pt x="1583" y="371"/>
                  <a:pt x="1583" y="371"/>
                </a:cubicBezTo>
                <a:cubicBezTo>
                  <a:pt x="1582" y="371"/>
                  <a:pt x="1582" y="370"/>
                  <a:pt x="1581" y="370"/>
                </a:cubicBezTo>
                <a:lnTo>
                  <a:pt x="1517" y="305"/>
                </a:lnTo>
                <a:cubicBezTo>
                  <a:pt x="1516" y="305"/>
                  <a:pt x="1516" y="304"/>
                  <a:pt x="1516" y="304"/>
                </a:cubicBezTo>
                <a:cubicBezTo>
                  <a:pt x="1516" y="304"/>
                  <a:pt x="1516" y="303"/>
                  <a:pt x="1516" y="302"/>
                </a:cubicBezTo>
                <a:cubicBezTo>
                  <a:pt x="1516" y="302"/>
                  <a:pt x="1517" y="301"/>
                  <a:pt x="1517" y="300"/>
                </a:cubicBezTo>
                <a:cubicBezTo>
                  <a:pt x="1518" y="300"/>
                  <a:pt x="1519" y="299"/>
                  <a:pt x="1520" y="298"/>
                </a:cubicBezTo>
                <a:cubicBezTo>
                  <a:pt x="1521" y="297"/>
                  <a:pt x="1522" y="296"/>
                  <a:pt x="1523" y="295"/>
                </a:cubicBezTo>
                <a:cubicBezTo>
                  <a:pt x="1523" y="294"/>
                  <a:pt x="1524" y="294"/>
                  <a:pt x="1525" y="294"/>
                </a:cubicBezTo>
                <a:cubicBezTo>
                  <a:pt x="1525" y="294"/>
                  <a:pt x="1526" y="294"/>
                  <a:pt x="1526" y="294"/>
                </a:cubicBezTo>
                <a:cubicBezTo>
                  <a:pt x="1527" y="294"/>
                  <a:pt x="1527" y="294"/>
                  <a:pt x="1527" y="295"/>
                </a:cubicBezTo>
                <a:lnTo>
                  <a:pt x="1536" y="303"/>
                </a:lnTo>
                <a:cubicBezTo>
                  <a:pt x="1535" y="295"/>
                  <a:pt x="1536" y="289"/>
                  <a:pt x="1538" y="284"/>
                </a:cubicBezTo>
                <a:cubicBezTo>
                  <a:pt x="1539" y="278"/>
                  <a:pt x="1542" y="274"/>
                  <a:pt x="1545" y="270"/>
                </a:cubicBezTo>
                <a:cubicBezTo>
                  <a:pt x="1548" y="268"/>
                  <a:pt x="1550" y="266"/>
                  <a:pt x="1553" y="264"/>
                </a:cubicBezTo>
                <a:cubicBezTo>
                  <a:pt x="1556" y="263"/>
                  <a:pt x="1559" y="262"/>
                  <a:pt x="1562" y="261"/>
                </a:cubicBezTo>
                <a:cubicBezTo>
                  <a:pt x="1564" y="261"/>
                  <a:pt x="1567" y="260"/>
                  <a:pt x="1570" y="261"/>
                </a:cubicBezTo>
                <a:cubicBezTo>
                  <a:pt x="1572" y="261"/>
                  <a:pt x="1575" y="262"/>
                  <a:pt x="1578" y="263"/>
                </a:cubicBezTo>
                <a:cubicBezTo>
                  <a:pt x="1578" y="259"/>
                  <a:pt x="1578" y="255"/>
                  <a:pt x="1578" y="251"/>
                </a:cubicBezTo>
                <a:cubicBezTo>
                  <a:pt x="1578" y="248"/>
                  <a:pt x="1579" y="244"/>
                  <a:pt x="1580" y="242"/>
                </a:cubicBezTo>
                <a:cubicBezTo>
                  <a:pt x="1580" y="239"/>
                  <a:pt x="1581" y="236"/>
                  <a:pt x="1583" y="234"/>
                </a:cubicBezTo>
                <a:cubicBezTo>
                  <a:pt x="1584" y="232"/>
                  <a:pt x="1585" y="230"/>
                  <a:pt x="1587" y="228"/>
                </a:cubicBezTo>
                <a:cubicBezTo>
                  <a:pt x="1591" y="224"/>
                  <a:pt x="1595" y="221"/>
                  <a:pt x="1600" y="220"/>
                </a:cubicBezTo>
                <a:cubicBezTo>
                  <a:pt x="1604" y="219"/>
                  <a:pt x="1608" y="218"/>
                  <a:pt x="1612" y="219"/>
                </a:cubicBezTo>
                <a:cubicBezTo>
                  <a:pt x="1617" y="220"/>
                  <a:pt x="1621" y="221"/>
                  <a:pt x="1625" y="224"/>
                </a:cubicBezTo>
                <a:cubicBezTo>
                  <a:pt x="1629" y="226"/>
                  <a:pt x="1633" y="230"/>
                  <a:pt x="1636" y="233"/>
                </a:cubicBezTo>
                <a:lnTo>
                  <a:pt x="1677" y="274"/>
                </a:lnTo>
                <a:close/>
                <a:moveTo>
                  <a:pt x="1714" y="166"/>
                </a:moveTo>
                <a:cubicBezTo>
                  <a:pt x="1716" y="168"/>
                  <a:pt x="1717" y="170"/>
                  <a:pt x="1717" y="172"/>
                </a:cubicBezTo>
                <a:cubicBezTo>
                  <a:pt x="1717" y="174"/>
                  <a:pt x="1716" y="175"/>
                  <a:pt x="1715" y="176"/>
                </a:cubicBezTo>
                <a:lnTo>
                  <a:pt x="1672" y="219"/>
                </a:lnTo>
                <a:cubicBezTo>
                  <a:pt x="1676" y="222"/>
                  <a:pt x="1680" y="225"/>
                  <a:pt x="1683" y="227"/>
                </a:cubicBezTo>
                <a:cubicBezTo>
                  <a:pt x="1687" y="230"/>
                  <a:pt x="1690" y="231"/>
                  <a:pt x="1694" y="231"/>
                </a:cubicBezTo>
                <a:cubicBezTo>
                  <a:pt x="1698" y="232"/>
                  <a:pt x="1702" y="231"/>
                  <a:pt x="1706" y="229"/>
                </a:cubicBezTo>
                <a:cubicBezTo>
                  <a:pt x="1709" y="228"/>
                  <a:pt x="1713" y="225"/>
                  <a:pt x="1717" y="221"/>
                </a:cubicBezTo>
                <a:cubicBezTo>
                  <a:pt x="1720" y="218"/>
                  <a:pt x="1723" y="215"/>
                  <a:pt x="1725" y="212"/>
                </a:cubicBezTo>
                <a:cubicBezTo>
                  <a:pt x="1726" y="209"/>
                  <a:pt x="1728" y="207"/>
                  <a:pt x="1729" y="204"/>
                </a:cubicBezTo>
                <a:cubicBezTo>
                  <a:pt x="1730" y="202"/>
                  <a:pt x="1731" y="200"/>
                  <a:pt x="1732" y="198"/>
                </a:cubicBezTo>
                <a:cubicBezTo>
                  <a:pt x="1732" y="197"/>
                  <a:pt x="1733" y="195"/>
                  <a:pt x="1734" y="195"/>
                </a:cubicBezTo>
                <a:cubicBezTo>
                  <a:pt x="1734" y="195"/>
                  <a:pt x="1734" y="194"/>
                  <a:pt x="1735" y="194"/>
                </a:cubicBezTo>
                <a:cubicBezTo>
                  <a:pt x="1735" y="194"/>
                  <a:pt x="1736" y="194"/>
                  <a:pt x="1736" y="194"/>
                </a:cubicBezTo>
                <a:cubicBezTo>
                  <a:pt x="1737" y="195"/>
                  <a:pt x="1737" y="195"/>
                  <a:pt x="1738" y="195"/>
                </a:cubicBezTo>
                <a:cubicBezTo>
                  <a:pt x="1738" y="196"/>
                  <a:pt x="1739" y="197"/>
                  <a:pt x="1740" y="198"/>
                </a:cubicBezTo>
                <a:cubicBezTo>
                  <a:pt x="1741" y="198"/>
                  <a:pt x="1741" y="199"/>
                  <a:pt x="1742" y="199"/>
                </a:cubicBezTo>
                <a:cubicBezTo>
                  <a:pt x="1742" y="200"/>
                  <a:pt x="1742" y="200"/>
                  <a:pt x="1743" y="201"/>
                </a:cubicBezTo>
                <a:cubicBezTo>
                  <a:pt x="1743" y="201"/>
                  <a:pt x="1743" y="202"/>
                  <a:pt x="1743" y="202"/>
                </a:cubicBezTo>
                <a:cubicBezTo>
                  <a:pt x="1743" y="202"/>
                  <a:pt x="1743" y="203"/>
                  <a:pt x="1743" y="203"/>
                </a:cubicBezTo>
                <a:cubicBezTo>
                  <a:pt x="1743" y="204"/>
                  <a:pt x="1743" y="205"/>
                  <a:pt x="1742" y="207"/>
                </a:cubicBezTo>
                <a:cubicBezTo>
                  <a:pt x="1742" y="209"/>
                  <a:pt x="1741" y="211"/>
                  <a:pt x="1739" y="214"/>
                </a:cubicBezTo>
                <a:cubicBezTo>
                  <a:pt x="1738" y="217"/>
                  <a:pt x="1736" y="219"/>
                  <a:pt x="1734" y="223"/>
                </a:cubicBezTo>
                <a:cubicBezTo>
                  <a:pt x="1731" y="226"/>
                  <a:pt x="1729" y="229"/>
                  <a:pt x="1726" y="232"/>
                </a:cubicBezTo>
                <a:cubicBezTo>
                  <a:pt x="1720" y="237"/>
                  <a:pt x="1715" y="241"/>
                  <a:pt x="1709" y="244"/>
                </a:cubicBezTo>
                <a:cubicBezTo>
                  <a:pt x="1704" y="246"/>
                  <a:pt x="1698" y="247"/>
                  <a:pt x="1693" y="247"/>
                </a:cubicBezTo>
                <a:cubicBezTo>
                  <a:pt x="1687" y="247"/>
                  <a:pt x="1681" y="245"/>
                  <a:pt x="1676" y="242"/>
                </a:cubicBezTo>
                <a:cubicBezTo>
                  <a:pt x="1670" y="239"/>
                  <a:pt x="1664" y="235"/>
                  <a:pt x="1658" y="229"/>
                </a:cubicBezTo>
                <a:cubicBezTo>
                  <a:pt x="1653" y="223"/>
                  <a:pt x="1648" y="218"/>
                  <a:pt x="1645" y="212"/>
                </a:cubicBezTo>
                <a:cubicBezTo>
                  <a:pt x="1642" y="206"/>
                  <a:pt x="1641" y="200"/>
                  <a:pt x="1640" y="194"/>
                </a:cubicBezTo>
                <a:cubicBezTo>
                  <a:pt x="1640" y="189"/>
                  <a:pt x="1641" y="183"/>
                  <a:pt x="1643" y="177"/>
                </a:cubicBezTo>
                <a:cubicBezTo>
                  <a:pt x="1645" y="172"/>
                  <a:pt x="1649" y="167"/>
                  <a:pt x="1653" y="162"/>
                </a:cubicBezTo>
                <a:cubicBezTo>
                  <a:pt x="1658" y="157"/>
                  <a:pt x="1663" y="154"/>
                  <a:pt x="1669" y="152"/>
                </a:cubicBezTo>
                <a:cubicBezTo>
                  <a:pt x="1674" y="150"/>
                  <a:pt x="1679" y="149"/>
                  <a:pt x="1684" y="149"/>
                </a:cubicBezTo>
                <a:cubicBezTo>
                  <a:pt x="1689" y="150"/>
                  <a:pt x="1694" y="151"/>
                  <a:pt x="1699" y="154"/>
                </a:cubicBezTo>
                <a:cubicBezTo>
                  <a:pt x="1704" y="157"/>
                  <a:pt x="1708" y="160"/>
                  <a:pt x="1712" y="164"/>
                </a:cubicBezTo>
                <a:lnTo>
                  <a:pt x="1714" y="166"/>
                </a:lnTo>
                <a:close/>
                <a:moveTo>
                  <a:pt x="1699" y="175"/>
                </a:moveTo>
                <a:cubicBezTo>
                  <a:pt x="1693" y="169"/>
                  <a:pt x="1687" y="165"/>
                  <a:pt x="1680" y="164"/>
                </a:cubicBezTo>
                <a:cubicBezTo>
                  <a:pt x="1674" y="164"/>
                  <a:pt x="1668" y="166"/>
                  <a:pt x="1662" y="172"/>
                </a:cubicBezTo>
                <a:cubicBezTo>
                  <a:pt x="1659" y="175"/>
                  <a:pt x="1657" y="178"/>
                  <a:pt x="1656" y="181"/>
                </a:cubicBezTo>
                <a:cubicBezTo>
                  <a:pt x="1655" y="185"/>
                  <a:pt x="1654" y="188"/>
                  <a:pt x="1655" y="191"/>
                </a:cubicBezTo>
                <a:cubicBezTo>
                  <a:pt x="1655" y="195"/>
                  <a:pt x="1656" y="198"/>
                  <a:pt x="1658" y="201"/>
                </a:cubicBezTo>
                <a:cubicBezTo>
                  <a:pt x="1659" y="204"/>
                  <a:pt x="1661" y="207"/>
                  <a:pt x="1664" y="210"/>
                </a:cubicBezTo>
                <a:lnTo>
                  <a:pt x="1699" y="175"/>
                </a:lnTo>
                <a:close/>
                <a:moveTo>
                  <a:pt x="1829" y="122"/>
                </a:moveTo>
                <a:cubicBezTo>
                  <a:pt x="1830" y="122"/>
                  <a:pt x="1830" y="123"/>
                  <a:pt x="1830" y="123"/>
                </a:cubicBezTo>
                <a:cubicBezTo>
                  <a:pt x="1830" y="124"/>
                  <a:pt x="1830" y="124"/>
                  <a:pt x="1830" y="125"/>
                </a:cubicBezTo>
                <a:cubicBezTo>
                  <a:pt x="1829" y="125"/>
                  <a:pt x="1829" y="126"/>
                  <a:pt x="1828" y="127"/>
                </a:cubicBezTo>
                <a:cubicBezTo>
                  <a:pt x="1828" y="128"/>
                  <a:pt x="1827" y="129"/>
                  <a:pt x="1826" y="130"/>
                </a:cubicBezTo>
                <a:cubicBezTo>
                  <a:pt x="1824" y="131"/>
                  <a:pt x="1823" y="132"/>
                  <a:pt x="1823" y="133"/>
                </a:cubicBezTo>
                <a:cubicBezTo>
                  <a:pt x="1822" y="133"/>
                  <a:pt x="1821" y="134"/>
                  <a:pt x="1820" y="134"/>
                </a:cubicBezTo>
                <a:cubicBezTo>
                  <a:pt x="1820" y="134"/>
                  <a:pt x="1819" y="134"/>
                  <a:pt x="1819" y="134"/>
                </a:cubicBezTo>
                <a:cubicBezTo>
                  <a:pt x="1818" y="134"/>
                  <a:pt x="1818" y="134"/>
                  <a:pt x="1817" y="134"/>
                </a:cubicBezTo>
                <a:lnTo>
                  <a:pt x="1780" y="96"/>
                </a:lnTo>
                <a:cubicBezTo>
                  <a:pt x="1776" y="92"/>
                  <a:pt x="1773" y="90"/>
                  <a:pt x="1770" y="88"/>
                </a:cubicBezTo>
                <a:cubicBezTo>
                  <a:pt x="1767" y="86"/>
                  <a:pt x="1764" y="85"/>
                  <a:pt x="1761" y="85"/>
                </a:cubicBezTo>
                <a:cubicBezTo>
                  <a:pt x="1759" y="84"/>
                  <a:pt x="1756" y="84"/>
                  <a:pt x="1753" y="85"/>
                </a:cubicBezTo>
                <a:cubicBezTo>
                  <a:pt x="1751" y="86"/>
                  <a:pt x="1748" y="88"/>
                  <a:pt x="1746" y="90"/>
                </a:cubicBezTo>
                <a:cubicBezTo>
                  <a:pt x="1743" y="93"/>
                  <a:pt x="1741" y="97"/>
                  <a:pt x="1740" y="102"/>
                </a:cubicBezTo>
                <a:cubicBezTo>
                  <a:pt x="1740" y="107"/>
                  <a:pt x="1739" y="113"/>
                  <a:pt x="1740" y="121"/>
                </a:cubicBezTo>
                <a:lnTo>
                  <a:pt x="1785" y="166"/>
                </a:lnTo>
                <a:cubicBezTo>
                  <a:pt x="1786" y="166"/>
                  <a:pt x="1786" y="167"/>
                  <a:pt x="1786" y="167"/>
                </a:cubicBezTo>
                <a:cubicBezTo>
                  <a:pt x="1786" y="167"/>
                  <a:pt x="1786" y="168"/>
                  <a:pt x="1786" y="169"/>
                </a:cubicBezTo>
                <a:cubicBezTo>
                  <a:pt x="1786" y="169"/>
                  <a:pt x="1785" y="170"/>
                  <a:pt x="1785" y="171"/>
                </a:cubicBezTo>
                <a:cubicBezTo>
                  <a:pt x="1784" y="172"/>
                  <a:pt x="1783" y="173"/>
                  <a:pt x="1782" y="174"/>
                </a:cubicBezTo>
                <a:cubicBezTo>
                  <a:pt x="1781" y="175"/>
                  <a:pt x="1780" y="176"/>
                  <a:pt x="1779" y="177"/>
                </a:cubicBezTo>
                <a:cubicBezTo>
                  <a:pt x="1778" y="177"/>
                  <a:pt x="1777" y="178"/>
                  <a:pt x="1776" y="178"/>
                </a:cubicBezTo>
                <a:cubicBezTo>
                  <a:pt x="1776" y="178"/>
                  <a:pt x="1775" y="178"/>
                  <a:pt x="1775" y="178"/>
                </a:cubicBezTo>
                <a:cubicBezTo>
                  <a:pt x="1774" y="178"/>
                  <a:pt x="1774" y="178"/>
                  <a:pt x="1774" y="178"/>
                </a:cubicBezTo>
                <a:lnTo>
                  <a:pt x="1709" y="113"/>
                </a:lnTo>
                <a:cubicBezTo>
                  <a:pt x="1709" y="113"/>
                  <a:pt x="1708" y="112"/>
                  <a:pt x="1708" y="112"/>
                </a:cubicBezTo>
                <a:cubicBezTo>
                  <a:pt x="1708" y="111"/>
                  <a:pt x="1708" y="111"/>
                  <a:pt x="1708" y="110"/>
                </a:cubicBezTo>
                <a:cubicBezTo>
                  <a:pt x="1709" y="110"/>
                  <a:pt x="1709" y="109"/>
                  <a:pt x="1710" y="108"/>
                </a:cubicBezTo>
                <a:cubicBezTo>
                  <a:pt x="1710" y="107"/>
                  <a:pt x="1711" y="106"/>
                  <a:pt x="1712" y="105"/>
                </a:cubicBezTo>
                <a:cubicBezTo>
                  <a:pt x="1713" y="104"/>
                  <a:pt x="1714" y="103"/>
                  <a:pt x="1715" y="103"/>
                </a:cubicBezTo>
                <a:cubicBezTo>
                  <a:pt x="1716" y="102"/>
                  <a:pt x="1716" y="102"/>
                  <a:pt x="1717" y="102"/>
                </a:cubicBezTo>
                <a:cubicBezTo>
                  <a:pt x="1718" y="101"/>
                  <a:pt x="1718" y="101"/>
                  <a:pt x="1718" y="101"/>
                </a:cubicBezTo>
                <a:cubicBezTo>
                  <a:pt x="1719" y="102"/>
                  <a:pt x="1719" y="102"/>
                  <a:pt x="1720" y="102"/>
                </a:cubicBezTo>
                <a:lnTo>
                  <a:pt x="1728" y="111"/>
                </a:lnTo>
                <a:cubicBezTo>
                  <a:pt x="1728" y="103"/>
                  <a:pt x="1728" y="96"/>
                  <a:pt x="1730" y="91"/>
                </a:cubicBezTo>
                <a:cubicBezTo>
                  <a:pt x="1732" y="85"/>
                  <a:pt x="1735" y="81"/>
                  <a:pt x="1738" y="77"/>
                </a:cubicBezTo>
                <a:cubicBezTo>
                  <a:pt x="1743" y="73"/>
                  <a:pt x="1747" y="70"/>
                  <a:pt x="1751" y="68"/>
                </a:cubicBezTo>
                <a:cubicBezTo>
                  <a:pt x="1756" y="67"/>
                  <a:pt x="1760" y="67"/>
                  <a:pt x="1764" y="67"/>
                </a:cubicBezTo>
                <a:cubicBezTo>
                  <a:pt x="1769" y="68"/>
                  <a:pt x="1773" y="69"/>
                  <a:pt x="1777" y="72"/>
                </a:cubicBezTo>
                <a:cubicBezTo>
                  <a:pt x="1781" y="74"/>
                  <a:pt x="1785" y="78"/>
                  <a:pt x="1790" y="82"/>
                </a:cubicBezTo>
                <a:lnTo>
                  <a:pt x="1829" y="122"/>
                </a:lnTo>
                <a:close/>
                <a:moveTo>
                  <a:pt x="1882" y="60"/>
                </a:moveTo>
                <a:cubicBezTo>
                  <a:pt x="1883" y="61"/>
                  <a:pt x="1884" y="63"/>
                  <a:pt x="1885" y="64"/>
                </a:cubicBezTo>
                <a:cubicBezTo>
                  <a:pt x="1885" y="65"/>
                  <a:pt x="1886" y="65"/>
                  <a:pt x="1886" y="66"/>
                </a:cubicBezTo>
                <a:cubicBezTo>
                  <a:pt x="1886" y="67"/>
                  <a:pt x="1885" y="68"/>
                  <a:pt x="1885" y="69"/>
                </a:cubicBezTo>
                <a:cubicBezTo>
                  <a:pt x="1885" y="70"/>
                  <a:pt x="1884" y="71"/>
                  <a:pt x="1883" y="72"/>
                </a:cubicBezTo>
                <a:cubicBezTo>
                  <a:pt x="1882" y="74"/>
                  <a:pt x="1882" y="75"/>
                  <a:pt x="1881" y="76"/>
                </a:cubicBezTo>
                <a:cubicBezTo>
                  <a:pt x="1880" y="77"/>
                  <a:pt x="1879" y="79"/>
                  <a:pt x="1878" y="80"/>
                </a:cubicBezTo>
                <a:cubicBezTo>
                  <a:pt x="1874" y="83"/>
                  <a:pt x="1871" y="85"/>
                  <a:pt x="1868" y="87"/>
                </a:cubicBezTo>
                <a:cubicBezTo>
                  <a:pt x="1864" y="88"/>
                  <a:pt x="1861" y="89"/>
                  <a:pt x="1858" y="89"/>
                </a:cubicBezTo>
                <a:cubicBezTo>
                  <a:pt x="1854" y="89"/>
                  <a:pt x="1851" y="87"/>
                  <a:pt x="1848" y="85"/>
                </a:cubicBezTo>
                <a:cubicBezTo>
                  <a:pt x="1844" y="83"/>
                  <a:pt x="1840" y="80"/>
                  <a:pt x="1837" y="77"/>
                </a:cubicBezTo>
                <a:lnTo>
                  <a:pt x="1799" y="39"/>
                </a:lnTo>
                <a:lnTo>
                  <a:pt x="1790" y="48"/>
                </a:lnTo>
                <a:cubicBezTo>
                  <a:pt x="1789" y="49"/>
                  <a:pt x="1788" y="49"/>
                  <a:pt x="1787" y="49"/>
                </a:cubicBezTo>
                <a:cubicBezTo>
                  <a:pt x="1786" y="48"/>
                  <a:pt x="1784" y="47"/>
                  <a:pt x="1783" y="45"/>
                </a:cubicBezTo>
                <a:cubicBezTo>
                  <a:pt x="1782" y="45"/>
                  <a:pt x="1781" y="44"/>
                  <a:pt x="1781" y="43"/>
                </a:cubicBezTo>
                <a:cubicBezTo>
                  <a:pt x="1780" y="42"/>
                  <a:pt x="1780" y="42"/>
                  <a:pt x="1779" y="41"/>
                </a:cubicBezTo>
                <a:cubicBezTo>
                  <a:pt x="1779" y="40"/>
                  <a:pt x="1779" y="40"/>
                  <a:pt x="1779" y="39"/>
                </a:cubicBezTo>
                <a:cubicBezTo>
                  <a:pt x="1779" y="39"/>
                  <a:pt x="1780" y="38"/>
                  <a:pt x="1780" y="38"/>
                </a:cubicBezTo>
                <a:lnTo>
                  <a:pt x="1789" y="29"/>
                </a:lnTo>
                <a:lnTo>
                  <a:pt x="1774" y="14"/>
                </a:lnTo>
                <a:cubicBezTo>
                  <a:pt x="1773" y="13"/>
                  <a:pt x="1773" y="13"/>
                  <a:pt x="1773" y="12"/>
                </a:cubicBezTo>
                <a:cubicBezTo>
                  <a:pt x="1773" y="12"/>
                  <a:pt x="1773" y="11"/>
                  <a:pt x="1773" y="11"/>
                </a:cubicBezTo>
                <a:cubicBezTo>
                  <a:pt x="1773" y="10"/>
                  <a:pt x="1774" y="9"/>
                  <a:pt x="1775" y="9"/>
                </a:cubicBezTo>
                <a:cubicBezTo>
                  <a:pt x="1775" y="8"/>
                  <a:pt x="1776" y="7"/>
                  <a:pt x="1777" y="5"/>
                </a:cubicBezTo>
                <a:cubicBezTo>
                  <a:pt x="1779" y="4"/>
                  <a:pt x="1780" y="3"/>
                  <a:pt x="1780" y="3"/>
                </a:cubicBezTo>
                <a:cubicBezTo>
                  <a:pt x="1781" y="2"/>
                  <a:pt x="1782" y="2"/>
                  <a:pt x="1783" y="1"/>
                </a:cubicBezTo>
                <a:cubicBezTo>
                  <a:pt x="1783" y="1"/>
                  <a:pt x="1784" y="1"/>
                  <a:pt x="1784" y="1"/>
                </a:cubicBezTo>
                <a:cubicBezTo>
                  <a:pt x="1785" y="1"/>
                  <a:pt x="1785" y="1"/>
                  <a:pt x="1786" y="2"/>
                </a:cubicBezTo>
                <a:lnTo>
                  <a:pt x="1801" y="17"/>
                </a:lnTo>
                <a:lnTo>
                  <a:pt x="1818" y="1"/>
                </a:lnTo>
                <a:cubicBezTo>
                  <a:pt x="1818" y="0"/>
                  <a:pt x="1818" y="0"/>
                  <a:pt x="1819" y="0"/>
                </a:cubicBezTo>
                <a:cubicBezTo>
                  <a:pt x="1819" y="0"/>
                  <a:pt x="1820" y="0"/>
                  <a:pt x="1820" y="0"/>
                </a:cubicBezTo>
                <a:cubicBezTo>
                  <a:pt x="1821" y="0"/>
                  <a:pt x="1822" y="1"/>
                  <a:pt x="1822" y="1"/>
                </a:cubicBezTo>
                <a:cubicBezTo>
                  <a:pt x="1823" y="2"/>
                  <a:pt x="1824" y="2"/>
                  <a:pt x="1825" y="3"/>
                </a:cubicBezTo>
                <a:cubicBezTo>
                  <a:pt x="1827" y="5"/>
                  <a:pt x="1828" y="6"/>
                  <a:pt x="1828" y="8"/>
                </a:cubicBezTo>
                <a:cubicBezTo>
                  <a:pt x="1828" y="9"/>
                  <a:pt x="1828" y="10"/>
                  <a:pt x="1827" y="10"/>
                </a:cubicBezTo>
                <a:lnTo>
                  <a:pt x="1811" y="27"/>
                </a:lnTo>
                <a:lnTo>
                  <a:pt x="1847" y="63"/>
                </a:lnTo>
                <a:cubicBezTo>
                  <a:pt x="1851" y="68"/>
                  <a:pt x="1855" y="70"/>
                  <a:pt x="1859" y="71"/>
                </a:cubicBezTo>
                <a:cubicBezTo>
                  <a:pt x="1863" y="72"/>
                  <a:pt x="1866" y="71"/>
                  <a:pt x="1869" y="68"/>
                </a:cubicBezTo>
                <a:cubicBezTo>
                  <a:pt x="1871" y="66"/>
                  <a:pt x="1871" y="65"/>
                  <a:pt x="1872" y="64"/>
                </a:cubicBezTo>
                <a:cubicBezTo>
                  <a:pt x="1873" y="63"/>
                  <a:pt x="1873" y="62"/>
                  <a:pt x="1874" y="61"/>
                </a:cubicBezTo>
                <a:cubicBezTo>
                  <a:pt x="1874" y="60"/>
                  <a:pt x="1874" y="60"/>
                  <a:pt x="1875" y="59"/>
                </a:cubicBezTo>
                <a:cubicBezTo>
                  <a:pt x="1875" y="58"/>
                  <a:pt x="1875" y="58"/>
                  <a:pt x="1876" y="57"/>
                </a:cubicBezTo>
                <a:cubicBezTo>
                  <a:pt x="1876" y="57"/>
                  <a:pt x="1876" y="57"/>
                  <a:pt x="1877" y="57"/>
                </a:cubicBezTo>
                <a:cubicBezTo>
                  <a:pt x="1877" y="57"/>
                  <a:pt x="1877" y="57"/>
                  <a:pt x="1878" y="57"/>
                </a:cubicBezTo>
                <a:cubicBezTo>
                  <a:pt x="1878" y="57"/>
                  <a:pt x="1879" y="58"/>
                  <a:pt x="1879" y="58"/>
                </a:cubicBezTo>
                <a:cubicBezTo>
                  <a:pt x="1880" y="58"/>
                  <a:pt x="1881" y="59"/>
                  <a:pt x="1882" y="60"/>
                </a:cubicBezTo>
                <a:close/>
              </a:path>
            </a:pathLst>
          </a:custGeom>
          <a:solidFill>
            <a:srgbClr val="000000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096" name="Freeform 40"/>
          <p:cNvSpPr>
            <a:spLocks noEditPoints="1"/>
          </p:cNvSpPr>
          <p:nvPr/>
        </p:nvSpPr>
        <p:spPr bwMode="auto">
          <a:xfrm>
            <a:off x="2237047" y="3985506"/>
            <a:ext cx="1517650" cy="1481138"/>
          </a:xfrm>
          <a:custGeom>
            <a:avLst/>
            <a:gdLst/>
            <a:ahLst/>
            <a:cxnLst>
              <a:cxn ang="0">
                <a:pos x="0" y="2290"/>
              </a:cxn>
              <a:cxn ang="0">
                <a:pos x="139" y="2162"/>
              </a:cxn>
              <a:cxn ang="0">
                <a:pos x="197" y="2182"/>
              </a:cxn>
              <a:cxn ang="0">
                <a:pos x="211" y="2258"/>
              </a:cxn>
              <a:cxn ang="0">
                <a:pos x="106" y="2199"/>
              </a:cxn>
              <a:cxn ang="0">
                <a:pos x="314" y="2153"/>
              </a:cxn>
              <a:cxn ang="0">
                <a:pos x="298" y="2114"/>
              </a:cxn>
              <a:cxn ang="0">
                <a:pos x="411" y="2040"/>
              </a:cxn>
              <a:cxn ang="0">
                <a:pos x="498" y="1967"/>
              </a:cxn>
              <a:cxn ang="0">
                <a:pos x="444" y="1891"/>
              </a:cxn>
              <a:cxn ang="0">
                <a:pos x="558" y="1795"/>
              </a:cxn>
              <a:cxn ang="0">
                <a:pos x="613" y="1913"/>
              </a:cxn>
              <a:cxn ang="0">
                <a:pos x="555" y="1791"/>
              </a:cxn>
              <a:cxn ang="0">
                <a:pos x="604" y="1903"/>
              </a:cxn>
              <a:cxn ang="0">
                <a:pos x="636" y="1838"/>
              </a:cxn>
              <a:cxn ang="0">
                <a:pos x="604" y="1737"/>
              </a:cxn>
              <a:cxn ang="0">
                <a:pos x="674" y="1696"/>
              </a:cxn>
              <a:cxn ang="0">
                <a:pos x="695" y="1716"/>
              </a:cxn>
              <a:cxn ang="0">
                <a:pos x="766" y="1705"/>
              </a:cxn>
              <a:cxn ang="0">
                <a:pos x="717" y="1642"/>
              </a:cxn>
              <a:cxn ang="0">
                <a:pos x="872" y="1576"/>
              </a:cxn>
              <a:cxn ang="0">
                <a:pos x="824" y="1528"/>
              </a:cxn>
              <a:cxn ang="0">
                <a:pos x="884" y="1404"/>
              </a:cxn>
              <a:cxn ang="0">
                <a:pos x="1049" y="1404"/>
              </a:cxn>
              <a:cxn ang="0">
                <a:pos x="984" y="1369"/>
              </a:cxn>
              <a:cxn ang="0">
                <a:pos x="1057" y="1235"/>
              </a:cxn>
              <a:cxn ang="0">
                <a:pos x="1120" y="1349"/>
              </a:cxn>
              <a:cxn ang="0">
                <a:pos x="1183" y="1226"/>
              </a:cxn>
              <a:cxn ang="0">
                <a:pos x="1161" y="1297"/>
              </a:cxn>
              <a:cxn ang="0">
                <a:pos x="1224" y="1136"/>
              </a:cxn>
              <a:cxn ang="0">
                <a:pos x="1180" y="1155"/>
              </a:cxn>
              <a:cxn ang="0">
                <a:pos x="1278" y="1081"/>
              </a:cxn>
              <a:cxn ang="0">
                <a:pos x="1242" y="1095"/>
              </a:cxn>
              <a:cxn ang="0">
                <a:pos x="1387" y="1070"/>
              </a:cxn>
              <a:cxn ang="0">
                <a:pos x="1300" y="1061"/>
              </a:cxn>
              <a:cxn ang="0">
                <a:pos x="1362" y="1048"/>
              </a:cxn>
              <a:cxn ang="0">
                <a:pos x="1526" y="946"/>
              </a:cxn>
              <a:cxn ang="0">
                <a:pos x="1486" y="902"/>
              </a:cxn>
              <a:cxn ang="0">
                <a:pos x="1505" y="887"/>
              </a:cxn>
              <a:cxn ang="0">
                <a:pos x="1529" y="783"/>
              </a:cxn>
              <a:cxn ang="0">
                <a:pos x="1674" y="802"/>
              </a:cxn>
              <a:cxn ang="0">
                <a:pos x="1597" y="739"/>
              </a:cxn>
              <a:cxn ang="0">
                <a:pos x="1749" y="725"/>
              </a:cxn>
              <a:cxn ang="0">
                <a:pos x="1598" y="678"/>
              </a:cxn>
              <a:cxn ang="0">
                <a:pos x="1822" y="650"/>
              </a:cxn>
              <a:cxn ang="0">
                <a:pos x="1740" y="567"/>
              </a:cxn>
              <a:cxn ang="0">
                <a:pos x="1934" y="525"/>
              </a:cxn>
              <a:cxn ang="0">
                <a:pos x="1854" y="498"/>
              </a:cxn>
              <a:cxn ang="0">
                <a:pos x="1974" y="500"/>
              </a:cxn>
              <a:cxn ang="0">
                <a:pos x="1938" y="401"/>
              </a:cxn>
              <a:cxn ang="0">
                <a:pos x="2000" y="342"/>
              </a:cxn>
              <a:cxn ang="0">
                <a:pos x="2054" y="387"/>
              </a:cxn>
              <a:cxn ang="0">
                <a:pos x="2138" y="330"/>
              </a:cxn>
              <a:cxn ang="0">
                <a:pos x="2060" y="333"/>
              </a:cxn>
              <a:cxn ang="0">
                <a:pos x="2175" y="299"/>
              </a:cxn>
              <a:cxn ang="0">
                <a:pos x="2282" y="189"/>
              </a:cxn>
              <a:cxn ang="0">
                <a:pos x="2176" y="125"/>
              </a:cxn>
              <a:cxn ang="0">
                <a:pos x="2278" y="182"/>
              </a:cxn>
              <a:cxn ang="0">
                <a:pos x="2213" y="95"/>
              </a:cxn>
              <a:cxn ang="0">
                <a:pos x="2244" y="34"/>
              </a:cxn>
              <a:cxn ang="0">
                <a:pos x="2407" y="65"/>
              </a:cxn>
              <a:cxn ang="0">
                <a:pos x="2366" y="26"/>
              </a:cxn>
            </a:cxnLst>
            <a:rect l="0" t="0" r="r" b="b"/>
            <a:pathLst>
              <a:path w="2411" h="2352">
                <a:moveTo>
                  <a:pt x="73" y="2225"/>
                </a:moveTo>
                <a:cubicBezTo>
                  <a:pt x="74" y="2226"/>
                  <a:pt x="75" y="2227"/>
                  <a:pt x="75" y="2227"/>
                </a:cubicBezTo>
                <a:cubicBezTo>
                  <a:pt x="76" y="2228"/>
                  <a:pt x="76" y="2229"/>
                  <a:pt x="76" y="2230"/>
                </a:cubicBezTo>
                <a:cubicBezTo>
                  <a:pt x="77" y="2230"/>
                  <a:pt x="77" y="2231"/>
                  <a:pt x="76" y="2231"/>
                </a:cubicBezTo>
                <a:cubicBezTo>
                  <a:pt x="76" y="2232"/>
                  <a:pt x="76" y="2232"/>
                  <a:pt x="76" y="2233"/>
                </a:cubicBezTo>
                <a:lnTo>
                  <a:pt x="50" y="2259"/>
                </a:lnTo>
                <a:lnTo>
                  <a:pt x="130" y="2339"/>
                </a:lnTo>
                <a:cubicBezTo>
                  <a:pt x="130" y="2340"/>
                  <a:pt x="131" y="2340"/>
                  <a:pt x="131" y="2341"/>
                </a:cubicBezTo>
                <a:cubicBezTo>
                  <a:pt x="131" y="2341"/>
                  <a:pt x="131" y="2342"/>
                  <a:pt x="130" y="2342"/>
                </a:cubicBezTo>
                <a:cubicBezTo>
                  <a:pt x="130" y="2343"/>
                  <a:pt x="130" y="2344"/>
                  <a:pt x="129" y="2345"/>
                </a:cubicBezTo>
                <a:cubicBezTo>
                  <a:pt x="128" y="2346"/>
                  <a:pt x="127" y="2347"/>
                  <a:pt x="126" y="2348"/>
                </a:cubicBezTo>
                <a:cubicBezTo>
                  <a:pt x="125" y="2349"/>
                  <a:pt x="124" y="2350"/>
                  <a:pt x="123" y="2351"/>
                </a:cubicBezTo>
                <a:cubicBezTo>
                  <a:pt x="122" y="2351"/>
                  <a:pt x="121" y="2352"/>
                  <a:pt x="121" y="2352"/>
                </a:cubicBezTo>
                <a:cubicBezTo>
                  <a:pt x="120" y="2352"/>
                  <a:pt x="120" y="2352"/>
                  <a:pt x="119" y="2352"/>
                </a:cubicBezTo>
                <a:cubicBezTo>
                  <a:pt x="119" y="2352"/>
                  <a:pt x="118" y="2352"/>
                  <a:pt x="118" y="2352"/>
                </a:cubicBezTo>
                <a:lnTo>
                  <a:pt x="37" y="2271"/>
                </a:lnTo>
                <a:lnTo>
                  <a:pt x="11" y="2297"/>
                </a:lnTo>
                <a:cubicBezTo>
                  <a:pt x="11" y="2298"/>
                  <a:pt x="10" y="2298"/>
                  <a:pt x="10" y="2298"/>
                </a:cubicBezTo>
                <a:cubicBezTo>
                  <a:pt x="9" y="2298"/>
                  <a:pt x="9" y="2298"/>
                  <a:pt x="8" y="2298"/>
                </a:cubicBezTo>
                <a:cubicBezTo>
                  <a:pt x="7" y="2298"/>
                  <a:pt x="7" y="2297"/>
                  <a:pt x="6" y="2297"/>
                </a:cubicBezTo>
                <a:cubicBezTo>
                  <a:pt x="5" y="2296"/>
                  <a:pt x="4" y="2295"/>
                  <a:pt x="3" y="2294"/>
                </a:cubicBezTo>
                <a:cubicBezTo>
                  <a:pt x="3" y="2294"/>
                  <a:pt x="2" y="2293"/>
                  <a:pt x="1" y="2292"/>
                </a:cubicBezTo>
                <a:cubicBezTo>
                  <a:pt x="1" y="2291"/>
                  <a:pt x="0" y="2290"/>
                  <a:pt x="0" y="2290"/>
                </a:cubicBezTo>
                <a:cubicBezTo>
                  <a:pt x="0" y="2289"/>
                  <a:pt x="0" y="2289"/>
                  <a:pt x="0" y="2288"/>
                </a:cubicBezTo>
                <a:cubicBezTo>
                  <a:pt x="0" y="2288"/>
                  <a:pt x="0" y="2287"/>
                  <a:pt x="1" y="2287"/>
                </a:cubicBezTo>
                <a:lnTo>
                  <a:pt x="65" y="2222"/>
                </a:lnTo>
                <a:cubicBezTo>
                  <a:pt x="66" y="2222"/>
                  <a:pt x="66" y="2221"/>
                  <a:pt x="67" y="2221"/>
                </a:cubicBezTo>
                <a:cubicBezTo>
                  <a:pt x="67" y="2221"/>
                  <a:pt x="68" y="2221"/>
                  <a:pt x="68" y="2221"/>
                </a:cubicBezTo>
                <a:cubicBezTo>
                  <a:pt x="69" y="2222"/>
                  <a:pt x="70" y="2222"/>
                  <a:pt x="70" y="2223"/>
                </a:cubicBezTo>
                <a:cubicBezTo>
                  <a:pt x="71" y="2223"/>
                  <a:pt x="72" y="2224"/>
                  <a:pt x="73" y="2225"/>
                </a:cubicBezTo>
                <a:close/>
                <a:moveTo>
                  <a:pt x="141" y="2283"/>
                </a:moveTo>
                <a:cubicBezTo>
                  <a:pt x="138" y="2280"/>
                  <a:pt x="136" y="2278"/>
                  <a:pt x="135" y="2274"/>
                </a:cubicBezTo>
                <a:cubicBezTo>
                  <a:pt x="133" y="2271"/>
                  <a:pt x="132" y="2268"/>
                  <a:pt x="131" y="2264"/>
                </a:cubicBezTo>
                <a:cubicBezTo>
                  <a:pt x="130" y="2260"/>
                  <a:pt x="130" y="2256"/>
                  <a:pt x="131" y="2252"/>
                </a:cubicBezTo>
                <a:cubicBezTo>
                  <a:pt x="131" y="2247"/>
                  <a:pt x="132" y="2242"/>
                  <a:pt x="133" y="2237"/>
                </a:cubicBezTo>
                <a:cubicBezTo>
                  <a:pt x="129" y="2236"/>
                  <a:pt x="125" y="2235"/>
                  <a:pt x="121" y="2234"/>
                </a:cubicBezTo>
                <a:cubicBezTo>
                  <a:pt x="118" y="2234"/>
                  <a:pt x="115" y="2233"/>
                  <a:pt x="112" y="2232"/>
                </a:cubicBezTo>
                <a:cubicBezTo>
                  <a:pt x="109" y="2231"/>
                  <a:pt x="107" y="2230"/>
                  <a:pt x="105" y="2229"/>
                </a:cubicBezTo>
                <a:cubicBezTo>
                  <a:pt x="103" y="2227"/>
                  <a:pt x="101" y="2226"/>
                  <a:pt x="99" y="2224"/>
                </a:cubicBezTo>
                <a:cubicBezTo>
                  <a:pt x="96" y="2221"/>
                  <a:pt x="94" y="2218"/>
                  <a:pt x="92" y="2214"/>
                </a:cubicBezTo>
                <a:cubicBezTo>
                  <a:pt x="91" y="2210"/>
                  <a:pt x="90" y="2206"/>
                  <a:pt x="90" y="2202"/>
                </a:cubicBezTo>
                <a:cubicBezTo>
                  <a:pt x="90" y="2198"/>
                  <a:pt x="91" y="2193"/>
                  <a:pt x="94" y="2189"/>
                </a:cubicBezTo>
                <a:cubicBezTo>
                  <a:pt x="96" y="2184"/>
                  <a:pt x="100" y="2179"/>
                  <a:pt x="105" y="2174"/>
                </a:cubicBezTo>
                <a:cubicBezTo>
                  <a:pt x="109" y="2170"/>
                  <a:pt x="113" y="2167"/>
                  <a:pt x="117" y="2164"/>
                </a:cubicBezTo>
                <a:cubicBezTo>
                  <a:pt x="121" y="2162"/>
                  <a:pt x="125" y="2161"/>
                  <a:pt x="129" y="2161"/>
                </a:cubicBezTo>
                <a:cubicBezTo>
                  <a:pt x="132" y="2160"/>
                  <a:pt x="136" y="2161"/>
                  <a:pt x="139" y="2162"/>
                </a:cubicBezTo>
                <a:cubicBezTo>
                  <a:pt x="143" y="2163"/>
                  <a:pt x="146" y="2166"/>
                  <a:pt x="149" y="2169"/>
                </a:cubicBezTo>
                <a:cubicBezTo>
                  <a:pt x="151" y="2171"/>
                  <a:pt x="154" y="2174"/>
                  <a:pt x="155" y="2178"/>
                </a:cubicBezTo>
                <a:cubicBezTo>
                  <a:pt x="156" y="2181"/>
                  <a:pt x="157" y="2185"/>
                  <a:pt x="157" y="2189"/>
                </a:cubicBezTo>
                <a:cubicBezTo>
                  <a:pt x="158" y="2193"/>
                  <a:pt x="157" y="2198"/>
                  <a:pt x="156" y="2203"/>
                </a:cubicBezTo>
                <a:cubicBezTo>
                  <a:pt x="155" y="2208"/>
                  <a:pt x="154" y="2215"/>
                  <a:pt x="152" y="2221"/>
                </a:cubicBezTo>
                <a:cubicBezTo>
                  <a:pt x="155" y="2222"/>
                  <a:pt x="159" y="2222"/>
                  <a:pt x="163" y="2222"/>
                </a:cubicBezTo>
                <a:cubicBezTo>
                  <a:pt x="167" y="2222"/>
                  <a:pt x="171" y="2223"/>
                  <a:pt x="176" y="2223"/>
                </a:cubicBezTo>
                <a:cubicBezTo>
                  <a:pt x="180" y="2223"/>
                  <a:pt x="184" y="2223"/>
                  <a:pt x="188" y="2223"/>
                </a:cubicBezTo>
                <a:cubicBezTo>
                  <a:pt x="193" y="2222"/>
                  <a:pt x="197" y="2222"/>
                  <a:pt x="201" y="2222"/>
                </a:cubicBezTo>
                <a:cubicBezTo>
                  <a:pt x="201" y="2220"/>
                  <a:pt x="200" y="2218"/>
                  <a:pt x="199" y="2215"/>
                </a:cubicBezTo>
                <a:cubicBezTo>
                  <a:pt x="198" y="2213"/>
                  <a:pt x="197" y="2210"/>
                  <a:pt x="196" y="2208"/>
                </a:cubicBezTo>
                <a:cubicBezTo>
                  <a:pt x="195" y="2205"/>
                  <a:pt x="193" y="2203"/>
                  <a:pt x="191" y="2201"/>
                </a:cubicBezTo>
                <a:cubicBezTo>
                  <a:pt x="190" y="2199"/>
                  <a:pt x="188" y="2197"/>
                  <a:pt x="186" y="2195"/>
                </a:cubicBezTo>
                <a:lnTo>
                  <a:pt x="183" y="2192"/>
                </a:lnTo>
                <a:cubicBezTo>
                  <a:pt x="183" y="2192"/>
                  <a:pt x="183" y="2191"/>
                  <a:pt x="183" y="2191"/>
                </a:cubicBezTo>
                <a:cubicBezTo>
                  <a:pt x="182" y="2190"/>
                  <a:pt x="182" y="2190"/>
                  <a:pt x="183" y="2189"/>
                </a:cubicBezTo>
                <a:cubicBezTo>
                  <a:pt x="183" y="2188"/>
                  <a:pt x="183" y="2188"/>
                  <a:pt x="184" y="2187"/>
                </a:cubicBezTo>
                <a:cubicBezTo>
                  <a:pt x="184" y="2186"/>
                  <a:pt x="185" y="2185"/>
                  <a:pt x="187" y="2184"/>
                </a:cubicBezTo>
                <a:cubicBezTo>
                  <a:pt x="188" y="2183"/>
                  <a:pt x="189" y="2182"/>
                  <a:pt x="189" y="2181"/>
                </a:cubicBezTo>
                <a:cubicBezTo>
                  <a:pt x="190" y="2181"/>
                  <a:pt x="191" y="2180"/>
                  <a:pt x="191" y="2180"/>
                </a:cubicBezTo>
                <a:cubicBezTo>
                  <a:pt x="192" y="2179"/>
                  <a:pt x="193" y="2179"/>
                  <a:pt x="193" y="2179"/>
                </a:cubicBezTo>
                <a:cubicBezTo>
                  <a:pt x="194" y="2180"/>
                  <a:pt x="194" y="2180"/>
                  <a:pt x="195" y="2181"/>
                </a:cubicBezTo>
                <a:lnTo>
                  <a:pt x="197" y="2182"/>
                </a:lnTo>
                <a:cubicBezTo>
                  <a:pt x="200" y="2185"/>
                  <a:pt x="202" y="2188"/>
                  <a:pt x="204" y="2191"/>
                </a:cubicBezTo>
                <a:cubicBezTo>
                  <a:pt x="206" y="2194"/>
                  <a:pt x="208" y="2197"/>
                  <a:pt x="210" y="2200"/>
                </a:cubicBezTo>
                <a:cubicBezTo>
                  <a:pt x="212" y="2204"/>
                  <a:pt x="213" y="2207"/>
                  <a:pt x="214" y="2210"/>
                </a:cubicBezTo>
                <a:cubicBezTo>
                  <a:pt x="215" y="2214"/>
                  <a:pt x="216" y="2217"/>
                  <a:pt x="216" y="2221"/>
                </a:cubicBezTo>
                <a:cubicBezTo>
                  <a:pt x="220" y="2220"/>
                  <a:pt x="223" y="2220"/>
                  <a:pt x="226" y="2219"/>
                </a:cubicBezTo>
                <a:cubicBezTo>
                  <a:pt x="229" y="2219"/>
                  <a:pt x="231" y="2218"/>
                  <a:pt x="233" y="2218"/>
                </a:cubicBezTo>
                <a:cubicBezTo>
                  <a:pt x="235" y="2218"/>
                  <a:pt x="236" y="2217"/>
                  <a:pt x="237" y="2217"/>
                </a:cubicBezTo>
                <a:cubicBezTo>
                  <a:pt x="238" y="2216"/>
                  <a:pt x="239" y="2216"/>
                  <a:pt x="240" y="2215"/>
                </a:cubicBezTo>
                <a:cubicBezTo>
                  <a:pt x="240" y="2215"/>
                  <a:pt x="241" y="2214"/>
                  <a:pt x="241" y="2214"/>
                </a:cubicBezTo>
                <a:cubicBezTo>
                  <a:pt x="241" y="2213"/>
                  <a:pt x="242" y="2213"/>
                  <a:pt x="242" y="2213"/>
                </a:cubicBezTo>
                <a:cubicBezTo>
                  <a:pt x="243" y="2213"/>
                  <a:pt x="243" y="2213"/>
                  <a:pt x="244" y="2214"/>
                </a:cubicBezTo>
                <a:cubicBezTo>
                  <a:pt x="245" y="2214"/>
                  <a:pt x="246" y="2215"/>
                  <a:pt x="247" y="2216"/>
                </a:cubicBezTo>
                <a:cubicBezTo>
                  <a:pt x="248" y="2217"/>
                  <a:pt x="249" y="2218"/>
                  <a:pt x="250" y="2219"/>
                </a:cubicBezTo>
                <a:cubicBezTo>
                  <a:pt x="250" y="2220"/>
                  <a:pt x="251" y="2220"/>
                  <a:pt x="251" y="2221"/>
                </a:cubicBezTo>
                <a:cubicBezTo>
                  <a:pt x="251" y="2221"/>
                  <a:pt x="251" y="2222"/>
                  <a:pt x="251" y="2222"/>
                </a:cubicBezTo>
                <a:cubicBezTo>
                  <a:pt x="251" y="2223"/>
                  <a:pt x="251" y="2224"/>
                  <a:pt x="250" y="2225"/>
                </a:cubicBezTo>
                <a:cubicBezTo>
                  <a:pt x="250" y="2226"/>
                  <a:pt x="249" y="2227"/>
                  <a:pt x="248" y="2228"/>
                </a:cubicBezTo>
                <a:cubicBezTo>
                  <a:pt x="247" y="2229"/>
                  <a:pt x="246" y="2230"/>
                  <a:pt x="244" y="2231"/>
                </a:cubicBezTo>
                <a:cubicBezTo>
                  <a:pt x="243" y="2231"/>
                  <a:pt x="241" y="2232"/>
                  <a:pt x="238" y="2233"/>
                </a:cubicBezTo>
                <a:cubicBezTo>
                  <a:pt x="236" y="2234"/>
                  <a:pt x="233" y="2234"/>
                  <a:pt x="229" y="2235"/>
                </a:cubicBezTo>
                <a:cubicBezTo>
                  <a:pt x="226" y="2235"/>
                  <a:pt x="222" y="2236"/>
                  <a:pt x="217" y="2236"/>
                </a:cubicBezTo>
                <a:cubicBezTo>
                  <a:pt x="216" y="2240"/>
                  <a:pt x="216" y="2244"/>
                  <a:pt x="215" y="2247"/>
                </a:cubicBezTo>
                <a:cubicBezTo>
                  <a:pt x="214" y="2251"/>
                  <a:pt x="213" y="2254"/>
                  <a:pt x="211" y="2258"/>
                </a:cubicBezTo>
                <a:cubicBezTo>
                  <a:pt x="210" y="2261"/>
                  <a:pt x="208" y="2265"/>
                  <a:pt x="206" y="2268"/>
                </a:cubicBezTo>
                <a:cubicBezTo>
                  <a:pt x="204" y="2271"/>
                  <a:pt x="201" y="2275"/>
                  <a:pt x="198" y="2278"/>
                </a:cubicBezTo>
                <a:cubicBezTo>
                  <a:pt x="195" y="2281"/>
                  <a:pt x="192" y="2284"/>
                  <a:pt x="188" y="2286"/>
                </a:cubicBezTo>
                <a:cubicBezTo>
                  <a:pt x="185" y="2288"/>
                  <a:pt x="182" y="2290"/>
                  <a:pt x="179" y="2291"/>
                </a:cubicBezTo>
                <a:cubicBezTo>
                  <a:pt x="175" y="2292"/>
                  <a:pt x="172" y="2293"/>
                  <a:pt x="169" y="2293"/>
                </a:cubicBezTo>
                <a:cubicBezTo>
                  <a:pt x="165" y="2294"/>
                  <a:pt x="162" y="2294"/>
                  <a:pt x="159" y="2293"/>
                </a:cubicBezTo>
                <a:cubicBezTo>
                  <a:pt x="156" y="2292"/>
                  <a:pt x="153" y="2291"/>
                  <a:pt x="150" y="2290"/>
                </a:cubicBezTo>
                <a:cubicBezTo>
                  <a:pt x="147" y="2288"/>
                  <a:pt x="144" y="2286"/>
                  <a:pt x="141" y="2283"/>
                </a:cubicBezTo>
                <a:close/>
                <a:moveTo>
                  <a:pt x="111" y="2211"/>
                </a:moveTo>
                <a:cubicBezTo>
                  <a:pt x="112" y="2212"/>
                  <a:pt x="114" y="2213"/>
                  <a:pt x="116" y="2214"/>
                </a:cubicBezTo>
                <a:cubicBezTo>
                  <a:pt x="117" y="2215"/>
                  <a:pt x="119" y="2216"/>
                  <a:pt x="121" y="2217"/>
                </a:cubicBezTo>
                <a:cubicBezTo>
                  <a:pt x="124" y="2217"/>
                  <a:pt x="126" y="2218"/>
                  <a:pt x="129" y="2219"/>
                </a:cubicBezTo>
                <a:cubicBezTo>
                  <a:pt x="132" y="2219"/>
                  <a:pt x="135" y="2220"/>
                  <a:pt x="138" y="2220"/>
                </a:cubicBezTo>
                <a:cubicBezTo>
                  <a:pt x="140" y="2215"/>
                  <a:pt x="141" y="2210"/>
                  <a:pt x="142" y="2206"/>
                </a:cubicBezTo>
                <a:cubicBezTo>
                  <a:pt x="142" y="2202"/>
                  <a:pt x="143" y="2199"/>
                  <a:pt x="143" y="2196"/>
                </a:cubicBezTo>
                <a:cubicBezTo>
                  <a:pt x="143" y="2193"/>
                  <a:pt x="142" y="2190"/>
                  <a:pt x="141" y="2188"/>
                </a:cubicBezTo>
                <a:cubicBezTo>
                  <a:pt x="140" y="2186"/>
                  <a:pt x="139" y="2184"/>
                  <a:pt x="137" y="2182"/>
                </a:cubicBezTo>
                <a:cubicBezTo>
                  <a:pt x="136" y="2181"/>
                  <a:pt x="134" y="2180"/>
                  <a:pt x="132" y="2179"/>
                </a:cubicBezTo>
                <a:cubicBezTo>
                  <a:pt x="131" y="2178"/>
                  <a:pt x="129" y="2178"/>
                  <a:pt x="127" y="2178"/>
                </a:cubicBezTo>
                <a:cubicBezTo>
                  <a:pt x="125" y="2178"/>
                  <a:pt x="122" y="2179"/>
                  <a:pt x="120" y="2180"/>
                </a:cubicBezTo>
                <a:cubicBezTo>
                  <a:pt x="118" y="2181"/>
                  <a:pt x="116" y="2183"/>
                  <a:pt x="113" y="2185"/>
                </a:cubicBezTo>
                <a:cubicBezTo>
                  <a:pt x="111" y="2187"/>
                  <a:pt x="109" y="2190"/>
                  <a:pt x="108" y="2192"/>
                </a:cubicBezTo>
                <a:cubicBezTo>
                  <a:pt x="107" y="2195"/>
                  <a:pt x="106" y="2197"/>
                  <a:pt x="106" y="2199"/>
                </a:cubicBezTo>
                <a:cubicBezTo>
                  <a:pt x="106" y="2201"/>
                  <a:pt x="107" y="2203"/>
                  <a:pt x="107" y="2205"/>
                </a:cubicBezTo>
                <a:cubicBezTo>
                  <a:pt x="108" y="2207"/>
                  <a:pt x="110" y="2209"/>
                  <a:pt x="111" y="2211"/>
                </a:cubicBezTo>
                <a:close/>
                <a:moveTo>
                  <a:pt x="153" y="2269"/>
                </a:moveTo>
                <a:cubicBezTo>
                  <a:pt x="155" y="2271"/>
                  <a:pt x="158" y="2273"/>
                  <a:pt x="161" y="2275"/>
                </a:cubicBezTo>
                <a:cubicBezTo>
                  <a:pt x="164" y="2276"/>
                  <a:pt x="167" y="2276"/>
                  <a:pt x="170" y="2276"/>
                </a:cubicBezTo>
                <a:cubicBezTo>
                  <a:pt x="173" y="2276"/>
                  <a:pt x="176" y="2275"/>
                  <a:pt x="179" y="2274"/>
                </a:cubicBezTo>
                <a:cubicBezTo>
                  <a:pt x="183" y="2272"/>
                  <a:pt x="186" y="2270"/>
                  <a:pt x="189" y="2266"/>
                </a:cubicBezTo>
                <a:cubicBezTo>
                  <a:pt x="191" y="2264"/>
                  <a:pt x="193" y="2262"/>
                  <a:pt x="194" y="2260"/>
                </a:cubicBezTo>
                <a:cubicBezTo>
                  <a:pt x="196" y="2258"/>
                  <a:pt x="197" y="2255"/>
                  <a:pt x="198" y="2253"/>
                </a:cubicBezTo>
                <a:cubicBezTo>
                  <a:pt x="199" y="2251"/>
                  <a:pt x="200" y="2248"/>
                  <a:pt x="200" y="2246"/>
                </a:cubicBezTo>
                <a:cubicBezTo>
                  <a:pt x="201" y="2243"/>
                  <a:pt x="201" y="2241"/>
                  <a:pt x="202" y="2238"/>
                </a:cubicBezTo>
                <a:cubicBezTo>
                  <a:pt x="197" y="2239"/>
                  <a:pt x="192" y="2239"/>
                  <a:pt x="187" y="2239"/>
                </a:cubicBezTo>
                <a:cubicBezTo>
                  <a:pt x="183" y="2239"/>
                  <a:pt x="178" y="2239"/>
                  <a:pt x="173" y="2239"/>
                </a:cubicBezTo>
                <a:cubicBezTo>
                  <a:pt x="169" y="2239"/>
                  <a:pt x="164" y="2239"/>
                  <a:pt x="160" y="2239"/>
                </a:cubicBezTo>
                <a:cubicBezTo>
                  <a:pt x="155" y="2239"/>
                  <a:pt x="151" y="2238"/>
                  <a:pt x="147" y="2238"/>
                </a:cubicBezTo>
                <a:cubicBezTo>
                  <a:pt x="146" y="2242"/>
                  <a:pt x="146" y="2245"/>
                  <a:pt x="145" y="2248"/>
                </a:cubicBezTo>
                <a:cubicBezTo>
                  <a:pt x="145" y="2252"/>
                  <a:pt x="146" y="2254"/>
                  <a:pt x="146" y="2257"/>
                </a:cubicBezTo>
                <a:cubicBezTo>
                  <a:pt x="147" y="2259"/>
                  <a:pt x="147" y="2262"/>
                  <a:pt x="149" y="2264"/>
                </a:cubicBezTo>
                <a:cubicBezTo>
                  <a:pt x="150" y="2265"/>
                  <a:pt x="151" y="2267"/>
                  <a:pt x="153" y="2269"/>
                </a:cubicBezTo>
                <a:close/>
                <a:moveTo>
                  <a:pt x="296" y="2082"/>
                </a:moveTo>
                <a:cubicBezTo>
                  <a:pt x="304" y="2090"/>
                  <a:pt x="310" y="2098"/>
                  <a:pt x="314" y="2106"/>
                </a:cubicBezTo>
                <a:cubicBezTo>
                  <a:pt x="318" y="2114"/>
                  <a:pt x="320" y="2122"/>
                  <a:pt x="320" y="2130"/>
                </a:cubicBezTo>
                <a:cubicBezTo>
                  <a:pt x="320" y="2138"/>
                  <a:pt x="318" y="2146"/>
                  <a:pt x="314" y="2153"/>
                </a:cubicBezTo>
                <a:cubicBezTo>
                  <a:pt x="310" y="2161"/>
                  <a:pt x="304" y="2169"/>
                  <a:pt x="296" y="2177"/>
                </a:cubicBezTo>
                <a:lnTo>
                  <a:pt x="277" y="2197"/>
                </a:lnTo>
                <a:cubicBezTo>
                  <a:pt x="276" y="2198"/>
                  <a:pt x="274" y="2198"/>
                  <a:pt x="272" y="2199"/>
                </a:cubicBezTo>
                <a:cubicBezTo>
                  <a:pt x="271" y="2199"/>
                  <a:pt x="269" y="2198"/>
                  <a:pt x="267" y="2196"/>
                </a:cubicBezTo>
                <a:lnTo>
                  <a:pt x="184" y="2113"/>
                </a:lnTo>
                <a:cubicBezTo>
                  <a:pt x="182" y="2111"/>
                  <a:pt x="181" y="2110"/>
                  <a:pt x="182" y="2108"/>
                </a:cubicBezTo>
                <a:cubicBezTo>
                  <a:pt x="182" y="2106"/>
                  <a:pt x="183" y="2105"/>
                  <a:pt x="184" y="2104"/>
                </a:cubicBezTo>
                <a:lnTo>
                  <a:pt x="205" y="2083"/>
                </a:lnTo>
                <a:cubicBezTo>
                  <a:pt x="213" y="2075"/>
                  <a:pt x="221" y="2069"/>
                  <a:pt x="228" y="2065"/>
                </a:cubicBezTo>
                <a:cubicBezTo>
                  <a:pt x="236" y="2062"/>
                  <a:pt x="244" y="2060"/>
                  <a:pt x="251" y="2060"/>
                </a:cubicBezTo>
                <a:cubicBezTo>
                  <a:pt x="259" y="2060"/>
                  <a:pt x="266" y="2062"/>
                  <a:pt x="274" y="2066"/>
                </a:cubicBezTo>
                <a:cubicBezTo>
                  <a:pt x="281" y="2070"/>
                  <a:pt x="289" y="2075"/>
                  <a:pt x="296" y="2082"/>
                </a:cubicBezTo>
                <a:close/>
                <a:moveTo>
                  <a:pt x="283" y="2095"/>
                </a:moveTo>
                <a:cubicBezTo>
                  <a:pt x="278" y="2090"/>
                  <a:pt x="273" y="2086"/>
                  <a:pt x="267" y="2083"/>
                </a:cubicBezTo>
                <a:cubicBezTo>
                  <a:pt x="262" y="2080"/>
                  <a:pt x="256" y="2078"/>
                  <a:pt x="250" y="2078"/>
                </a:cubicBezTo>
                <a:cubicBezTo>
                  <a:pt x="244" y="2077"/>
                  <a:pt x="239" y="2078"/>
                  <a:pt x="233" y="2080"/>
                </a:cubicBezTo>
                <a:cubicBezTo>
                  <a:pt x="227" y="2083"/>
                  <a:pt x="221" y="2087"/>
                  <a:pt x="214" y="2094"/>
                </a:cubicBezTo>
                <a:lnTo>
                  <a:pt x="202" y="2106"/>
                </a:lnTo>
                <a:lnTo>
                  <a:pt x="274" y="2178"/>
                </a:lnTo>
                <a:lnTo>
                  <a:pt x="287" y="2166"/>
                </a:lnTo>
                <a:cubicBezTo>
                  <a:pt x="293" y="2160"/>
                  <a:pt x="297" y="2154"/>
                  <a:pt x="300" y="2148"/>
                </a:cubicBezTo>
                <a:cubicBezTo>
                  <a:pt x="302" y="2143"/>
                  <a:pt x="303" y="2137"/>
                  <a:pt x="303" y="2131"/>
                </a:cubicBezTo>
                <a:cubicBezTo>
                  <a:pt x="303" y="2126"/>
                  <a:pt x="301" y="2120"/>
                  <a:pt x="298" y="2114"/>
                </a:cubicBezTo>
                <a:cubicBezTo>
                  <a:pt x="294" y="2108"/>
                  <a:pt x="289" y="2102"/>
                  <a:pt x="283" y="2095"/>
                </a:cubicBezTo>
                <a:close/>
                <a:moveTo>
                  <a:pt x="432" y="1972"/>
                </a:moveTo>
                <a:cubicBezTo>
                  <a:pt x="438" y="1978"/>
                  <a:pt x="442" y="1984"/>
                  <a:pt x="445" y="1990"/>
                </a:cubicBezTo>
                <a:cubicBezTo>
                  <a:pt x="447" y="1996"/>
                  <a:pt x="449" y="2002"/>
                  <a:pt x="449" y="2008"/>
                </a:cubicBezTo>
                <a:cubicBezTo>
                  <a:pt x="449" y="2014"/>
                  <a:pt x="447" y="2021"/>
                  <a:pt x="445" y="2027"/>
                </a:cubicBezTo>
                <a:cubicBezTo>
                  <a:pt x="442" y="2033"/>
                  <a:pt x="438" y="2038"/>
                  <a:pt x="432" y="2044"/>
                </a:cubicBezTo>
                <a:cubicBezTo>
                  <a:pt x="427" y="2049"/>
                  <a:pt x="421" y="2053"/>
                  <a:pt x="416" y="2056"/>
                </a:cubicBezTo>
                <a:cubicBezTo>
                  <a:pt x="410" y="2058"/>
                  <a:pt x="404" y="2060"/>
                  <a:pt x="398" y="2060"/>
                </a:cubicBezTo>
                <a:cubicBezTo>
                  <a:pt x="392" y="2060"/>
                  <a:pt x="386" y="2059"/>
                  <a:pt x="380" y="2056"/>
                </a:cubicBezTo>
                <a:cubicBezTo>
                  <a:pt x="374" y="2053"/>
                  <a:pt x="369" y="2049"/>
                  <a:pt x="363" y="2043"/>
                </a:cubicBezTo>
                <a:lnTo>
                  <a:pt x="305" y="1986"/>
                </a:lnTo>
                <a:cubicBezTo>
                  <a:pt x="305" y="1985"/>
                  <a:pt x="305" y="1985"/>
                  <a:pt x="305" y="1984"/>
                </a:cubicBezTo>
                <a:cubicBezTo>
                  <a:pt x="304" y="1984"/>
                  <a:pt x="305" y="1983"/>
                  <a:pt x="305" y="1983"/>
                </a:cubicBezTo>
                <a:cubicBezTo>
                  <a:pt x="305" y="1982"/>
                  <a:pt x="306" y="1981"/>
                  <a:pt x="306" y="1980"/>
                </a:cubicBezTo>
                <a:cubicBezTo>
                  <a:pt x="307" y="1980"/>
                  <a:pt x="308" y="1979"/>
                  <a:pt x="309" y="1977"/>
                </a:cubicBezTo>
                <a:cubicBezTo>
                  <a:pt x="310" y="1976"/>
                  <a:pt x="311" y="1975"/>
                  <a:pt x="312" y="1975"/>
                </a:cubicBezTo>
                <a:cubicBezTo>
                  <a:pt x="313" y="1974"/>
                  <a:pt x="314" y="1973"/>
                  <a:pt x="315" y="1973"/>
                </a:cubicBezTo>
                <a:cubicBezTo>
                  <a:pt x="315" y="1973"/>
                  <a:pt x="316" y="1973"/>
                  <a:pt x="316" y="1973"/>
                </a:cubicBezTo>
                <a:cubicBezTo>
                  <a:pt x="317" y="1973"/>
                  <a:pt x="317" y="1973"/>
                  <a:pt x="318" y="1973"/>
                </a:cubicBezTo>
                <a:lnTo>
                  <a:pt x="374" y="2030"/>
                </a:lnTo>
                <a:cubicBezTo>
                  <a:pt x="378" y="2034"/>
                  <a:pt x="382" y="2037"/>
                  <a:pt x="387" y="2039"/>
                </a:cubicBezTo>
                <a:cubicBezTo>
                  <a:pt x="391" y="2041"/>
                  <a:pt x="395" y="2043"/>
                  <a:pt x="399" y="2043"/>
                </a:cubicBezTo>
                <a:cubicBezTo>
                  <a:pt x="403" y="2043"/>
                  <a:pt x="407" y="2042"/>
                  <a:pt x="411" y="2040"/>
                </a:cubicBezTo>
                <a:cubicBezTo>
                  <a:pt x="415" y="2039"/>
                  <a:pt x="419" y="2036"/>
                  <a:pt x="422" y="2033"/>
                </a:cubicBezTo>
                <a:cubicBezTo>
                  <a:pt x="426" y="2029"/>
                  <a:pt x="428" y="2025"/>
                  <a:pt x="430" y="2021"/>
                </a:cubicBezTo>
                <a:cubicBezTo>
                  <a:pt x="432" y="2018"/>
                  <a:pt x="433" y="2014"/>
                  <a:pt x="433" y="2010"/>
                </a:cubicBezTo>
                <a:cubicBezTo>
                  <a:pt x="432" y="2006"/>
                  <a:pt x="431" y="2001"/>
                  <a:pt x="429" y="1997"/>
                </a:cubicBezTo>
                <a:cubicBezTo>
                  <a:pt x="427" y="1993"/>
                  <a:pt x="424" y="1989"/>
                  <a:pt x="420" y="1985"/>
                </a:cubicBezTo>
                <a:lnTo>
                  <a:pt x="363" y="1928"/>
                </a:lnTo>
                <a:cubicBezTo>
                  <a:pt x="363" y="1928"/>
                  <a:pt x="362" y="1927"/>
                  <a:pt x="362" y="1927"/>
                </a:cubicBezTo>
                <a:cubicBezTo>
                  <a:pt x="362" y="1926"/>
                  <a:pt x="362" y="1926"/>
                  <a:pt x="363" y="1925"/>
                </a:cubicBezTo>
                <a:cubicBezTo>
                  <a:pt x="363" y="1924"/>
                  <a:pt x="363" y="1924"/>
                  <a:pt x="364" y="1923"/>
                </a:cubicBezTo>
                <a:cubicBezTo>
                  <a:pt x="365" y="1922"/>
                  <a:pt x="366" y="1921"/>
                  <a:pt x="367" y="1920"/>
                </a:cubicBezTo>
                <a:cubicBezTo>
                  <a:pt x="368" y="1918"/>
                  <a:pt x="369" y="1917"/>
                  <a:pt x="370" y="1917"/>
                </a:cubicBezTo>
                <a:cubicBezTo>
                  <a:pt x="371" y="1916"/>
                  <a:pt x="372" y="1916"/>
                  <a:pt x="372" y="1915"/>
                </a:cubicBezTo>
                <a:cubicBezTo>
                  <a:pt x="373" y="1915"/>
                  <a:pt x="373" y="1915"/>
                  <a:pt x="374" y="1915"/>
                </a:cubicBezTo>
                <a:cubicBezTo>
                  <a:pt x="374" y="1915"/>
                  <a:pt x="375" y="1915"/>
                  <a:pt x="375" y="1916"/>
                </a:cubicBezTo>
                <a:lnTo>
                  <a:pt x="432" y="1972"/>
                </a:lnTo>
                <a:close/>
                <a:moveTo>
                  <a:pt x="510" y="1893"/>
                </a:moveTo>
                <a:cubicBezTo>
                  <a:pt x="516" y="1899"/>
                  <a:pt x="520" y="1904"/>
                  <a:pt x="523" y="1910"/>
                </a:cubicBezTo>
                <a:cubicBezTo>
                  <a:pt x="527" y="1916"/>
                  <a:pt x="529" y="1921"/>
                  <a:pt x="529" y="1927"/>
                </a:cubicBezTo>
                <a:cubicBezTo>
                  <a:pt x="530" y="1932"/>
                  <a:pt x="530" y="1938"/>
                  <a:pt x="528" y="1943"/>
                </a:cubicBezTo>
                <a:cubicBezTo>
                  <a:pt x="526" y="1948"/>
                  <a:pt x="523" y="1953"/>
                  <a:pt x="518" y="1957"/>
                </a:cubicBezTo>
                <a:cubicBezTo>
                  <a:pt x="517" y="1959"/>
                  <a:pt x="515" y="1961"/>
                  <a:pt x="513" y="1962"/>
                </a:cubicBezTo>
                <a:cubicBezTo>
                  <a:pt x="511" y="1963"/>
                  <a:pt x="508" y="1964"/>
                  <a:pt x="506" y="1965"/>
                </a:cubicBezTo>
                <a:cubicBezTo>
                  <a:pt x="504" y="1966"/>
                  <a:pt x="501" y="1966"/>
                  <a:pt x="498" y="1967"/>
                </a:cubicBezTo>
                <a:cubicBezTo>
                  <a:pt x="495" y="1967"/>
                  <a:pt x="492" y="1967"/>
                  <a:pt x="489" y="1967"/>
                </a:cubicBezTo>
                <a:lnTo>
                  <a:pt x="521" y="2000"/>
                </a:lnTo>
                <a:cubicBezTo>
                  <a:pt x="522" y="2000"/>
                  <a:pt x="522" y="2000"/>
                  <a:pt x="522" y="2001"/>
                </a:cubicBezTo>
                <a:cubicBezTo>
                  <a:pt x="522" y="2001"/>
                  <a:pt x="522" y="2002"/>
                  <a:pt x="522" y="2002"/>
                </a:cubicBezTo>
                <a:cubicBezTo>
                  <a:pt x="522" y="2003"/>
                  <a:pt x="521" y="2004"/>
                  <a:pt x="520" y="2005"/>
                </a:cubicBezTo>
                <a:cubicBezTo>
                  <a:pt x="520" y="2006"/>
                  <a:pt x="519" y="2007"/>
                  <a:pt x="518" y="2008"/>
                </a:cubicBezTo>
                <a:cubicBezTo>
                  <a:pt x="516" y="2009"/>
                  <a:pt x="515" y="2010"/>
                  <a:pt x="515" y="2011"/>
                </a:cubicBezTo>
                <a:cubicBezTo>
                  <a:pt x="514" y="2011"/>
                  <a:pt x="513" y="2012"/>
                  <a:pt x="512" y="2012"/>
                </a:cubicBezTo>
                <a:cubicBezTo>
                  <a:pt x="512" y="2012"/>
                  <a:pt x="511" y="2012"/>
                  <a:pt x="511" y="2012"/>
                </a:cubicBezTo>
                <a:cubicBezTo>
                  <a:pt x="510" y="2012"/>
                  <a:pt x="510" y="2012"/>
                  <a:pt x="509" y="2011"/>
                </a:cubicBezTo>
                <a:lnTo>
                  <a:pt x="419" y="1921"/>
                </a:lnTo>
                <a:cubicBezTo>
                  <a:pt x="419" y="1921"/>
                  <a:pt x="418" y="1920"/>
                  <a:pt x="418" y="1920"/>
                </a:cubicBezTo>
                <a:cubicBezTo>
                  <a:pt x="418" y="1919"/>
                  <a:pt x="418" y="1919"/>
                  <a:pt x="419" y="1918"/>
                </a:cubicBezTo>
                <a:cubicBezTo>
                  <a:pt x="419" y="1918"/>
                  <a:pt x="419" y="1917"/>
                  <a:pt x="420" y="1916"/>
                </a:cubicBezTo>
                <a:cubicBezTo>
                  <a:pt x="420" y="1916"/>
                  <a:pt x="421" y="1915"/>
                  <a:pt x="422" y="1914"/>
                </a:cubicBezTo>
                <a:cubicBezTo>
                  <a:pt x="423" y="1913"/>
                  <a:pt x="424" y="1912"/>
                  <a:pt x="425" y="1911"/>
                </a:cubicBezTo>
                <a:cubicBezTo>
                  <a:pt x="425" y="1911"/>
                  <a:pt x="426" y="1910"/>
                  <a:pt x="427" y="1910"/>
                </a:cubicBezTo>
                <a:cubicBezTo>
                  <a:pt x="427" y="1910"/>
                  <a:pt x="428" y="1910"/>
                  <a:pt x="428" y="1910"/>
                </a:cubicBezTo>
                <a:cubicBezTo>
                  <a:pt x="429" y="1910"/>
                  <a:pt x="429" y="1910"/>
                  <a:pt x="430" y="1911"/>
                </a:cubicBezTo>
                <a:lnTo>
                  <a:pt x="438" y="1919"/>
                </a:lnTo>
                <a:cubicBezTo>
                  <a:pt x="438" y="1915"/>
                  <a:pt x="438" y="1912"/>
                  <a:pt x="439" y="1908"/>
                </a:cubicBezTo>
                <a:cubicBezTo>
                  <a:pt x="439" y="1905"/>
                  <a:pt x="440" y="1902"/>
                  <a:pt x="441" y="1899"/>
                </a:cubicBezTo>
                <a:cubicBezTo>
                  <a:pt x="441" y="1896"/>
                  <a:pt x="443" y="1894"/>
                  <a:pt x="444" y="1891"/>
                </a:cubicBezTo>
                <a:cubicBezTo>
                  <a:pt x="445" y="1889"/>
                  <a:pt x="447" y="1887"/>
                  <a:pt x="449" y="1884"/>
                </a:cubicBezTo>
                <a:cubicBezTo>
                  <a:pt x="454" y="1880"/>
                  <a:pt x="459" y="1877"/>
                  <a:pt x="464" y="1875"/>
                </a:cubicBezTo>
                <a:cubicBezTo>
                  <a:pt x="469" y="1874"/>
                  <a:pt x="474" y="1874"/>
                  <a:pt x="480" y="1875"/>
                </a:cubicBezTo>
                <a:cubicBezTo>
                  <a:pt x="485" y="1876"/>
                  <a:pt x="490" y="1878"/>
                  <a:pt x="495" y="1881"/>
                </a:cubicBezTo>
                <a:cubicBezTo>
                  <a:pt x="500" y="1884"/>
                  <a:pt x="505" y="1888"/>
                  <a:pt x="510" y="1893"/>
                </a:cubicBezTo>
                <a:close/>
                <a:moveTo>
                  <a:pt x="499" y="1907"/>
                </a:moveTo>
                <a:cubicBezTo>
                  <a:pt x="496" y="1903"/>
                  <a:pt x="492" y="1900"/>
                  <a:pt x="489" y="1898"/>
                </a:cubicBezTo>
                <a:cubicBezTo>
                  <a:pt x="485" y="1895"/>
                  <a:pt x="481" y="1893"/>
                  <a:pt x="478" y="1892"/>
                </a:cubicBezTo>
                <a:cubicBezTo>
                  <a:pt x="474" y="1891"/>
                  <a:pt x="471" y="1891"/>
                  <a:pt x="467" y="1891"/>
                </a:cubicBezTo>
                <a:cubicBezTo>
                  <a:pt x="464" y="1892"/>
                  <a:pt x="460" y="1894"/>
                  <a:pt x="457" y="1897"/>
                </a:cubicBezTo>
                <a:cubicBezTo>
                  <a:pt x="456" y="1898"/>
                  <a:pt x="454" y="1900"/>
                  <a:pt x="453" y="1902"/>
                </a:cubicBezTo>
                <a:cubicBezTo>
                  <a:pt x="452" y="1904"/>
                  <a:pt x="452" y="1906"/>
                  <a:pt x="451" y="1909"/>
                </a:cubicBezTo>
                <a:cubicBezTo>
                  <a:pt x="450" y="1911"/>
                  <a:pt x="450" y="1914"/>
                  <a:pt x="450" y="1918"/>
                </a:cubicBezTo>
                <a:cubicBezTo>
                  <a:pt x="450" y="1921"/>
                  <a:pt x="450" y="1925"/>
                  <a:pt x="451" y="1929"/>
                </a:cubicBezTo>
                <a:lnTo>
                  <a:pt x="476" y="1955"/>
                </a:lnTo>
                <a:cubicBezTo>
                  <a:pt x="484" y="1955"/>
                  <a:pt x="490" y="1955"/>
                  <a:pt x="495" y="1954"/>
                </a:cubicBezTo>
                <a:cubicBezTo>
                  <a:pt x="500" y="1954"/>
                  <a:pt x="504" y="1951"/>
                  <a:pt x="507" y="1948"/>
                </a:cubicBezTo>
                <a:cubicBezTo>
                  <a:pt x="510" y="1945"/>
                  <a:pt x="512" y="1942"/>
                  <a:pt x="513" y="1938"/>
                </a:cubicBezTo>
                <a:cubicBezTo>
                  <a:pt x="513" y="1935"/>
                  <a:pt x="513" y="1931"/>
                  <a:pt x="512" y="1927"/>
                </a:cubicBezTo>
                <a:cubicBezTo>
                  <a:pt x="511" y="1924"/>
                  <a:pt x="509" y="1920"/>
                  <a:pt x="507" y="1917"/>
                </a:cubicBezTo>
                <a:cubicBezTo>
                  <a:pt x="505" y="1913"/>
                  <a:pt x="502" y="1910"/>
                  <a:pt x="499" y="1907"/>
                </a:cubicBezTo>
                <a:close/>
                <a:moveTo>
                  <a:pt x="555" y="1791"/>
                </a:moveTo>
                <a:cubicBezTo>
                  <a:pt x="557" y="1793"/>
                  <a:pt x="558" y="1794"/>
                  <a:pt x="558" y="1795"/>
                </a:cubicBezTo>
                <a:cubicBezTo>
                  <a:pt x="559" y="1796"/>
                  <a:pt x="558" y="1797"/>
                  <a:pt x="558" y="1798"/>
                </a:cubicBezTo>
                <a:lnTo>
                  <a:pt x="548" y="1807"/>
                </a:lnTo>
                <a:cubicBezTo>
                  <a:pt x="552" y="1807"/>
                  <a:pt x="555" y="1808"/>
                  <a:pt x="558" y="1809"/>
                </a:cubicBezTo>
                <a:cubicBezTo>
                  <a:pt x="560" y="1811"/>
                  <a:pt x="563" y="1813"/>
                  <a:pt x="565" y="1815"/>
                </a:cubicBezTo>
                <a:cubicBezTo>
                  <a:pt x="569" y="1819"/>
                  <a:pt x="572" y="1823"/>
                  <a:pt x="573" y="1827"/>
                </a:cubicBezTo>
                <a:cubicBezTo>
                  <a:pt x="575" y="1831"/>
                  <a:pt x="576" y="1835"/>
                  <a:pt x="575" y="1839"/>
                </a:cubicBezTo>
                <a:cubicBezTo>
                  <a:pt x="575" y="1843"/>
                  <a:pt x="574" y="1847"/>
                  <a:pt x="572" y="1852"/>
                </a:cubicBezTo>
                <a:cubicBezTo>
                  <a:pt x="570" y="1856"/>
                  <a:pt x="567" y="1860"/>
                  <a:pt x="563" y="1863"/>
                </a:cubicBezTo>
                <a:cubicBezTo>
                  <a:pt x="561" y="1866"/>
                  <a:pt x="558" y="1868"/>
                  <a:pt x="555" y="1870"/>
                </a:cubicBezTo>
                <a:cubicBezTo>
                  <a:pt x="552" y="1872"/>
                  <a:pt x="549" y="1872"/>
                  <a:pt x="547" y="1873"/>
                </a:cubicBezTo>
                <a:cubicBezTo>
                  <a:pt x="547" y="1874"/>
                  <a:pt x="547" y="1876"/>
                  <a:pt x="548" y="1878"/>
                </a:cubicBezTo>
                <a:cubicBezTo>
                  <a:pt x="548" y="1879"/>
                  <a:pt x="549" y="1881"/>
                  <a:pt x="551" y="1882"/>
                </a:cubicBezTo>
                <a:cubicBezTo>
                  <a:pt x="552" y="1884"/>
                  <a:pt x="554" y="1885"/>
                  <a:pt x="557" y="1884"/>
                </a:cubicBezTo>
                <a:cubicBezTo>
                  <a:pt x="560" y="1884"/>
                  <a:pt x="562" y="1882"/>
                  <a:pt x="565" y="1880"/>
                </a:cubicBezTo>
                <a:lnTo>
                  <a:pt x="583" y="1864"/>
                </a:lnTo>
                <a:cubicBezTo>
                  <a:pt x="586" y="1861"/>
                  <a:pt x="589" y="1858"/>
                  <a:pt x="593" y="1856"/>
                </a:cubicBezTo>
                <a:cubicBezTo>
                  <a:pt x="596" y="1854"/>
                  <a:pt x="600" y="1853"/>
                  <a:pt x="603" y="1853"/>
                </a:cubicBezTo>
                <a:cubicBezTo>
                  <a:pt x="607" y="1852"/>
                  <a:pt x="610" y="1852"/>
                  <a:pt x="613" y="1853"/>
                </a:cubicBezTo>
                <a:cubicBezTo>
                  <a:pt x="616" y="1854"/>
                  <a:pt x="619" y="1856"/>
                  <a:pt x="622" y="1859"/>
                </a:cubicBezTo>
                <a:cubicBezTo>
                  <a:pt x="625" y="1862"/>
                  <a:pt x="627" y="1866"/>
                  <a:pt x="629" y="1869"/>
                </a:cubicBezTo>
                <a:cubicBezTo>
                  <a:pt x="630" y="1873"/>
                  <a:pt x="631" y="1878"/>
                  <a:pt x="630" y="1882"/>
                </a:cubicBezTo>
                <a:cubicBezTo>
                  <a:pt x="630" y="1887"/>
                  <a:pt x="628" y="1892"/>
                  <a:pt x="625" y="1897"/>
                </a:cubicBezTo>
                <a:cubicBezTo>
                  <a:pt x="622" y="1902"/>
                  <a:pt x="618" y="1907"/>
                  <a:pt x="613" y="1913"/>
                </a:cubicBezTo>
                <a:cubicBezTo>
                  <a:pt x="608" y="1918"/>
                  <a:pt x="603" y="1922"/>
                  <a:pt x="598" y="1925"/>
                </a:cubicBezTo>
                <a:cubicBezTo>
                  <a:pt x="594" y="1927"/>
                  <a:pt x="589" y="1929"/>
                  <a:pt x="586" y="1930"/>
                </a:cubicBezTo>
                <a:cubicBezTo>
                  <a:pt x="582" y="1931"/>
                  <a:pt x="578" y="1931"/>
                  <a:pt x="575" y="1930"/>
                </a:cubicBezTo>
                <a:cubicBezTo>
                  <a:pt x="572" y="1929"/>
                  <a:pt x="569" y="1927"/>
                  <a:pt x="566" y="1924"/>
                </a:cubicBezTo>
                <a:cubicBezTo>
                  <a:pt x="565" y="1923"/>
                  <a:pt x="564" y="1921"/>
                  <a:pt x="562" y="1919"/>
                </a:cubicBezTo>
                <a:cubicBezTo>
                  <a:pt x="561" y="1917"/>
                  <a:pt x="561" y="1915"/>
                  <a:pt x="560" y="1913"/>
                </a:cubicBezTo>
                <a:cubicBezTo>
                  <a:pt x="559" y="1911"/>
                  <a:pt x="559" y="1909"/>
                  <a:pt x="559" y="1906"/>
                </a:cubicBezTo>
                <a:cubicBezTo>
                  <a:pt x="559" y="1904"/>
                  <a:pt x="559" y="1901"/>
                  <a:pt x="559" y="1899"/>
                </a:cubicBezTo>
                <a:cubicBezTo>
                  <a:pt x="556" y="1900"/>
                  <a:pt x="553" y="1900"/>
                  <a:pt x="550" y="1899"/>
                </a:cubicBezTo>
                <a:cubicBezTo>
                  <a:pt x="547" y="1899"/>
                  <a:pt x="544" y="1897"/>
                  <a:pt x="542" y="1895"/>
                </a:cubicBezTo>
                <a:cubicBezTo>
                  <a:pt x="539" y="1892"/>
                  <a:pt x="537" y="1889"/>
                  <a:pt x="536" y="1886"/>
                </a:cubicBezTo>
                <a:cubicBezTo>
                  <a:pt x="535" y="1882"/>
                  <a:pt x="534" y="1879"/>
                  <a:pt x="534" y="1875"/>
                </a:cubicBezTo>
                <a:cubicBezTo>
                  <a:pt x="531" y="1875"/>
                  <a:pt x="528" y="1874"/>
                  <a:pt x="525" y="1872"/>
                </a:cubicBezTo>
                <a:cubicBezTo>
                  <a:pt x="522" y="1871"/>
                  <a:pt x="519" y="1869"/>
                  <a:pt x="516" y="1866"/>
                </a:cubicBezTo>
                <a:cubicBezTo>
                  <a:pt x="512" y="1862"/>
                  <a:pt x="509" y="1858"/>
                  <a:pt x="508" y="1854"/>
                </a:cubicBezTo>
                <a:cubicBezTo>
                  <a:pt x="506" y="1850"/>
                  <a:pt x="505" y="1846"/>
                  <a:pt x="505" y="1841"/>
                </a:cubicBezTo>
                <a:cubicBezTo>
                  <a:pt x="505" y="1837"/>
                  <a:pt x="507" y="1833"/>
                  <a:pt x="509" y="1829"/>
                </a:cubicBezTo>
                <a:cubicBezTo>
                  <a:pt x="511" y="1825"/>
                  <a:pt x="513" y="1821"/>
                  <a:pt x="517" y="1817"/>
                </a:cubicBezTo>
                <a:cubicBezTo>
                  <a:pt x="519" y="1815"/>
                  <a:pt x="521" y="1813"/>
                  <a:pt x="523" y="1812"/>
                </a:cubicBezTo>
                <a:cubicBezTo>
                  <a:pt x="525" y="1810"/>
                  <a:pt x="527" y="1809"/>
                  <a:pt x="529" y="1808"/>
                </a:cubicBezTo>
                <a:lnTo>
                  <a:pt x="548" y="1788"/>
                </a:lnTo>
                <a:cubicBezTo>
                  <a:pt x="549" y="1788"/>
                  <a:pt x="550" y="1787"/>
                  <a:pt x="551" y="1788"/>
                </a:cubicBezTo>
                <a:cubicBezTo>
                  <a:pt x="552" y="1788"/>
                  <a:pt x="554" y="1789"/>
                  <a:pt x="555" y="1791"/>
                </a:cubicBezTo>
                <a:close/>
                <a:moveTo>
                  <a:pt x="554" y="1826"/>
                </a:moveTo>
                <a:cubicBezTo>
                  <a:pt x="549" y="1822"/>
                  <a:pt x="545" y="1820"/>
                  <a:pt x="540" y="1820"/>
                </a:cubicBezTo>
                <a:cubicBezTo>
                  <a:pt x="535" y="1820"/>
                  <a:pt x="530" y="1822"/>
                  <a:pt x="526" y="1826"/>
                </a:cubicBezTo>
                <a:cubicBezTo>
                  <a:pt x="524" y="1829"/>
                  <a:pt x="522" y="1831"/>
                  <a:pt x="521" y="1833"/>
                </a:cubicBezTo>
                <a:cubicBezTo>
                  <a:pt x="520" y="1836"/>
                  <a:pt x="520" y="1838"/>
                  <a:pt x="520" y="1841"/>
                </a:cubicBezTo>
                <a:cubicBezTo>
                  <a:pt x="520" y="1843"/>
                  <a:pt x="521" y="1846"/>
                  <a:pt x="522" y="1848"/>
                </a:cubicBezTo>
                <a:cubicBezTo>
                  <a:pt x="523" y="1850"/>
                  <a:pt x="525" y="1852"/>
                  <a:pt x="527" y="1854"/>
                </a:cubicBezTo>
                <a:cubicBezTo>
                  <a:pt x="531" y="1859"/>
                  <a:pt x="536" y="1861"/>
                  <a:pt x="540" y="1861"/>
                </a:cubicBezTo>
                <a:cubicBezTo>
                  <a:pt x="545" y="1861"/>
                  <a:pt x="550" y="1859"/>
                  <a:pt x="554" y="1854"/>
                </a:cubicBezTo>
                <a:cubicBezTo>
                  <a:pt x="557" y="1852"/>
                  <a:pt x="558" y="1849"/>
                  <a:pt x="559" y="1847"/>
                </a:cubicBezTo>
                <a:cubicBezTo>
                  <a:pt x="560" y="1845"/>
                  <a:pt x="561" y="1842"/>
                  <a:pt x="560" y="1840"/>
                </a:cubicBezTo>
                <a:cubicBezTo>
                  <a:pt x="560" y="1837"/>
                  <a:pt x="560" y="1835"/>
                  <a:pt x="558" y="1833"/>
                </a:cubicBezTo>
                <a:cubicBezTo>
                  <a:pt x="557" y="1830"/>
                  <a:pt x="556" y="1828"/>
                  <a:pt x="554" y="1826"/>
                </a:cubicBezTo>
                <a:close/>
                <a:moveTo>
                  <a:pt x="611" y="1872"/>
                </a:moveTo>
                <a:cubicBezTo>
                  <a:pt x="608" y="1869"/>
                  <a:pt x="605" y="1868"/>
                  <a:pt x="601" y="1869"/>
                </a:cubicBezTo>
                <a:cubicBezTo>
                  <a:pt x="597" y="1869"/>
                  <a:pt x="593" y="1872"/>
                  <a:pt x="590" y="1875"/>
                </a:cubicBezTo>
                <a:lnTo>
                  <a:pt x="572" y="1892"/>
                </a:lnTo>
                <a:cubicBezTo>
                  <a:pt x="572" y="1894"/>
                  <a:pt x="572" y="1897"/>
                  <a:pt x="572" y="1899"/>
                </a:cubicBezTo>
                <a:cubicBezTo>
                  <a:pt x="572" y="1901"/>
                  <a:pt x="572" y="1903"/>
                  <a:pt x="573" y="1904"/>
                </a:cubicBezTo>
                <a:cubicBezTo>
                  <a:pt x="573" y="1906"/>
                  <a:pt x="574" y="1907"/>
                  <a:pt x="574" y="1908"/>
                </a:cubicBezTo>
                <a:cubicBezTo>
                  <a:pt x="575" y="1909"/>
                  <a:pt x="576" y="1911"/>
                  <a:pt x="577" y="1912"/>
                </a:cubicBezTo>
                <a:cubicBezTo>
                  <a:pt x="580" y="1915"/>
                  <a:pt x="584" y="1915"/>
                  <a:pt x="589" y="1914"/>
                </a:cubicBezTo>
                <a:cubicBezTo>
                  <a:pt x="594" y="1912"/>
                  <a:pt x="599" y="1909"/>
                  <a:pt x="604" y="1903"/>
                </a:cubicBezTo>
                <a:cubicBezTo>
                  <a:pt x="608" y="1899"/>
                  <a:pt x="611" y="1896"/>
                  <a:pt x="612" y="1893"/>
                </a:cubicBezTo>
                <a:cubicBezTo>
                  <a:pt x="614" y="1890"/>
                  <a:pt x="615" y="1887"/>
                  <a:pt x="615" y="1884"/>
                </a:cubicBezTo>
                <a:cubicBezTo>
                  <a:pt x="616" y="1882"/>
                  <a:pt x="616" y="1879"/>
                  <a:pt x="615" y="1877"/>
                </a:cubicBezTo>
                <a:cubicBezTo>
                  <a:pt x="614" y="1875"/>
                  <a:pt x="613" y="1873"/>
                  <a:pt x="611" y="1872"/>
                </a:cubicBezTo>
                <a:close/>
                <a:moveTo>
                  <a:pt x="608" y="1740"/>
                </a:moveTo>
                <a:cubicBezTo>
                  <a:pt x="609" y="1742"/>
                  <a:pt x="610" y="1742"/>
                  <a:pt x="611" y="1743"/>
                </a:cubicBezTo>
                <a:cubicBezTo>
                  <a:pt x="612" y="1744"/>
                  <a:pt x="612" y="1745"/>
                  <a:pt x="612" y="1745"/>
                </a:cubicBezTo>
                <a:cubicBezTo>
                  <a:pt x="613" y="1746"/>
                  <a:pt x="613" y="1746"/>
                  <a:pt x="613" y="1747"/>
                </a:cubicBezTo>
                <a:cubicBezTo>
                  <a:pt x="613" y="1747"/>
                  <a:pt x="612" y="1747"/>
                  <a:pt x="612" y="1748"/>
                </a:cubicBezTo>
                <a:cubicBezTo>
                  <a:pt x="612" y="1748"/>
                  <a:pt x="611" y="1749"/>
                  <a:pt x="610" y="1749"/>
                </a:cubicBezTo>
                <a:cubicBezTo>
                  <a:pt x="610" y="1749"/>
                  <a:pt x="609" y="1750"/>
                  <a:pt x="608" y="1750"/>
                </a:cubicBezTo>
                <a:cubicBezTo>
                  <a:pt x="607" y="1751"/>
                  <a:pt x="606" y="1751"/>
                  <a:pt x="605" y="1752"/>
                </a:cubicBezTo>
                <a:cubicBezTo>
                  <a:pt x="604" y="1753"/>
                  <a:pt x="603" y="1753"/>
                  <a:pt x="602" y="1754"/>
                </a:cubicBezTo>
                <a:cubicBezTo>
                  <a:pt x="601" y="1756"/>
                  <a:pt x="600" y="1757"/>
                  <a:pt x="599" y="1759"/>
                </a:cubicBezTo>
                <a:cubicBezTo>
                  <a:pt x="598" y="1760"/>
                  <a:pt x="598" y="1762"/>
                  <a:pt x="598" y="1765"/>
                </a:cubicBezTo>
                <a:cubicBezTo>
                  <a:pt x="598" y="1767"/>
                  <a:pt x="598" y="1770"/>
                  <a:pt x="598" y="1773"/>
                </a:cubicBezTo>
                <a:cubicBezTo>
                  <a:pt x="599" y="1776"/>
                  <a:pt x="599" y="1780"/>
                  <a:pt x="600" y="1784"/>
                </a:cubicBezTo>
                <a:lnTo>
                  <a:pt x="643" y="1827"/>
                </a:lnTo>
                <a:cubicBezTo>
                  <a:pt x="643" y="1827"/>
                  <a:pt x="643" y="1828"/>
                  <a:pt x="643" y="1828"/>
                </a:cubicBezTo>
                <a:cubicBezTo>
                  <a:pt x="643" y="1829"/>
                  <a:pt x="643" y="1829"/>
                  <a:pt x="643" y="1830"/>
                </a:cubicBezTo>
                <a:cubicBezTo>
                  <a:pt x="643" y="1830"/>
                  <a:pt x="642" y="1831"/>
                  <a:pt x="642" y="1832"/>
                </a:cubicBezTo>
                <a:cubicBezTo>
                  <a:pt x="641" y="1833"/>
                  <a:pt x="640" y="1834"/>
                  <a:pt x="639" y="1835"/>
                </a:cubicBezTo>
                <a:cubicBezTo>
                  <a:pt x="638" y="1836"/>
                  <a:pt x="637" y="1837"/>
                  <a:pt x="636" y="1838"/>
                </a:cubicBezTo>
                <a:cubicBezTo>
                  <a:pt x="635" y="1838"/>
                  <a:pt x="634" y="1839"/>
                  <a:pt x="634" y="1839"/>
                </a:cubicBezTo>
                <a:cubicBezTo>
                  <a:pt x="633" y="1839"/>
                  <a:pt x="633" y="1839"/>
                  <a:pt x="632" y="1839"/>
                </a:cubicBezTo>
                <a:cubicBezTo>
                  <a:pt x="632" y="1839"/>
                  <a:pt x="631" y="1839"/>
                  <a:pt x="631" y="1839"/>
                </a:cubicBezTo>
                <a:lnTo>
                  <a:pt x="566" y="1774"/>
                </a:lnTo>
                <a:cubicBezTo>
                  <a:pt x="566" y="1774"/>
                  <a:pt x="566" y="1773"/>
                  <a:pt x="566" y="1773"/>
                </a:cubicBezTo>
                <a:cubicBezTo>
                  <a:pt x="565" y="1772"/>
                  <a:pt x="565" y="1772"/>
                  <a:pt x="566" y="1771"/>
                </a:cubicBezTo>
                <a:cubicBezTo>
                  <a:pt x="566" y="1771"/>
                  <a:pt x="566" y="1770"/>
                  <a:pt x="567" y="1769"/>
                </a:cubicBezTo>
                <a:cubicBezTo>
                  <a:pt x="567" y="1768"/>
                  <a:pt x="568" y="1768"/>
                  <a:pt x="569" y="1766"/>
                </a:cubicBezTo>
                <a:cubicBezTo>
                  <a:pt x="570" y="1765"/>
                  <a:pt x="571" y="1765"/>
                  <a:pt x="572" y="1764"/>
                </a:cubicBezTo>
                <a:cubicBezTo>
                  <a:pt x="573" y="1763"/>
                  <a:pt x="574" y="1763"/>
                  <a:pt x="574" y="1763"/>
                </a:cubicBezTo>
                <a:cubicBezTo>
                  <a:pt x="575" y="1763"/>
                  <a:pt x="575" y="1762"/>
                  <a:pt x="576" y="1763"/>
                </a:cubicBezTo>
                <a:cubicBezTo>
                  <a:pt x="576" y="1763"/>
                  <a:pt x="577" y="1763"/>
                  <a:pt x="577" y="1763"/>
                </a:cubicBezTo>
                <a:lnTo>
                  <a:pt x="586" y="1773"/>
                </a:lnTo>
                <a:cubicBezTo>
                  <a:pt x="586" y="1768"/>
                  <a:pt x="585" y="1765"/>
                  <a:pt x="585" y="1761"/>
                </a:cubicBezTo>
                <a:cubicBezTo>
                  <a:pt x="585" y="1758"/>
                  <a:pt x="585" y="1755"/>
                  <a:pt x="586" y="1753"/>
                </a:cubicBezTo>
                <a:cubicBezTo>
                  <a:pt x="586" y="1751"/>
                  <a:pt x="587" y="1749"/>
                  <a:pt x="588" y="1747"/>
                </a:cubicBezTo>
                <a:cubicBezTo>
                  <a:pt x="589" y="1745"/>
                  <a:pt x="590" y="1744"/>
                  <a:pt x="591" y="1742"/>
                </a:cubicBezTo>
                <a:cubicBezTo>
                  <a:pt x="592" y="1742"/>
                  <a:pt x="593" y="1741"/>
                  <a:pt x="594" y="1740"/>
                </a:cubicBezTo>
                <a:cubicBezTo>
                  <a:pt x="594" y="1740"/>
                  <a:pt x="595" y="1739"/>
                  <a:pt x="596" y="1738"/>
                </a:cubicBezTo>
                <a:cubicBezTo>
                  <a:pt x="598" y="1738"/>
                  <a:pt x="599" y="1737"/>
                  <a:pt x="599" y="1737"/>
                </a:cubicBezTo>
                <a:cubicBezTo>
                  <a:pt x="600" y="1736"/>
                  <a:pt x="601" y="1736"/>
                  <a:pt x="602" y="1736"/>
                </a:cubicBezTo>
                <a:cubicBezTo>
                  <a:pt x="602" y="1736"/>
                  <a:pt x="603" y="1736"/>
                  <a:pt x="603" y="1736"/>
                </a:cubicBezTo>
                <a:cubicBezTo>
                  <a:pt x="603" y="1736"/>
                  <a:pt x="604" y="1736"/>
                  <a:pt x="604" y="1737"/>
                </a:cubicBezTo>
                <a:cubicBezTo>
                  <a:pt x="604" y="1737"/>
                  <a:pt x="605" y="1737"/>
                  <a:pt x="606" y="1738"/>
                </a:cubicBezTo>
                <a:cubicBezTo>
                  <a:pt x="606" y="1739"/>
                  <a:pt x="607" y="1739"/>
                  <a:pt x="608" y="1740"/>
                </a:cubicBezTo>
                <a:close/>
                <a:moveTo>
                  <a:pt x="736" y="1733"/>
                </a:moveTo>
                <a:cubicBezTo>
                  <a:pt x="737" y="1734"/>
                  <a:pt x="737" y="1735"/>
                  <a:pt x="737" y="1735"/>
                </a:cubicBezTo>
                <a:cubicBezTo>
                  <a:pt x="737" y="1736"/>
                  <a:pt x="737" y="1737"/>
                  <a:pt x="736" y="1738"/>
                </a:cubicBezTo>
                <a:cubicBezTo>
                  <a:pt x="735" y="1738"/>
                  <a:pt x="735" y="1739"/>
                  <a:pt x="733" y="1741"/>
                </a:cubicBezTo>
                <a:cubicBezTo>
                  <a:pt x="732" y="1742"/>
                  <a:pt x="731" y="1743"/>
                  <a:pt x="730" y="1743"/>
                </a:cubicBezTo>
                <a:cubicBezTo>
                  <a:pt x="729" y="1744"/>
                  <a:pt x="728" y="1744"/>
                  <a:pt x="728" y="1744"/>
                </a:cubicBezTo>
                <a:cubicBezTo>
                  <a:pt x="727" y="1744"/>
                  <a:pt x="727" y="1744"/>
                  <a:pt x="726" y="1744"/>
                </a:cubicBezTo>
                <a:lnTo>
                  <a:pt x="720" y="1737"/>
                </a:lnTo>
                <a:cubicBezTo>
                  <a:pt x="720" y="1743"/>
                  <a:pt x="719" y="1749"/>
                  <a:pt x="717" y="1754"/>
                </a:cubicBezTo>
                <a:cubicBezTo>
                  <a:pt x="715" y="1759"/>
                  <a:pt x="713" y="1763"/>
                  <a:pt x="709" y="1767"/>
                </a:cubicBezTo>
                <a:cubicBezTo>
                  <a:pt x="705" y="1771"/>
                  <a:pt x="702" y="1773"/>
                  <a:pt x="698" y="1775"/>
                </a:cubicBezTo>
                <a:cubicBezTo>
                  <a:pt x="694" y="1777"/>
                  <a:pt x="691" y="1778"/>
                  <a:pt x="687" y="1778"/>
                </a:cubicBezTo>
                <a:cubicBezTo>
                  <a:pt x="684" y="1779"/>
                  <a:pt x="680" y="1778"/>
                  <a:pt x="677" y="1777"/>
                </a:cubicBezTo>
                <a:cubicBezTo>
                  <a:pt x="673" y="1775"/>
                  <a:pt x="670" y="1773"/>
                  <a:pt x="667" y="1770"/>
                </a:cubicBezTo>
                <a:cubicBezTo>
                  <a:pt x="663" y="1766"/>
                  <a:pt x="661" y="1762"/>
                  <a:pt x="659" y="1758"/>
                </a:cubicBezTo>
                <a:cubicBezTo>
                  <a:pt x="658" y="1754"/>
                  <a:pt x="658" y="1750"/>
                  <a:pt x="659" y="1745"/>
                </a:cubicBezTo>
                <a:cubicBezTo>
                  <a:pt x="660" y="1741"/>
                  <a:pt x="662" y="1736"/>
                  <a:pt x="665" y="1731"/>
                </a:cubicBezTo>
                <a:cubicBezTo>
                  <a:pt x="668" y="1726"/>
                  <a:pt x="672" y="1721"/>
                  <a:pt x="677" y="1716"/>
                </a:cubicBezTo>
                <a:lnTo>
                  <a:pt x="686" y="1707"/>
                </a:lnTo>
                <a:lnTo>
                  <a:pt x="681" y="1702"/>
                </a:lnTo>
                <a:cubicBezTo>
                  <a:pt x="679" y="1700"/>
                  <a:pt x="676" y="1698"/>
                  <a:pt x="674" y="1696"/>
                </a:cubicBezTo>
                <a:cubicBezTo>
                  <a:pt x="672" y="1695"/>
                  <a:pt x="669" y="1694"/>
                  <a:pt x="667" y="1694"/>
                </a:cubicBezTo>
                <a:cubicBezTo>
                  <a:pt x="664" y="1694"/>
                  <a:pt x="662" y="1695"/>
                  <a:pt x="659" y="1696"/>
                </a:cubicBezTo>
                <a:cubicBezTo>
                  <a:pt x="657" y="1697"/>
                  <a:pt x="654" y="1699"/>
                  <a:pt x="651" y="1702"/>
                </a:cubicBezTo>
                <a:cubicBezTo>
                  <a:pt x="648" y="1705"/>
                  <a:pt x="646" y="1708"/>
                  <a:pt x="645" y="1711"/>
                </a:cubicBezTo>
                <a:cubicBezTo>
                  <a:pt x="643" y="1714"/>
                  <a:pt x="642" y="1716"/>
                  <a:pt x="641" y="1719"/>
                </a:cubicBezTo>
                <a:cubicBezTo>
                  <a:pt x="640" y="1722"/>
                  <a:pt x="639" y="1724"/>
                  <a:pt x="639" y="1726"/>
                </a:cubicBezTo>
                <a:cubicBezTo>
                  <a:pt x="638" y="1728"/>
                  <a:pt x="638" y="1729"/>
                  <a:pt x="637" y="1729"/>
                </a:cubicBezTo>
                <a:cubicBezTo>
                  <a:pt x="637" y="1730"/>
                  <a:pt x="636" y="1730"/>
                  <a:pt x="636" y="1730"/>
                </a:cubicBezTo>
                <a:cubicBezTo>
                  <a:pt x="635" y="1730"/>
                  <a:pt x="635" y="1730"/>
                  <a:pt x="634" y="1730"/>
                </a:cubicBezTo>
                <a:cubicBezTo>
                  <a:pt x="634" y="1730"/>
                  <a:pt x="633" y="1729"/>
                  <a:pt x="632" y="1729"/>
                </a:cubicBezTo>
                <a:cubicBezTo>
                  <a:pt x="632" y="1728"/>
                  <a:pt x="631" y="1728"/>
                  <a:pt x="630" y="1727"/>
                </a:cubicBezTo>
                <a:cubicBezTo>
                  <a:pt x="629" y="1726"/>
                  <a:pt x="628" y="1725"/>
                  <a:pt x="627" y="1724"/>
                </a:cubicBezTo>
                <a:cubicBezTo>
                  <a:pt x="627" y="1723"/>
                  <a:pt x="627" y="1722"/>
                  <a:pt x="627" y="1721"/>
                </a:cubicBezTo>
                <a:cubicBezTo>
                  <a:pt x="627" y="1720"/>
                  <a:pt x="627" y="1718"/>
                  <a:pt x="628" y="1715"/>
                </a:cubicBezTo>
                <a:cubicBezTo>
                  <a:pt x="629" y="1713"/>
                  <a:pt x="630" y="1710"/>
                  <a:pt x="631" y="1708"/>
                </a:cubicBezTo>
                <a:cubicBezTo>
                  <a:pt x="632" y="1705"/>
                  <a:pt x="634" y="1702"/>
                  <a:pt x="636" y="1699"/>
                </a:cubicBezTo>
                <a:cubicBezTo>
                  <a:pt x="638" y="1696"/>
                  <a:pt x="640" y="1694"/>
                  <a:pt x="643" y="1691"/>
                </a:cubicBezTo>
                <a:cubicBezTo>
                  <a:pt x="647" y="1686"/>
                  <a:pt x="652" y="1683"/>
                  <a:pt x="656" y="1681"/>
                </a:cubicBezTo>
                <a:cubicBezTo>
                  <a:pt x="661" y="1679"/>
                  <a:pt x="665" y="1677"/>
                  <a:pt x="669" y="1677"/>
                </a:cubicBezTo>
                <a:cubicBezTo>
                  <a:pt x="673" y="1678"/>
                  <a:pt x="677" y="1679"/>
                  <a:pt x="681" y="1681"/>
                </a:cubicBezTo>
                <a:cubicBezTo>
                  <a:pt x="685" y="1683"/>
                  <a:pt x="689" y="1686"/>
                  <a:pt x="693" y="1690"/>
                </a:cubicBezTo>
                <a:lnTo>
                  <a:pt x="736" y="1733"/>
                </a:lnTo>
                <a:close/>
                <a:moveTo>
                  <a:pt x="695" y="1716"/>
                </a:moveTo>
                <a:lnTo>
                  <a:pt x="685" y="1726"/>
                </a:lnTo>
                <a:cubicBezTo>
                  <a:pt x="682" y="1729"/>
                  <a:pt x="679" y="1732"/>
                  <a:pt x="677" y="1735"/>
                </a:cubicBezTo>
                <a:cubicBezTo>
                  <a:pt x="675" y="1738"/>
                  <a:pt x="674" y="1741"/>
                  <a:pt x="674" y="1744"/>
                </a:cubicBezTo>
                <a:cubicBezTo>
                  <a:pt x="673" y="1746"/>
                  <a:pt x="673" y="1749"/>
                  <a:pt x="674" y="1751"/>
                </a:cubicBezTo>
                <a:cubicBezTo>
                  <a:pt x="675" y="1753"/>
                  <a:pt x="676" y="1755"/>
                  <a:pt x="678" y="1757"/>
                </a:cubicBezTo>
                <a:cubicBezTo>
                  <a:pt x="681" y="1761"/>
                  <a:pt x="685" y="1762"/>
                  <a:pt x="689" y="1762"/>
                </a:cubicBezTo>
                <a:cubicBezTo>
                  <a:pt x="693" y="1762"/>
                  <a:pt x="697" y="1760"/>
                  <a:pt x="701" y="1756"/>
                </a:cubicBezTo>
                <a:cubicBezTo>
                  <a:pt x="704" y="1753"/>
                  <a:pt x="706" y="1749"/>
                  <a:pt x="708" y="1745"/>
                </a:cubicBezTo>
                <a:cubicBezTo>
                  <a:pt x="709" y="1741"/>
                  <a:pt x="709" y="1736"/>
                  <a:pt x="709" y="1729"/>
                </a:cubicBezTo>
                <a:lnTo>
                  <a:pt x="695" y="1716"/>
                </a:lnTo>
                <a:close/>
                <a:moveTo>
                  <a:pt x="811" y="1659"/>
                </a:moveTo>
                <a:cubicBezTo>
                  <a:pt x="811" y="1659"/>
                  <a:pt x="811" y="1660"/>
                  <a:pt x="811" y="1660"/>
                </a:cubicBezTo>
                <a:cubicBezTo>
                  <a:pt x="812" y="1661"/>
                  <a:pt x="812" y="1661"/>
                  <a:pt x="811" y="1662"/>
                </a:cubicBezTo>
                <a:cubicBezTo>
                  <a:pt x="811" y="1662"/>
                  <a:pt x="811" y="1663"/>
                  <a:pt x="810" y="1664"/>
                </a:cubicBezTo>
                <a:cubicBezTo>
                  <a:pt x="809" y="1664"/>
                  <a:pt x="809" y="1665"/>
                  <a:pt x="808" y="1666"/>
                </a:cubicBezTo>
                <a:cubicBezTo>
                  <a:pt x="807" y="1667"/>
                  <a:pt x="806" y="1668"/>
                  <a:pt x="805" y="1669"/>
                </a:cubicBezTo>
                <a:cubicBezTo>
                  <a:pt x="804" y="1669"/>
                  <a:pt x="804" y="1670"/>
                  <a:pt x="803" y="1670"/>
                </a:cubicBezTo>
                <a:cubicBezTo>
                  <a:pt x="802" y="1670"/>
                  <a:pt x="802" y="1670"/>
                  <a:pt x="801" y="1670"/>
                </a:cubicBezTo>
                <a:cubicBezTo>
                  <a:pt x="801" y="1670"/>
                  <a:pt x="801" y="1670"/>
                  <a:pt x="800" y="1669"/>
                </a:cubicBezTo>
                <a:lnTo>
                  <a:pt x="792" y="1661"/>
                </a:lnTo>
                <a:cubicBezTo>
                  <a:pt x="792" y="1668"/>
                  <a:pt x="791" y="1674"/>
                  <a:pt x="790" y="1680"/>
                </a:cubicBezTo>
                <a:cubicBezTo>
                  <a:pt x="788" y="1686"/>
                  <a:pt x="785" y="1691"/>
                  <a:pt x="781" y="1695"/>
                </a:cubicBezTo>
                <a:cubicBezTo>
                  <a:pt x="776" y="1700"/>
                  <a:pt x="771" y="1703"/>
                  <a:pt x="766" y="1705"/>
                </a:cubicBezTo>
                <a:cubicBezTo>
                  <a:pt x="761" y="1706"/>
                  <a:pt x="755" y="1706"/>
                  <a:pt x="750" y="1705"/>
                </a:cubicBezTo>
                <a:cubicBezTo>
                  <a:pt x="745" y="1704"/>
                  <a:pt x="740" y="1702"/>
                  <a:pt x="735" y="1699"/>
                </a:cubicBezTo>
                <a:cubicBezTo>
                  <a:pt x="729" y="1695"/>
                  <a:pt x="724" y="1691"/>
                  <a:pt x="720" y="1687"/>
                </a:cubicBezTo>
                <a:cubicBezTo>
                  <a:pt x="714" y="1681"/>
                  <a:pt x="710" y="1676"/>
                  <a:pt x="706" y="1670"/>
                </a:cubicBezTo>
                <a:cubicBezTo>
                  <a:pt x="703" y="1664"/>
                  <a:pt x="701" y="1659"/>
                  <a:pt x="700" y="1653"/>
                </a:cubicBezTo>
                <a:cubicBezTo>
                  <a:pt x="700" y="1648"/>
                  <a:pt x="700" y="1642"/>
                  <a:pt x="702" y="1637"/>
                </a:cubicBezTo>
                <a:cubicBezTo>
                  <a:pt x="704" y="1632"/>
                  <a:pt x="707" y="1627"/>
                  <a:pt x="711" y="1623"/>
                </a:cubicBezTo>
                <a:cubicBezTo>
                  <a:pt x="715" y="1619"/>
                  <a:pt x="719" y="1616"/>
                  <a:pt x="724" y="1615"/>
                </a:cubicBezTo>
                <a:cubicBezTo>
                  <a:pt x="729" y="1613"/>
                  <a:pt x="734" y="1613"/>
                  <a:pt x="741" y="1613"/>
                </a:cubicBezTo>
                <a:lnTo>
                  <a:pt x="703" y="1575"/>
                </a:lnTo>
                <a:cubicBezTo>
                  <a:pt x="703" y="1575"/>
                  <a:pt x="703" y="1574"/>
                  <a:pt x="702" y="1574"/>
                </a:cubicBezTo>
                <a:cubicBezTo>
                  <a:pt x="702" y="1573"/>
                  <a:pt x="702" y="1573"/>
                  <a:pt x="703" y="1572"/>
                </a:cubicBezTo>
                <a:cubicBezTo>
                  <a:pt x="703" y="1572"/>
                  <a:pt x="703" y="1571"/>
                  <a:pt x="704" y="1570"/>
                </a:cubicBezTo>
                <a:cubicBezTo>
                  <a:pt x="705" y="1569"/>
                  <a:pt x="706" y="1568"/>
                  <a:pt x="707" y="1567"/>
                </a:cubicBezTo>
                <a:cubicBezTo>
                  <a:pt x="708" y="1566"/>
                  <a:pt x="709" y="1565"/>
                  <a:pt x="710" y="1564"/>
                </a:cubicBezTo>
                <a:cubicBezTo>
                  <a:pt x="711" y="1563"/>
                  <a:pt x="711" y="1563"/>
                  <a:pt x="712" y="1563"/>
                </a:cubicBezTo>
                <a:cubicBezTo>
                  <a:pt x="713" y="1563"/>
                  <a:pt x="713" y="1562"/>
                  <a:pt x="714" y="1563"/>
                </a:cubicBezTo>
                <a:cubicBezTo>
                  <a:pt x="714" y="1563"/>
                  <a:pt x="715" y="1563"/>
                  <a:pt x="715" y="1563"/>
                </a:cubicBezTo>
                <a:lnTo>
                  <a:pt x="811" y="1659"/>
                </a:lnTo>
                <a:close/>
                <a:moveTo>
                  <a:pt x="753" y="1625"/>
                </a:moveTo>
                <a:cubicBezTo>
                  <a:pt x="746" y="1625"/>
                  <a:pt x="740" y="1625"/>
                  <a:pt x="735" y="1626"/>
                </a:cubicBezTo>
                <a:cubicBezTo>
                  <a:pt x="730" y="1626"/>
                  <a:pt x="726" y="1628"/>
                  <a:pt x="722" y="1632"/>
                </a:cubicBezTo>
                <a:cubicBezTo>
                  <a:pt x="719" y="1635"/>
                  <a:pt x="718" y="1638"/>
                  <a:pt x="717" y="1642"/>
                </a:cubicBezTo>
                <a:cubicBezTo>
                  <a:pt x="716" y="1645"/>
                  <a:pt x="716" y="1649"/>
                  <a:pt x="717" y="1652"/>
                </a:cubicBezTo>
                <a:cubicBezTo>
                  <a:pt x="718" y="1656"/>
                  <a:pt x="720" y="1660"/>
                  <a:pt x="723" y="1663"/>
                </a:cubicBezTo>
                <a:cubicBezTo>
                  <a:pt x="725" y="1667"/>
                  <a:pt x="728" y="1670"/>
                  <a:pt x="731" y="1673"/>
                </a:cubicBezTo>
                <a:cubicBezTo>
                  <a:pt x="734" y="1676"/>
                  <a:pt x="737" y="1679"/>
                  <a:pt x="741" y="1682"/>
                </a:cubicBezTo>
                <a:cubicBezTo>
                  <a:pt x="745" y="1685"/>
                  <a:pt x="748" y="1686"/>
                  <a:pt x="752" y="1688"/>
                </a:cubicBezTo>
                <a:cubicBezTo>
                  <a:pt x="756" y="1689"/>
                  <a:pt x="759" y="1689"/>
                  <a:pt x="763" y="1689"/>
                </a:cubicBezTo>
                <a:cubicBezTo>
                  <a:pt x="766" y="1688"/>
                  <a:pt x="770" y="1686"/>
                  <a:pt x="773" y="1683"/>
                </a:cubicBezTo>
                <a:cubicBezTo>
                  <a:pt x="774" y="1681"/>
                  <a:pt x="776" y="1680"/>
                  <a:pt x="777" y="1678"/>
                </a:cubicBezTo>
                <a:cubicBezTo>
                  <a:pt x="778" y="1676"/>
                  <a:pt x="778" y="1674"/>
                  <a:pt x="779" y="1671"/>
                </a:cubicBezTo>
                <a:cubicBezTo>
                  <a:pt x="779" y="1669"/>
                  <a:pt x="780" y="1666"/>
                  <a:pt x="780" y="1662"/>
                </a:cubicBezTo>
                <a:cubicBezTo>
                  <a:pt x="780" y="1659"/>
                  <a:pt x="780" y="1655"/>
                  <a:pt x="779" y="1651"/>
                </a:cubicBezTo>
                <a:lnTo>
                  <a:pt x="753" y="1625"/>
                </a:lnTo>
                <a:close/>
                <a:moveTo>
                  <a:pt x="855" y="1545"/>
                </a:moveTo>
                <a:cubicBezTo>
                  <a:pt x="856" y="1547"/>
                  <a:pt x="857" y="1548"/>
                  <a:pt x="857" y="1550"/>
                </a:cubicBezTo>
                <a:cubicBezTo>
                  <a:pt x="857" y="1552"/>
                  <a:pt x="856" y="1553"/>
                  <a:pt x="855" y="1555"/>
                </a:cubicBezTo>
                <a:lnTo>
                  <a:pt x="813" y="1597"/>
                </a:lnTo>
                <a:cubicBezTo>
                  <a:pt x="816" y="1601"/>
                  <a:pt x="820" y="1604"/>
                  <a:pt x="823" y="1606"/>
                </a:cubicBezTo>
                <a:cubicBezTo>
                  <a:pt x="827" y="1608"/>
                  <a:pt x="831" y="1609"/>
                  <a:pt x="834" y="1609"/>
                </a:cubicBezTo>
                <a:cubicBezTo>
                  <a:pt x="838" y="1610"/>
                  <a:pt x="842" y="1609"/>
                  <a:pt x="846" y="1608"/>
                </a:cubicBezTo>
                <a:cubicBezTo>
                  <a:pt x="849" y="1606"/>
                  <a:pt x="853" y="1603"/>
                  <a:pt x="857" y="1599"/>
                </a:cubicBezTo>
                <a:cubicBezTo>
                  <a:pt x="860" y="1596"/>
                  <a:pt x="863" y="1593"/>
                  <a:pt x="865" y="1590"/>
                </a:cubicBezTo>
                <a:cubicBezTo>
                  <a:pt x="867" y="1588"/>
                  <a:pt x="868" y="1585"/>
                  <a:pt x="869" y="1583"/>
                </a:cubicBezTo>
                <a:cubicBezTo>
                  <a:pt x="870" y="1580"/>
                  <a:pt x="871" y="1578"/>
                  <a:pt x="872" y="1576"/>
                </a:cubicBezTo>
                <a:cubicBezTo>
                  <a:pt x="872" y="1575"/>
                  <a:pt x="873" y="1574"/>
                  <a:pt x="874" y="1573"/>
                </a:cubicBezTo>
                <a:cubicBezTo>
                  <a:pt x="874" y="1573"/>
                  <a:pt x="874" y="1573"/>
                  <a:pt x="875" y="1573"/>
                </a:cubicBezTo>
                <a:cubicBezTo>
                  <a:pt x="875" y="1572"/>
                  <a:pt x="876" y="1572"/>
                  <a:pt x="876" y="1573"/>
                </a:cubicBezTo>
                <a:cubicBezTo>
                  <a:pt x="877" y="1573"/>
                  <a:pt x="877" y="1573"/>
                  <a:pt x="878" y="1574"/>
                </a:cubicBezTo>
                <a:cubicBezTo>
                  <a:pt x="879" y="1574"/>
                  <a:pt x="879" y="1575"/>
                  <a:pt x="880" y="1576"/>
                </a:cubicBezTo>
                <a:cubicBezTo>
                  <a:pt x="881" y="1576"/>
                  <a:pt x="881" y="1577"/>
                  <a:pt x="882" y="1578"/>
                </a:cubicBezTo>
                <a:cubicBezTo>
                  <a:pt x="882" y="1578"/>
                  <a:pt x="883" y="1578"/>
                  <a:pt x="883" y="1579"/>
                </a:cubicBezTo>
                <a:cubicBezTo>
                  <a:pt x="883" y="1579"/>
                  <a:pt x="883" y="1580"/>
                  <a:pt x="883" y="1580"/>
                </a:cubicBezTo>
                <a:cubicBezTo>
                  <a:pt x="884" y="1581"/>
                  <a:pt x="884" y="1581"/>
                  <a:pt x="884" y="1582"/>
                </a:cubicBezTo>
                <a:cubicBezTo>
                  <a:pt x="884" y="1582"/>
                  <a:pt x="883" y="1583"/>
                  <a:pt x="883" y="1585"/>
                </a:cubicBezTo>
                <a:cubicBezTo>
                  <a:pt x="882" y="1587"/>
                  <a:pt x="881" y="1589"/>
                  <a:pt x="879" y="1592"/>
                </a:cubicBezTo>
                <a:cubicBezTo>
                  <a:pt x="878" y="1595"/>
                  <a:pt x="876" y="1598"/>
                  <a:pt x="874" y="1601"/>
                </a:cubicBezTo>
                <a:cubicBezTo>
                  <a:pt x="871" y="1604"/>
                  <a:pt x="869" y="1607"/>
                  <a:pt x="866" y="1610"/>
                </a:cubicBezTo>
                <a:cubicBezTo>
                  <a:pt x="860" y="1615"/>
                  <a:pt x="855" y="1619"/>
                  <a:pt x="850" y="1622"/>
                </a:cubicBezTo>
                <a:cubicBezTo>
                  <a:pt x="844" y="1624"/>
                  <a:pt x="838" y="1626"/>
                  <a:pt x="833" y="1625"/>
                </a:cubicBezTo>
                <a:cubicBezTo>
                  <a:pt x="827" y="1625"/>
                  <a:pt x="821" y="1624"/>
                  <a:pt x="816" y="1621"/>
                </a:cubicBezTo>
                <a:cubicBezTo>
                  <a:pt x="810" y="1618"/>
                  <a:pt x="804" y="1613"/>
                  <a:pt x="798" y="1607"/>
                </a:cubicBezTo>
                <a:cubicBezTo>
                  <a:pt x="793" y="1602"/>
                  <a:pt x="788" y="1596"/>
                  <a:pt x="785" y="1590"/>
                </a:cubicBezTo>
                <a:cubicBezTo>
                  <a:pt x="782" y="1584"/>
                  <a:pt x="781" y="1578"/>
                  <a:pt x="780" y="1573"/>
                </a:cubicBezTo>
                <a:cubicBezTo>
                  <a:pt x="780" y="1567"/>
                  <a:pt x="781" y="1561"/>
                  <a:pt x="783" y="1556"/>
                </a:cubicBezTo>
                <a:cubicBezTo>
                  <a:pt x="785" y="1550"/>
                  <a:pt x="789" y="1545"/>
                  <a:pt x="793" y="1540"/>
                </a:cubicBezTo>
                <a:cubicBezTo>
                  <a:pt x="798" y="1535"/>
                  <a:pt x="804" y="1532"/>
                  <a:pt x="809" y="1530"/>
                </a:cubicBezTo>
                <a:cubicBezTo>
                  <a:pt x="814" y="1528"/>
                  <a:pt x="819" y="1527"/>
                  <a:pt x="824" y="1528"/>
                </a:cubicBezTo>
                <a:cubicBezTo>
                  <a:pt x="829" y="1528"/>
                  <a:pt x="834" y="1530"/>
                  <a:pt x="839" y="1532"/>
                </a:cubicBezTo>
                <a:cubicBezTo>
                  <a:pt x="844" y="1535"/>
                  <a:pt x="848" y="1538"/>
                  <a:pt x="852" y="1543"/>
                </a:cubicBezTo>
                <a:lnTo>
                  <a:pt x="855" y="1545"/>
                </a:lnTo>
                <a:close/>
                <a:moveTo>
                  <a:pt x="839" y="1553"/>
                </a:moveTo>
                <a:cubicBezTo>
                  <a:pt x="833" y="1547"/>
                  <a:pt x="827" y="1543"/>
                  <a:pt x="820" y="1543"/>
                </a:cubicBezTo>
                <a:cubicBezTo>
                  <a:pt x="814" y="1542"/>
                  <a:pt x="808" y="1545"/>
                  <a:pt x="802" y="1550"/>
                </a:cubicBezTo>
                <a:cubicBezTo>
                  <a:pt x="799" y="1553"/>
                  <a:pt x="797" y="1556"/>
                  <a:pt x="796" y="1560"/>
                </a:cubicBezTo>
                <a:cubicBezTo>
                  <a:pt x="795" y="1563"/>
                  <a:pt x="794" y="1566"/>
                  <a:pt x="795" y="1570"/>
                </a:cubicBezTo>
                <a:cubicBezTo>
                  <a:pt x="795" y="1573"/>
                  <a:pt x="796" y="1576"/>
                  <a:pt x="798" y="1579"/>
                </a:cubicBezTo>
                <a:cubicBezTo>
                  <a:pt x="799" y="1583"/>
                  <a:pt x="801" y="1586"/>
                  <a:pt x="804" y="1588"/>
                </a:cubicBezTo>
                <a:lnTo>
                  <a:pt x="839" y="1553"/>
                </a:lnTo>
                <a:close/>
                <a:moveTo>
                  <a:pt x="974" y="1403"/>
                </a:moveTo>
                <a:cubicBezTo>
                  <a:pt x="983" y="1411"/>
                  <a:pt x="989" y="1419"/>
                  <a:pt x="992" y="1427"/>
                </a:cubicBezTo>
                <a:cubicBezTo>
                  <a:pt x="996" y="1435"/>
                  <a:pt x="998" y="1443"/>
                  <a:pt x="998" y="1451"/>
                </a:cubicBezTo>
                <a:cubicBezTo>
                  <a:pt x="998" y="1459"/>
                  <a:pt x="996" y="1467"/>
                  <a:pt x="993" y="1475"/>
                </a:cubicBezTo>
                <a:cubicBezTo>
                  <a:pt x="989" y="1482"/>
                  <a:pt x="983" y="1490"/>
                  <a:pt x="975" y="1498"/>
                </a:cubicBezTo>
                <a:lnTo>
                  <a:pt x="955" y="1518"/>
                </a:lnTo>
                <a:cubicBezTo>
                  <a:pt x="954" y="1519"/>
                  <a:pt x="953" y="1519"/>
                  <a:pt x="951" y="1520"/>
                </a:cubicBezTo>
                <a:cubicBezTo>
                  <a:pt x="949" y="1520"/>
                  <a:pt x="948" y="1519"/>
                  <a:pt x="946" y="1517"/>
                </a:cubicBezTo>
                <a:lnTo>
                  <a:pt x="863" y="1434"/>
                </a:lnTo>
                <a:cubicBezTo>
                  <a:pt x="861" y="1433"/>
                  <a:pt x="860" y="1431"/>
                  <a:pt x="860" y="1429"/>
                </a:cubicBezTo>
                <a:cubicBezTo>
                  <a:pt x="861" y="1427"/>
                  <a:pt x="861" y="1426"/>
                  <a:pt x="863" y="1425"/>
                </a:cubicBezTo>
                <a:lnTo>
                  <a:pt x="884" y="1404"/>
                </a:lnTo>
                <a:cubicBezTo>
                  <a:pt x="892" y="1396"/>
                  <a:pt x="899" y="1390"/>
                  <a:pt x="907" y="1386"/>
                </a:cubicBezTo>
                <a:cubicBezTo>
                  <a:pt x="915" y="1383"/>
                  <a:pt x="922" y="1381"/>
                  <a:pt x="930" y="1381"/>
                </a:cubicBezTo>
                <a:cubicBezTo>
                  <a:pt x="938" y="1382"/>
                  <a:pt x="945" y="1383"/>
                  <a:pt x="953" y="1387"/>
                </a:cubicBezTo>
                <a:cubicBezTo>
                  <a:pt x="960" y="1391"/>
                  <a:pt x="967" y="1396"/>
                  <a:pt x="974" y="1403"/>
                </a:cubicBezTo>
                <a:close/>
                <a:moveTo>
                  <a:pt x="962" y="1417"/>
                </a:moveTo>
                <a:cubicBezTo>
                  <a:pt x="957" y="1411"/>
                  <a:pt x="952" y="1407"/>
                  <a:pt x="946" y="1404"/>
                </a:cubicBezTo>
                <a:cubicBezTo>
                  <a:pt x="940" y="1401"/>
                  <a:pt x="935" y="1399"/>
                  <a:pt x="929" y="1399"/>
                </a:cubicBezTo>
                <a:cubicBezTo>
                  <a:pt x="923" y="1398"/>
                  <a:pt x="917" y="1399"/>
                  <a:pt x="911" y="1402"/>
                </a:cubicBezTo>
                <a:cubicBezTo>
                  <a:pt x="906" y="1404"/>
                  <a:pt x="900" y="1408"/>
                  <a:pt x="893" y="1415"/>
                </a:cubicBezTo>
                <a:lnTo>
                  <a:pt x="881" y="1427"/>
                </a:lnTo>
                <a:lnTo>
                  <a:pt x="953" y="1500"/>
                </a:lnTo>
                <a:lnTo>
                  <a:pt x="966" y="1487"/>
                </a:lnTo>
                <a:cubicBezTo>
                  <a:pt x="971" y="1481"/>
                  <a:pt x="976" y="1475"/>
                  <a:pt x="978" y="1470"/>
                </a:cubicBezTo>
                <a:cubicBezTo>
                  <a:pt x="981" y="1464"/>
                  <a:pt x="982" y="1458"/>
                  <a:pt x="982" y="1453"/>
                </a:cubicBezTo>
                <a:cubicBezTo>
                  <a:pt x="981" y="1447"/>
                  <a:pt x="980" y="1441"/>
                  <a:pt x="976" y="1435"/>
                </a:cubicBezTo>
                <a:cubicBezTo>
                  <a:pt x="973" y="1429"/>
                  <a:pt x="968" y="1423"/>
                  <a:pt x="962" y="1417"/>
                </a:cubicBezTo>
                <a:close/>
                <a:moveTo>
                  <a:pt x="1058" y="1341"/>
                </a:moveTo>
                <a:cubicBezTo>
                  <a:pt x="1060" y="1343"/>
                  <a:pt x="1061" y="1345"/>
                  <a:pt x="1061" y="1346"/>
                </a:cubicBezTo>
                <a:cubicBezTo>
                  <a:pt x="1061" y="1348"/>
                  <a:pt x="1060" y="1350"/>
                  <a:pt x="1059" y="1351"/>
                </a:cubicBezTo>
                <a:lnTo>
                  <a:pt x="1016" y="1393"/>
                </a:lnTo>
                <a:cubicBezTo>
                  <a:pt x="1020" y="1397"/>
                  <a:pt x="1023" y="1400"/>
                  <a:pt x="1027" y="1402"/>
                </a:cubicBezTo>
                <a:cubicBezTo>
                  <a:pt x="1031" y="1404"/>
                  <a:pt x="1034" y="1405"/>
                  <a:pt x="1038" y="1406"/>
                </a:cubicBezTo>
                <a:cubicBezTo>
                  <a:pt x="1042" y="1406"/>
                  <a:pt x="1046" y="1406"/>
                  <a:pt x="1049" y="1404"/>
                </a:cubicBezTo>
                <a:cubicBezTo>
                  <a:pt x="1053" y="1402"/>
                  <a:pt x="1057" y="1400"/>
                  <a:pt x="1061" y="1396"/>
                </a:cubicBezTo>
                <a:cubicBezTo>
                  <a:pt x="1064" y="1393"/>
                  <a:pt x="1066" y="1390"/>
                  <a:pt x="1068" y="1387"/>
                </a:cubicBezTo>
                <a:cubicBezTo>
                  <a:pt x="1070" y="1384"/>
                  <a:pt x="1072" y="1381"/>
                  <a:pt x="1073" y="1379"/>
                </a:cubicBezTo>
                <a:cubicBezTo>
                  <a:pt x="1074" y="1376"/>
                  <a:pt x="1075" y="1374"/>
                  <a:pt x="1076" y="1373"/>
                </a:cubicBezTo>
                <a:cubicBezTo>
                  <a:pt x="1076" y="1371"/>
                  <a:pt x="1077" y="1370"/>
                  <a:pt x="1077" y="1370"/>
                </a:cubicBezTo>
                <a:cubicBezTo>
                  <a:pt x="1078" y="1369"/>
                  <a:pt x="1078" y="1369"/>
                  <a:pt x="1078" y="1369"/>
                </a:cubicBezTo>
                <a:cubicBezTo>
                  <a:pt x="1079" y="1369"/>
                  <a:pt x="1079" y="1369"/>
                  <a:pt x="1080" y="1369"/>
                </a:cubicBezTo>
                <a:cubicBezTo>
                  <a:pt x="1080" y="1369"/>
                  <a:pt x="1081" y="1370"/>
                  <a:pt x="1082" y="1370"/>
                </a:cubicBezTo>
                <a:cubicBezTo>
                  <a:pt x="1082" y="1371"/>
                  <a:pt x="1083" y="1371"/>
                  <a:pt x="1084" y="1372"/>
                </a:cubicBezTo>
                <a:cubicBezTo>
                  <a:pt x="1084" y="1373"/>
                  <a:pt x="1085" y="1373"/>
                  <a:pt x="1085" y="1374"/>
                </a:cubicBezTo>
                <a:cubicBezTo>
                  <a:pt x="1086" y="1374"/>
                  <a:pt x="1086" y="1375"/>
                  <a:pt x="1086" y="1375"/>
                </a:cubicBezTo>
                <a:cubicBezTo>
                  <a:pt x="1087" y="1376"/>
                  <a:pt x="1087" y="1376"/>
                  <a:pt x="1087" y="1377"/>
                </a:cubicBezTo>
                <a:cubicBezTo>
                  <a:pt x="1087" y="1377"/>
                  <a:pt x="1087" y="1378"/>
                  <a:pt x="1087" y="1378"/>
                </a:cubicBezTo>
                <a:cubicBezTo>
                  <a:pt x="1087" y="1379"/>
                  <a:pt x="1087" y="1380"/>
                  <a:pt x="1086" y="1382"/>
                </a:cubicBezTo>
                <a:cubicBezTo>
                  <a:pt x="1086" y="1384"/>
                  <a:pt x="1084" y="1386"/>
                  <a:pt x="1083" y="1388"/>
                </a:cubicBezTo>
                <a:cubicBezTo>
                  <a:pt x="1081" y="1391"/>
                  <a:pt x="1080" y="1394"/>
                  <a:pt x="1077" y="1397"/>
                </a:cubicBezTo>
                <a:cubicBezTo>
                  <a:pt x="1075" y="1400"/>
                  <a:pt x="1072" y="1403"/>
                  <a:pt x="1069" y="1407"/>
                </a:cubicBezTo>
                <a:cubicBezTo>
                  <a:pt x="1064" y="1412"/>
                  <a:pt x="1059" y="1416"/>
                  <a:pt x="1053" y="1418"/>
                </a:cubicBezTo>
                <a:cubicBezTo>
                  <a:pt x="1048" y="1421"/>
                  <a:pt x="1042" y="1422"/>
                  <a:pt x="1036" y="1422"/>
                </a:cubicBezTo>
                <a:cubicBezTo>
                  <a:pt x="1031" y="1422"/>
                  <a:pt x="1025" y="1420"/>
                  <a:pt x="1019" y="1417"/>
                </a:cubicBezTo>
                <a:cubicBezTo>
                  <a:pt x="1014" y="1414"/>
                  <a:pt x="1008" y="1409"/>
                  <a:pt x="1002" y="1404"/>
                </a:cubicBezTo>
                <a:cubicBezTo>
                  <a:pt x="996" y="1398"/>
                  <a:pt x="992" y="1392"/>
                  <a:pt x="989" y="1387"/>
                </a:cubicBezTo>
                <a:cubicBezTo>
                  <a:pt x="986" y="1381"/>
                  <a:pt x="984" y="1375"/>
                  <a:pt x="984" y="1369"/>
                </a:cubicBezTo>
                <a:cubicBezTo>
                  <a:pt x="984" y="1363"/>
                  <a:pt x="984" y="1358"/>
                  <a:pt x="987" y="1352"/>
                </a:cubicBezTo>
                <a:cubicBezTo>
                  <a:pt x="989" y="1347"/>
                  <a:pt x="992" y="1342"/>
                  <a:pt x="997" y="1337"/>
                </a:cubicBezTo>
                <a:cubicBezTo>
                  <a:pt x="1002" y="1332"/>
                  <a:pt x="1007" y="1328"/>
                  <a:pt x="1012" y="1326"/>
                </a:cubicBezTo>
                <a:cubicBezTo>
                  <a:pt x="1018" y="1324"/>
                  <a:pt x="1023" y="1324"/>
                  <a:pt x="1028" y="1324"/>
                </a:cubicBezTo>
                <a:cubicBezTo>
                  <a:pt x="1033" y="1324"/>
                  <a:pt x="1038" y="1326"/>
                  <a:pt x="1043" y="1329"/>
                </a:cubicBezTo>
                <a:cubicBezTo>
                  <a:pt x="1047" y="1331"/>
                  <a:pt x="1052" y="1335"/>
                  <a:pt x="1056" y="1339"/>
                </a:cubicBezTo>
                <a:lnTo>
                  <a:pt x="1058" y="1341"/>
                </a:lnTo>
                <a:close/>
                <a:moveTo>
                  <a:pt x="1043" y="1349"/>
                </a:moveTo>
                <a:cubicBezTo>
                  <a:pt x="1037" y="1343"/>
                  <a:pt x="1030" y="1340"/>
                  <a:pt x="1024" y="1339"/>
                </a:cubicBezTo>
                <a:cubicBezTo>
                  <a:pt x="1018" y="1338"/>
                  <a:pt x="1011" y="1341"/>
                  <a:pt x="1006" y="1347"/>
                </a:cubicBezTo>
                <a:cubicBezTo>
                  <a:pt x="1003" y="1350"/>
                  <a:pt x="1001" y="1353"/>
                  <a:pt x="1000" y="1356"/>
                </a:cubicBezTo>
                <a:cubicBezTo>
                  <a:pt x="999" y="1359"/>
                  <a:pt x="998" y="1363"/>
                  <a:pt x="998" y="1366"/>
                </a:cubicBezTo>
                <a:cubicBezTo>
                  <a:pt x="999" y="1369"/>
                  <a:pt x="1000" y="1373"/>
                  <a:pt x="1001" y="1376"/>
                </a:cubicBezTo>
                <a:cubicBezTo>
                  <a:pt x="1003" y="1379"/>
                  <a:pt x="1005" y="1382"/>
                  <a:pt x="1008" y="1385"/>
                </a:cubicBezTo>
                <a:lnTo>
                  <a:pt x="1043" y="1349"/>
                </a:lnTo>
                <a:close/>
                <a:moveTo>
                  <a:pt x="1062" y="1226"/>
                </a:moveTo>
                <a:cubicBezTo>
                  <a:pt x="1062" y="1226"/>
                  <a:pt x="1063" y="1227"/>
                  <a:pt x="1064" y="1228"/>
                </a:cubicBezTo>
                <a:cubicBezTo>
                  <a:pt x="1064" y="1229"/>
                  <a:pt x="1064" y="1229"/>
                  <a:pt x="1065" y="1230"/>
                </a:cubicBezTo>
                <a:cubicBezTo>
                  <a:pt x="1065" y="1230"/>
                  <a:pt x="1065" y="1230"/>
                  <a:pt x="1065" y="1231"/>
                </a:cubicBezTo>
                <a:cubicBezTo>
                  <a:pt x="1065" y="1231"/>
                  <a:pt x="1065" y="1231"/>
                  <a:pt x="1064" y="1232"/>
                </a:cubicBezTo>
                <a:cubicBezTo>
                  <a:pt x="1064" y="1232"/>
                  <a:pt x="1063" y="1232"/>
                  <a:pt x="1063" y="1233"/>
                </a:cubicBezTo>
                <a:cubicBezTo>
                  <a:pt x="1062" y="1233"/>
                  <a:pt x="1061" y="1233"/>
                  <a:pt x="1060" y="1234"/>
                </a:cubicBezTo>
                <a:cubicBezTo>
                  <a:pt x="1059" y="1234"/>
                  <a:pt x="1058" y="1235"/>
                  <a:pt x="1057" y="1235"/>
                </a:cubicBezTo>
                <a:cubicBezTo>
                  <a:pt x="1056" y="1236"/>
                  <a:pt x="1054" y="1237"/>
                  <a:pt x="1053" y="1239"/>
                </a:cubicBezTo>
                <a:cubicBezTo>
                  <a:pt x="1051" y="1240"/>
                  <a:pt x="1050" y="1242"/>
                  <a:pt x="1050" y="1244"/>
                </a:cubicBezTo>
                <a:cubicBezTo>
                  <a:pt x="1049" y="1246"/>
                  <a:pt x="1049" y="1248"/>
                  <a:pt x="1049" y="1250"/>
                </a:cubicBezTo>
                <a:cubicBezTo>
                  <a:pt x="1050" y="1252"/>
                  <a:pt x="1051" y="1254"/>
                  <a:pt x="1052" y="1256"/>
                </a:cubicBezTo>
                <a:cubicBezTo>
                  <a:pt x="1054" y="1258"/>
                  <a:pt x="1056" y="1261"/>
                  <a:pt x="1059" y="1264"/>
                </a:cubicBezTo>
                <a:lnTo>
                  <a:pt x="1066" y="1271"/>
                </a:lnTo>
                <a:lnTo>
                  <a:pt x="1080" y="1256"/>
                </a:lnTo>
                <a:cubicBezTo>
                  <a:pt x="1081" y="1256"/>
                  <a:pt x="1081" y="1256"/>
                  <a:pt x="1082" y="1255"/>
                </a:cubicBezTo>
                <a:cubicBezTo>
                  <a:pt x="1082" y="1255"/>
                  <a:pt x="1083" y="1255"/>
                  <a:pt x="1083" y="1256"/>
                </a:cubicBezTo>
                <a:cubicBezTo>
                  <a:pt x="1084" y="1256"/>
                  <a:pt x="1084" y="1256"/>
                  <a:pt x="1085" y="1257"/>
                </a:cubicBezTo>
                <a:cubicBezTo>
                  <a:pt x="1086" y="1257"/>
                  <a:pt x="1087" y="1258"/>
                  <a:pt x="1088" y="1259"/>
                </a:cubicBezTo>
                <a:cubicBezTo>
                  <a:pt x="1089" y="1261"/>
                  <a:pt x="1090" y="1262"/>
                  <a:pt x="1091" y="1263"/>
                </a:cubicBezTo>
                <a:cubicBezTo>
                  <a:pt x="1091" y="1264"/>
                  <a:pt x="1091" y="1265"/>
                  <a:pt x="1090" y="1266"/>
                </a:cubicBezTo>
                <a:lnTo>
                  <a:pt x="1076" y="1280"/>
                </a:lnTo>
                <a:lnTo>
                  <a:pt x="1132" y="1337"/>
                </a:lnTo>
                <a:cubicBezTo>
                  <a:pt x="1133" y="1338"/>
                  <a:pt x="1133" y="1338"/>
                  <a:pt x="1133" y="1338"/>
                </a:cubicBezTo>
                <a:cubicBezTo>
                  <a:pt x="1133" y="1339"/>
                  <a:pt x="1133" y="1339"/>
                  <a:pt x="1133" y="1340"/>
                </a:cubicBezTo>
                <a:cubicBezTo>
                  <a:pt x="1133" y="1341"/>
                  <a:pt x="1132" y="1341"/>
                  <a:pt x="1131" y="1342"/>
                </a:cubicBezTo>
                <a:cubicBezTo>
                  <a:pt x="1131" y="1343"/>
                  <a:pt x="1130" y="1344"/>
                  <a:pt x="1129" y="1345"/>
                </a:cubicBezTo>
                <a:cubicBezTo>
                  <a:pt x="1128" y="1346"/>
                  <a:pt x="1127" y="1347"/>
                  <a:pt x="1126" y="1348"/>
                </a:cubicBezTo>
                <a:cubicBezTo>
                  <a:pt x="1125" y="1349"/>
                  <a:pt x="1124" y="1349"/>
                  <a:pt x="1123" y="1349"/>
                </a:cubicBezTo>
                <a:cubicBezTo>
                  <a:pt x="1123" y="1350"/>
                  <a:pt x="1122" y="1350"/>
                  <a:pt x="1122" y="1350"/>
                </a:cubicBezTo>
                <a:cubicBezTo>
                  <a:pt x="1121" y="1350"/>
                  <a:pt x="1121" y="1349"/>
                  <a:pt x="1120" y="1349"/>
                </a:cubicBezTo>
                <a:lnTo>
                  <a:pt x="1064" y="1292"/>
                </a:lnTo>
                <a:lnTo>
                  <a:pt x="1055" y="1302"/>
                </a:lnTo>
                <a:cubicBezTo>
                  <a:pt x="1054" y="1302"/>
                  <a:pt x="1053" y="1302"/>
                  <a:pt x="1052" y="1302"/>
                </a:cubicBezTo>
                <a:cubicBezTo>
                  <a:pt x="1051" y="1302"/>
                  <a:pt x="1049" y="1301"/>
                  <a:pt x="1048" y="1299"/>
                </a:cubicBezTo>
                <a:cubicBezTo>
                  <a:pt x="1047" y="1298"/>
                  <a:pt x="1046" y="1297"/>
                  <a:pt x="1045" y="1296"/>
                </a:cubicBezTo>
                <a:cubicBezTo>
                  <a:pt x="1045" y="1296"/>
                  <a:pt x="1044" y="1295"/>
                  <a:pt x="1044" y="1295"/>
                </a:cubicBezTo>
                <a:cubicBezTo>
                  <a:pt x="1044" y="1294"/>
                  <a:pt x="1044" y="1293"/>
                  <a:pt x="1044" y="1293"/>
                </a:cubicBezTo>
                <a:cubicBezTo>
                  <a:pt x="1044" y="1292"/>
                  <a:pt x="1044" y="1292"/>
                  <a:pt x="1045" y="1292"/>
                </a:cubicBezTo>
                <a:lnTo>
                  <a:pt x="1054" y="1283"/>
                </a:lnTo>
                <a:lnTo>
                  <a:pt x="1047" y="1276"/>
                </a:lnTo>
                <a:cubicBezTo>
                  <a:pt x="1043" y="1271"/>
                  <a:pt x="1039" y="1267"/>
                  <a:pt x="1037" y="1263"/>
                </a:cubicBezTo>
                <a:cubicBezTo>
                  <a:pt x="1035" y="1259"/>
                  <a:pt x="1033" y="1255"/>
                  <a:pt x="1033" y="1251"/>
                </a:cubicBezTo>
                <a:cubicBezTo>
                  <a:pt x="1033" y="1247"/>
                  <a:pt x="1033" y="1244"/>
                  <a:pt x="1035" y="1240"/>
                </a:cubicBezTo>
                <a:cubicBezTo>
                  <a:pt x="1036" y="1237"/>
                  <a:pt x="1039" y="1233"/>
                  <a:pt x="1043" y="1229"/>
                </a:cubicBezTo>
                <a:cubicBezTo>
                  <a:pt x="1044" y="1228"/>
                  <a:pt x="1046" y="1226"/>
                  <a:pt x="1048" y="1225"/>
                </a:cubicBezTo>
                <a:cubicBezTo>
                  <a:pt x="1050" y="1224"/>
                  <a:pt x="1051" y="1223"/>
                  <a:pt x="1053" y="1222"/>
                </a:cubicBezTo>
                <a:cubicBezTo>
                  <a:pt x="1054" y="1222"/>
                  <a:pt x="1055" y="1222"/>
                  <a:pt x="1055" y="1222"/>
                </a:cubicBezTo>
                <a:cubicBezTo>
                  <a:pt x="1056" y="1222"/>
                  <a:pt x="1056" y="1222"/>
                  <a:pt x="1057" y="1222"/>
                </a:cubicBezTo>
                <a:cubicBezTo>
                  <a:pt x="1058" y="1222"/>
                  <a:pt x="1058" y="1223"/>
                  <a:pt x="1059" y="1223"/>
                </a:cubicBezTo>
                <a:cubicBezTo>
                  <a:pt x="1060" y="1224"/>
                  <a:pt x="1061" y="1225"/>
                  <a:pt x="1062" y="1226"/>
                </a:cubicBezTo>
                <a:close/>
                <a:moveTo>
                  <a:pt x="1183" y="1217"/>
                </a:moveTo>
                <a:cubicBezTo>
                  <a:pt x="1185" y="1218"/>
                  <a:pt x="1185" y="1220"/>
                  <a:pt x="1185" y="1222"/>
                </a:cubicBezTo>
                <a:cubicBezTo>
                  <a:pt x="1185" y="1224"/>
                  <a:pt x="1184" y="1225"/>
                  <a:pt x="1183" y="1226"/>
                </a:cubicBezTo>
                <a:lnTo>
                  <a:pt x="1141" y="1269"/>
                </a:lnTo>
                <a:cubicBezTo>
                  <a:pt x="1144" y="1273"/>
                  <a:pt x="1148" y="1275"/>
                  <a:pt x="1151" y="1278"/>
                </a:cubicBezTo>
                <a:cubicBezTo>
                  <a:pt x="1155" y="1280"/>
                  <a:pt x="1159" y="1281"/>
                  <a:pt x="1162" y="1281"/>
                </a:cubicBezTo>
                <a:cubicBezTo>
                  <a:pt x="1166" y="1282"/>
                  <a:pt x="1170" y="1281"/>
                  <a:pt x="1174" y="1280"/>
                </a:cubicBezTo>
                <a:cubicBezTo>
                  <a:pt x="1178" y="1278"/>
                  <a:pt x="1181" y="1275"/>
                  <a:pt x="1185" y="1271"/>
                </a:cubicBezTo>
                <a:cubicBezTo>
                  <a:pt x="1188" y="1268"/>
                  <a:pt x="1191" y="1265"/>
                  <a:pt x="1193" y="1262"/>
                </a:cubicBezTo>
                <a:cubicBezTo>
                  <a:pt x="1195" y="1259"/>
                  <a:pt x="1196" y="1257"/>
                  <a:pt x="1197" y="1254"/>
                </a:cubicBezTo>
                <a:cubicBezTo>
                  <a:pt x="1198" y="1252"/>
                  <a:pt x="1199" y="1250"/>
                  <a:pt x="1200" y="1248"/>
                </a:cubicBezTo>
                <a:cubicBezTo>
                  <a:pt x="1201" y="1247"/>
                  <a:pt x="1201" y="1246"/>
                  <a:pt x="1202" y="1245"/>
                </a:cubicBezTo>
                <a:cubicBezTo>
                  <a:pt x="1202" y="1245"/>
                  <a:pt x="1202" y="1245"/>
                  <a:pt x="1203" y="1244"/>
                </a:cubicBezTo>
                <a:cubicBezTo>
                  <a:pt x="1203" y="1244"/>
                  <a:pt x="1204" y="1244"/>
                  <a:pt x="1204" y="1245"/>
                </a:cubicBezTo>
                <a:cubicBezTo>
                  <a:pt x="1205" y="1245"/>
                  <a:pt x="1205" y="1245"/>
                  <a:pt x="1206" y="1246"/>
                </a:cubicBezTo>
                <a:cubicBezTo>
                  <a:pt x="1207" y="1246"/>
                  <a:pt x="1207" y="1247"/>
                  <a:pt x="1208" y="1248"/>
                </a:cubicBezTo>
                <a:cubicBezTo>
                  <a:pt x="1209" y="1248"/>
                  <a:pt x="1209" y="1249"/>
                  <a:pt x="1210" y="1249"/>
                </a:cubicBezTo>
                <a:cubicBezTo>
                  <a:pt x="1210" y="1250"/>
                  <a:pt x="1211" y="1250"/>
                  <a:pt x="1211" y="1251"/>
                </a:cubicBezTo>
                <a:cubicBezTo>
                  <a:pt x="1211" y="1251"/>
                  <a:pt x="1211" y="1252"/>
                  <a:pt x="1212" y="1252"/>
                </a:cubicBezTo>
                <a:cubicBezTo>
                  <a:pt x="1212" y="1253"/>
                  <a:pt x="1212" y="1253"/>
                  <a:pt x="1212" y="1254"/>
                </a:cubicBezTo>
                <a:cubicBezTo>
                  <a:pt x="1212" y="1254"/>
                  <a:pt x="1211" y="1255"/>
                  <a:pt x="1211" y="1257"/>
                </a:cubicBezTo>
                <a:cubicBezTo>
                  <a:pt x="1210" y="1259"/>
                  <a:pt x="1209" y="1261"/>
                  <a:pt x="1207" y="1264"/>
                </a:cubicBezTo>
                <a:cubicBezTo>
                  <a:pt x="1206" y="1267"/>
                  <a:pt x="1204" y="1270"/>
                  <a:pt x="1202" y="1273"/>
                </a:cubicBezTo>
                <a:cubicBezTo>
                  <a:pt x="1200" y="1276"/>
                  <a:pt x="1197" y="1279"/>
                  <a:pt x="1194" y="1282"/>
                </a:cubicBezTo>
                <a:cubicBezTo>
                  <a:pt x="1188" y="1287"/>
                  <a:pt x="1183" y="1291"/>
                  <a:pt x="1178" y="1294"/>
                </a:cubicBezTo>
                <a:cubicBezTo>
                  <a:pt x="1172" y="1296"/>
                  <a:pt x="1167" y="1297"/>
                  <a:pt x="1161" y="1297"/>
                </a:cubicBezTo>
                <a:cubicBezTo>
                  <a:pt x="1155" y="1297"/>
                  <a:pt x="1150" y="1295"/>
                  <a:pt x="1144" y="1292"/>
                </a:cubicBezTo>
                <a:cubicBezTo>
                  <a:pt x="1138" y="1289"/>
                  <a:pt x="1132" y="1285"/>
                  <a:pt x="1126" y="1279"/>
                </a:cubicBezTo>
                <a:cubicBezTo>
                  <a:pt x="1121" y="1274"/>
                  <a:pt x="1116" y="1268"/>
                  <a:pt x="1113" y="1262"/>
                </a:cubicBezTo>
                <a:cubicBezTo>
                  <a:pt x="1110" y="1256"/>
                  <a:pt x="1109" y="1250"/>
                  <a:pt x="1108" y="1245"/>
                </a:cubicBezTo>
                <a:cubicBezTo>
                  <a:pt x="1108" y="1239"/>
                  <a:pt x="1109" y="1233"/>
                  <a:pt x="1111" y="1228"/>
                </a:cubicBezTo>
                <a:cubicBezTo>
                  <a:pt x="1113" y="1222"/>
                  <a:pt x="1117" y="1217"/>
                  <a:pt x="1121" y="1212"/>
                </a:cubicBezTo>
                <a:cubicBezTo>
                  <a:pt x="1127" y="1207"/>
                  <a:pt x="1132" y="1204"/>
                  <a:pt x="1137" y="1202"/>
                </a:cubicBezTo>
                <a:cubicBezTo>
                  <a:pt x="1142" y="1200"/>
                  <a:pt x="1147" y="1199"/>
                  <a:pt x="1152" y="1200"/>
                </a:cubicBezTo>
                <a:cubicBezTo>
                  <a:pt x="1157" y="1200"/>
                  <a:pt x="1162" y="1202"/>
                  <a:pt x="1167" y="1204"/>
                </a:cubicBezTo>
                <a:cubicBezTo>
                  <a:pt x="1172" y="1207"/>
                  <a:pt x="1176" y="1210"/>
                  <a:pt x="1181" y="1214"/>
                </a:cubicBezTo>
                <a:lnTo>
                  <a:pt x="1183" y="1217"/>
                </a:lnTo>
                <a:close/>
                <a:moveTo>
                  <a:pt x="1167" y="1225"/>
                </a:moveTo>
                <a:cubicBezTo>
                  <a:pt x="1161" y="1219"/>
                  <a:pt x="1155" y="1215"/>
                  <a:pt x="1148" y="1215"/>
                </a:cubicBezTo>
                <a:cubicBezTo>
                  <a:pt x="1142" y="1214"/>
                  <a:pt x="1136" y="1216"/>
                  <a:pt x="1130" y="1222"/>
                </a:cubicBezTo>
                <a:cubicBezTo>
                  <a:pt x="1127" y="1225"/>
                  <a:pt x="1125" y="1228"/>
                  <a:pt x="1124" y="1232"/>
                </a:cubicBezTo>
                <a:cubicBezTo>
                  <a:pt x="1123" y="1235"/>
                  <a:pt x="1123" y="1238"/>
                  <a:pt x="1123" y="1242"/>
                </a:cubicBezTo>
                <a:cubicBezTo>
                  <a:pt x="1123" y="1245"/>
                  <a:pt x="1124" y="1248"/>
                  <a:pt x="1126" y="1251"/>
                </a:cubicBezTo>
                <a:cubicBezTo>
                  <a:pt x="1127" y="1255"/>
                  <a:pt x="1129" y="1258"/>
                  <a:pt x="1132" y="1260"/>
                </a:cubicBezTo>
                <a:lnTo>
                  <a:pt x="1167" y="1225"/>
                </a:lnTo>
                <a:close/>
                <a:moveTo>
                  <a:pt x="1219" y="1130"/>
                </a:moveTo>
                <a:cubicBezTo>
                  <a:pt x="1220" y="1131"/>
                  <a:pt x="1221" y="1131"/>
                  <a:pt x="1222" y="1132"/>
                </a:cubicBezTo>
                <a:cubicBezTo>
                  <a:pt x="1222" y="1133"/>
                  <a:pt x="1223" y="1134"/>
                  <a:pt x="1223" y="1134"/>
                </a:cubicBezTo>
                <a:cubicBezTo>
                  <a:pt x="1223" y="1135"/>
                  <a:pt x="1224" y="1135"/>
                  <a:pt x="1224" y="1136"/>
                </a:cubicBezTo>
                <a:cubicBezTo>
                  <a:pt x="1224" y="1136"/>
                  <a:pt x="1223" y="1137"/>
                  <a:pt x="1223" y="1137"/>
                </a:cubicBezTo>
                <a:cubicBezTo>
                  <a:pt x="1223" y="1137"/>
                  <a:pt x="1222" y="1138"/>
                  <a:pt x="1221" y="1138"/>
                </a:cubicBezTo>
                <a:cubicBezTo>
                  <a:pt x="1221" y="1138"/>
                  <a:pt x="1220" y="1139"/>
                  <a:pt x="1219" y="1139"/>
                </a:cubicBezTo>
                <a:cubicBezTo>
                  <a:pt x="1218" y="1140"/>
                  <a:pt x="1217" y="1140"/>
                  <a:pt x="1216" y="1141"/>
                </a:cubicBezTo>
                <a:cubicBezTo>
                  <a:pt x="1215" y="1142"/>
                  <a:pt x="1214" y="1142"/>
                  <a:pt x="1213" y="1143"/>
                </a:cubicBezTo>
                <a:cubicBezTo>
                  <a:pt x="1212" y="1145"/>
                  <a:pt x="1211" y="1146"/>
                  <a:pt x="1210" y="1148"/>
                </a:cubicBezTo>
                <a:cubicBezTo>
                  <a:pt x="1209" y="1149"/>
                  <a:pt x="1209" y="1151"/>
                  <a:pt x="1209" y="1154"/>
                </a:cubicBezTo>
                <a:cubicBezTo>
                  <a:pt x="1209" y="1156"/>
                  <a:pt x="1209" y="1159"/>
                  <a:pt x="1209" y="1162"/>
                </a:cubicBezTo>
                <a:cubicBezTo>
                  <a:pt x="1210" y="1165"/>
                  <a:pt x="1210" y="1169"/>
                  <a:pt x="1211" y="1173"/>
                </a:cubicBezTo>
                <a:lnTo>
                  <a:pt x="1254" y="1216"/>
                </a:lnTo>
                <a:cubicBezTo>
                  <a:pt x="1254" y="1216"/>
                  <a:pt x="1254" y="1217"/>
                  <a:pt x="1254" y="1217"/>
                </a:cubicBezTo>
                <a:cubicBezTo>
                  <a:pt x="1254" y="1218"/>
                  <a:pt x="1254" y="1218"/>
                  <a:pt x="1254" y="1219"/>
                </a:cubicBezTo>
                <a:cubicBezTo>
                  <a:pt x="1254" y="1219"/>
                  <a:pt x="1253" y="1220"/>
                  <a:pt x="1253" y="1221"/>
                </a:cubicBezTo>
                <a:cubicBezTo>
                  <a:pt x="1252" y="1222"/>
                  <a:pt x="1251" y="1223"/>
                  <a:pt x="1250" y="1224"/>
                </a:cubicBezTo>
                <a:cubicBezTo>
                  <a:pt x="1249" y="1225"/>
                  <a:pt x="1248" y="1226"/>
                  <a:pt x="1247" y="1227"/>
                </a:cubicBezTo>
                <a:cubicBezTo>
                  <a:pt x="1246" y="1227"/>
                  <a:pt x="1245" y="1228"/>
                  <a:pt x="1245" y="1228"/>
                </a:cubicBezTo>
                <a:cubicBezTo>
                  <a:pt x="1244" y="1228"/>
                  <a:pt x="1243" y="1229"/>
                  <a:pt x="1243" y="1228"/>
                </a:cubicBezTo>
                <a:cubicBezTo>
                  <a:pt x="1243" y="1228"/>
                  <a:pt x="1242" y="1228"/>
                  <a:pt x="1242" y="1228"/>
                </a:cubicBezTo>
                <a:lnTo>
                  <a:pt x="1177" y="1163"/>
                </a:lnTo>
                <a:cubicBezTo>
                  <a:pt x="1177" y="1163"/>
                  <a:pt x="1177" y="1162"/>
                  <a:pt x="1176" y="1162"/>
                </a:cubicBezTo>
                <a:cubicBezTo>
                  <a:pt x="1176" y="1161"/>
                  <a:pt x="1176" y="1161"/>
                  <a:pt x="1177" y="1160"/>
                </a:cubicBezTo>
                <a:cubicBezTo>
                  <a:pt x="1177" y="1160"/>
                  <a:pt x="1177" y="1159"/>
                  <a:pt x="1178" y="1158"/>
                </a:cubicBezTo>
                <a:cubicBezTo>
                  <a:pt x="1178" y="1157"/>
                  <a:pt x="1179" y="1157"/>
                  <a:pt x="1180" y="1155"/>
                </a:cubicBezTo>
                <a:cubicBezTo>
                  <a:pt x="1181" y="1154"/>
                  <a:pt x="1182" y="1154"/>
                  <a:pt x="1183" y="1153"/>
                </a:cubicBezTo>
                <a:cubicBezTo>
                  <a:pt x="1184" y="1152"/>
                  <a:pt x="1185" y="1152"/>
                  <a:pt x="1185" y="1152"/>
                </a:cubicBezTo>
                <a:cubicBezTo>
                  <a:pt x="1186" y="1152"/>
                  <a:pt x="1186" y="1152"/>
                  <a:pt x="1187" y="1152"/>
                </a:cubicBezTo>
                <a:cubicBezTo>
                  <a:pt x="1187" y="1152"/>
                  <a:pt x="1188" y="1152"/>
                  <a:pt x="1188" y="1152"/>
                </a:cubicBezTo>
                <a:lnTo>
                  <a:pt x="1197" y="1162"/>
                </a:lnTo>
                <a:cubicBezTo>
                  <a:pt x="1196" y="1157"/>
                  <a:pt x="1196" y="1154"/>
                  <a:pt x="1196" y="1150"/>
                </a:cubicBezTo>
                <a:cubicBezTo>
                  <a:pt x="1196" y="1147"/>
                  <a:pt x="1196" y="1145"/>
                  <a:pt x="1197" y="1142"/>
                </a:cubicBezTo>
                <a:cubicBezTo>
                  <a:pt x="1197" y="1140"/>
                  <a:pt x="1198" y="1138"/>
                  <a:pt x="1199" y="1136"/>
                </a:cubicBezTo>
                <a:cubicBezTo>
                  <a:pt x="1200" y="1134"/>
                  <a:pt x="1201" y="1133"/>
                  <a:pt x="1202" y="1131"/>
                </a:cubicBezTo>
                <a:cubicBezTo>
                  <a:pt x="1203" y="1131"/>
                  <a:pt x="1204" y="1130"/>
                  <a:pt x="1205" y="1129"/>
                </a:cubicBezTo>
                <a:cubicBezTo>
                  <a:pt x="1205" y="1129"/>
                  <a:pt x="1206" y="1128"/>
                  <a:pt x="1207" y="1127"/>
                </a:cubicBezTo>
                <a:cubicBezTo>
                  <a:pt x="1208" y="1127"/>
                  <a:pt x="1209" y="1126"/>
                  <a:pt x="1210" y="1126"/>
                </a:cubicBezTo>
                <a:cubicBezTo>
                  <a:pt x="1211" y="1125"/>
                  <a:pt x="1212" y="1125"/>
                  <a:pt x="1213" y="1125"/>
                </a:cubicBezTo>
                <a:cubicBezTo>
                  <a:pt x="1213" y="1125"/>
                  <a:pt x="1214" y="1125"/>
                  <a:pt x="1214" y="1125"/>
                </a:cubicBezTo>
                <a:cubicBezTo>
                  <a:pt x="1214" y="1125"/>
                  <a:pt x="1215" y="1125"/>
                  <a:pt x="1215" y="1126"/>
                </a:cubicBezTo>
                <a:cubicBezTo>
                  <a:pt x="1215" y="1126"/>
                  <a:pt x="1216" y="1126"/>
                  <a:pt x="1217" y="1127"/>
                </a:cubicBezTo>
                <a:cubicBezTo>
                  <a:pt x="1217" y="1128"/>
                  <a:pt x="1218" y="1128"/>
                  <a:pt x="1219" y="1130"/>
                </a:cubicBezTo>
                <a:close/>
                <a:moveTo>
                  <a:pt x="1276" y="1073"/>
                </a:moveTo>
                <a:cubicBezTo>
                  <a:pt x="1277" y="1074"/>
                  <a:pt x="1278" y="1075"/>
                  <a:pt x="1278" y="1076"/>
                </a:cubicBezTo>
                <a:cubicBezTo>
                  <a:pt x="1279" y="1076"/>
                  <a:pt x="1280" y="1077"/>
                  <a:pt x="1280" y="1078"/>
                </a:cubicBezTo>
                <a:cubicBezTo>
                  <a:pt x="1280" y="1078"/>
                  <a:pt x="1280" y="1079"/>
                  <a:pt x="1280" y="1079"/>
                </a:cubicBezTo>
                <a:cubicBezTo>
                  <a:pt x="1280" y="1080"/>
                  <a:pt x="1280" y="1080"/>
                  <a:pt x="1280" y="1080"/>
                </a:cubicBezTo>
                <a:cubicBezTo>
                  <a:pt x="1279" y="1081"/>
                  <a:pt x="1279" y="1081"/>
                  <a:pt x="1278" y="1081"/>
                </a:cubicBezTo>
                <a:cubicBezTo>
                  <a:pt x="1277" y="1082"/>
                  <a:pt x="1276" y="1082"/>
                  <a:pt x="1275" y="1083"/>
                </a:cubicBezTo>
                <a:cubicBezTo>
                  <a:pt x="1274" y="1083"/>
                  <a:pt x="1273" y="1084"/>
                  <a:pt x="1272" y="1084"/>
                </a:cubicBezTo>
                <a:cubicBezTo>
                  <a:pt x="1271" y="1085"/>
                  <a:pt x="1270" y="1086"/>
                  <a:pt x="1269" y="1087"/>
                </a:cubicBezTo>
                <a:cubicBezTo>
                  <a:pt x="1268" y="1088"/>
                  <a:pt x="1267" y="1090"/>
                  <a:pt x="1267" y="1091"/>
                </a:cubicBezTo>
                <a:cubicBezTo>
                  <a:pt x="1266" y="1093"/>
                  <a:pt x="1265" y="1095"/>
                  <a:pt x="1265" y="1097"/>
                </a:cubicBezTo>
                <a:cubicBezTo>
                  <a:pt x="1265" y="1100"/>
                  <a:pt x="1265" y="1102"/>
                  <a:pt x="1266" y="1105"/>
                </a:cubicBezTo>
                <a:cubicBezTo>
                  <a:pt x="1266" y="1109"/>
                  <a:pt x="1267" y="1112"/>
                  <a:pt x="1268" y="1117"/>
                </a:cubicBezTo>
                <a:lnTo>
                  <a:pt x="1310" y="1159"/>
                </a:lnTo>
                <a:cubicBezTo>
                  <a:pt x="1311" y="1160"/>
                  <a:pt x="1311" y="1160"/>
                  <a:pt x="1311" y="1161"/>
                </a:cubicBezTo>
                <a:cubicBezTo>
                  <a:pt x="1311" y="1161"/>
                  <a:pt x="1311" y="1162"/>
                  <a:pt x="1311" y="1162"/>
                </a:cubicBezTo>
                <a:cubicBezTo>
                  <a:pt x="1310" y="1163"/>
                  <a:pt x="1310" y="1164"/>
                  <a:pt x="1309" y="1164"/>
                </a:cubicBezTo>
                <a:cubicBezTo>
                  <a:pt x="1309" y="1165"/>
                  <a:pt x="1308" y="1166"/>
                  <a:pt x="1307" y="1167"/>
                </a:cubicBezTo>
                <a:cubicBezTo>
                  <a:pt x="1305" y="1169"/>
                  <a:pt x="1304" y="1170"/>
                  <a:pt x="1304" y="1170"/>
                </a:cubicBezTo>
                <a:cubicBezTo>
                  <a:pt x="1303" y="1171"/>
                  <a:pt x="1302" y="1171"/>
                  <a:pt x="1301" y="1172"/>
                </a:cubicBezTo>
                <a:cubicBezTo>
                  <a:pt x="1301" y="1172"/>
                  <a:pt x="1300" y="1172"/>
                  <a:pt x="1300" y="1172"/>
                </a:cubicBezTo>
                <a:cubicBezTo>
                  <a:pt x="1299" y="1172"/>
                  <a:pt x="1299" y="1172"/>
                  <a:pt x="1298" y="1171"/>
                </a:cubicBezTo>
                <a:lnTo>
                  <a:pt x="1234" y="1107"/>
                </a:lnTo>
                <a:cubicBezTo>
                  <a:pt x="1233" y="1106"/>
                  <a:pt x="1233" y="1106"/>
                  <a:pt x="1233" y="1105"/>
                </a:cubicBezTo>
                <a:cubicBezTo>
                  <a:pt x="1233" y="1105"/>
                  <a:pt x="1233" y="1104"/>
                  <a:pt x="1233" y="1104"/>
                </a:cubicBezTo>
                <a:cubicBezTo>
                  <a:pt x="1233" y="1103"/>
                  <a:pt x="1234" y="1102"/>
                  <a:pt x="1234" y="1102"/>
                </a:cubicBezTo>
                <a:cubicBezTo>
                  <a:pt x="1235" y="1101"/>
                  <a:pt x="1236" y="1100"/>
                  <a:pt x="1237" y="1099"/>
                </a:cubicBezTo>
                <a:cubicBezTo>
                  <a:pt x="1238" y="1098"/>
                  <a:pt x="1239" y="1097"/>
                  <a:pt x="1240" y="1096"/>
                </a:cubicBezTo>
                <a:cubicBezTo>
                  <a:pt x="1240" y="1096"/>
                  <a:pt x="1241" y="1095"/>
                  <a:pt x="1242" y="1095"/>
                </a:cubicBezTo>
                <a:cubicBezTo>
                  <a:pt x="1242" y="1095"/>
                  <a:pt x="1243" y="1095"/>
                  <a:pt x="1243" y="1095"/>
                </a:cubicBezTo>
                <a:cubicBezTo>
                  <a:pt x="1244" y="1095"/>
                  <a:pt x="1244" y="1095"/>
                  <a:pt x="1244" y="1096"/>
                </a:cubicBezTo>
                <a:lnTo>
                  <a:pt x="1254" y="1105"/>
                </a:lnTo>
                <a:cubicBezTo>
                  <a:pt x="1253" y="1101"/>
                  <a:pt x="1253" y="1097"/>
                  <a:pt x="1253" y="1094"/>
                </a:cubicBezTo>
                <a:cubicBezTo>
                  <a:pt x="1252" y="1091"/>
                  <a:pt x="1253" y="1088"/>
                  <a:pt x="1253" y="1086"/>
                </a:cubicBezTo>
                <a:cubicBezTo>
                  <a:pt x="1254" y="1083"/>
                  <a:pt x="1254" y="1081"/>
                  <a:pt x="1255" y="1080"/>
                </a:cubicBezTo>
                <a:cubicBezTo>
                  <a:pt x="1256" y="1078"/>
                  <a:pt x="1258" y="1076"/>
                  <a:pt x="1259" y="1075"/>
                </a:cubicBezTo>
                <a:cubicBezTo>
                  <a:pt x="1260" y="1074"/>
                  <a:pt x="1260" y="1074"/>
                  <a:pt x="1261" y="1073"/>
                </a:cubicBezTo>
                <a:cubicBezTo>
                  <a:pt x="1262" y="1072"/>
                  <a:pt x="1263" y="1071"/>
                  <a:pt x="1264" y="1071"/>
                </a:cubicBezTo>
                <a:cubicBezTo>
                  <a:pt x="1265" y="1070"/>
                  <a:pt x="1266" y="1070"/>
                  <a:pt x="1267" y="1069"/>
                </a:cubicBezTo>
                <a:cubicBezTo>
                  <a:pt x="1268" y="1069"/>
                  <a:pt x="1269" y="1068"/>
                  <a:pt x="1269" y="1068"/>
                </a:cubicBezTo>
                <a:cubicBezTo>
                  <a:pt x="1270" y="1068"/>
                  <a:pt x="1270" y="1068"/>
                  <a:pt x="1270" y="1068"/>
                </a:cubicBezTo>
                <a:cubicBezTo>
                  <a:pt x="1271" y="1069"/>
                  <a:pt x="1271" y="1069"/>
                  <a:pt x="1272" y="1069"/>
                </a:cubicBezTo>
                <a:cubicBezTo>
                  <a:pt x="1272" y="1069"/>
                  <a:pt x="1272" y="1070"/>
                  <a:pt x="1273" y="1070"/>
                </a:cubicBezTo>
                <a:cubicBezTo>
                  <a:pt x="1274" y="1071"/>
                  <a:pt x="1275" y="1072"/>
                  <a:pt x="1276" y="1073"/>
                </a:cubicBezTo>
                <a:close/>
                <a:moveTo>
                  <a:pt x="1404" y="1066"/>
                </a:moveTo>
                <a:cubicBezTo>
                  <a:pt x="1404" y="1067"/>
                  <a:pt x="1405" y="1067"/>
                  <a:pt x="1404" y="1068"/>
                </a:cubicBezTo>
                <a:cubicBezTo>
                  <a:pt x="1404" y="1068"/>
                  <a:pt x="1404" y="1069"/>
                  <a:pt x="1404" y="1070"/>
                </a:cubicBezTo>
                <a:cubicBezTo>
                  <a:pt x="1403" y="1071"/>
                  <a:pt x="1402" y="1072"/>
                  <a:pt x="1401" y="1073"/>
                </a:cubicBezTo>
                <a:cubicBezTo>
                  <a:pt x="1400" y="1074"/>
                  <a:pt x="1398" y="1075"/>
                  <a:pt x="1398" y="1076"/>
                </a:cubicBezTo>
                <a:cubicBezTo>
                  <a:pt x="1397" y="1077"/>
                  <a:pt x="1396" y="1077"/>
                  <a:pt x="1395" y="1077"/>
                </a:cubicBezTo>
                <a:cubicBezTo>
                  <a:pt x="1395" y="1077"/>
                  <a:pt x="1394" y="1077"/>
                  <a:pt x="1394" y="1076"/>
                </a:cubicBezTo>
                <a:lnTo>
                  <a:pt x="1387" y="1070"/>
                </a:lnTo>
                <a:cubicBezTo>
                  <a:pt x="1387" y="1076"/>
                  <a:pt x="1386" y="1081"/>
                  <a:pt x="1385" y="1086"/>
                </a:cubicBezTo>
                <a:cubicBezTo>
                  <a:pt x="1383" y="1091"/>
                  <a:pt x="1380" y="1096"/>
                  <a:pt x="1376" y="1100"/>
                </a:cubicBezTo>
                <a:cubicBezTo>
                  <a:pt x="1373" y="1103"/>
                  <a:pt x="1369" y="1106"/>
                  <a:pt x="1366" y="1108"/>
                </a:cubicBezTo>
                <a:cubicBezTo>
                  <a:pt x="1362" y="1109"/>
                  <a:pt x="1358" y="1111"/>
                  <a:pt x="1355" y="1111"/>
                </a:cubicBezTo>
                <a:cubicBezTo>
                  <a:pt x="1351" y="1111"/>
                  <a:pt x="1348" y="1111"/>
                  <a:pt x="1344" y="1109"/>
                </a:cubicBezTo>
                <a:cubicBezTo>
                  <a:pt x="1341" y="1108"/>
                  <a:pt x="1337" y="1106"/>
                  <a:pt x="1334" y="1102"/>
                </a:cubicBezTo>
                <a:cubicBezTo>
                  <a:pt x="1330" y="1099"/>
                  <a:pt x="1328" y="1095"/>
                  <a:pt x="1327" y="1091"/>
                </a:cubicBezTo>
                <a:cubicBezTo>
                  <a:pt x="1326" y="1087"/>
                  <a:pt x="1326" y="1082"/>
                  <a:pt x="1327" y="1078"/>
                </a:cubicBezTo>
                <a:cubicBezTo>
                  <a:pt x="1328" y="1073"/>
                  <a:pt x="1330" y="1068"/>
                  <a:pt x="1333" y="1063"/>
                </a:cubicBezTo>
                <a:cubicBezTo>
                  <a:pt x="1336" y="1059"/>
                  <a:pt x="1340" y="1054"/>
                  <a:pt x="1345" y="1049"/>
                </a:cubicBezTo>
                <a:lnTo>
                  <a:pt x="1354" y="1040"/>
                </a:lnTo>
                <a:lnTo>
                  <a:pt x="1349" y="1035"/>
                </a:lnTo>
                <a:cubicBezTo>
                  <a:pt x="1346" y="1032"/>
                  <a:pt x="1344" y="1030"/>
                  <a:pt x="1341" y="1029"/>
                </a:cubicBezTo>
                <a:cubicBezTo>
                  <a:pt x="1339" y="1027"/>
                  <a:pt x="1337" y="1027"/>
                  <a:pt x="1334" y="1027"/>
                </a:cubicBezTo>
                <a:cubicBezTo>
                  <a:pt x="1332" y="1026"/>
                  <a:pt x="1329" y="1027"/>
                  <a:pt x="1327" y="1028"/>
                </a:cubicBezTo>
                <a:cubicBezTo>
                  <a:pt x="1324" y="1030"/>
                  <a:pt x="1322" y="1031"/>
                  <a:pt x="1319" y="1034"/>
                </a:cubicBezTo>
                <a:cubicBezTo>
                  <a:pt x="1316" y="1037"/>
                  <a:pt x="1314" y="1040"/>
                  <a:pt x="1312" y="1043"/>
                </a:cubicBezTo>
                <a:cubicBezTo>
                  <a:pt x="1310" y="1046"/>
                  <a:pt x="1309" y="1049"/>
                  <a:pt x="1308" y="1052"/>
                </a:cubicBezTo>
                <a:cubicBezTo>
                  <a:pt x="1307" y="1054"/>
                  <a:pt x="1307" y="1056"/>
                  <a:pt x="1306" y="1058"/>
                </a:cubicBezTo>
                <a:cubicBezTo>
                  <a:pt x="1306" y="1060"/>
                  <a:pt x="1305" y="1061"/>
                  <a:pt x="1305" y="1062"/>
                </a:cubicBezTo>
                <a:cubicBezTo>
                  <a:pt x="1304" y="1062"/>
                  <a:pt x="1304" y="1062"/>
                  <a:pt x="1303" y="1063"/>
                </a:cubicBezTo>
                <a:cubicBezTo>
                  <a:pt x="1303" y="1063"/>
                  <a:pt x="1302" y="1063"/>
                  <a:pt x="1302" y="1062"/>
                </a:cubicBezTo>
                <a:cubicBezTo>
                  <a:pt x="1301" y="1062"/>
                  <a:pt x="1300" y="1062"/>
                  <a:pt x="1300" y="1061"/>
                </a:cubicBezTo>
                <a:cubicBezTo>
                  <a:pt x="1299" y="1061"/>
                  <a:pt x="1298" y="1060"/>
                  <a:pt x="1298" y="1060"/>
                </a:cubicBezTo>
                <a:cubicBezTo>
                  <a:pt x="1296" y="1058"/>
                  <a:pt x="1296" y="1057"/>
                  <a:pt x="1295" y="1057"/>
                </a:cubicBezTo>
                <a:cubicBezTo>
                  <a:pt x="1294" y="1056"/>
                  <a:pt x="1294" y="1055"/>
                  <a:pt x="1294" y="1053"/>
                </a:cubicBezTo>
                <a:cubicBezTo>
                  <a:pt x="1294" y="1052"/>
                  <a:pt x="1295" y="1050"/>
                  <a:pt x="1295" y="1048"/>
                </a:cubicBezTo>
                <a:cubicBezTo>
                  <a:pt x="1296" y="1045"/>
                  <a:pt x="1297" y="1043"/>
                  <a:pt x="1299" y="1040"/>
                </a:cubicBezTo>
                <a:cubicBezTo>
                  <a:pt x="1300" y="1037"/>
                  <a:pt x="1302" y="1034"/>
                  <a:pt x="1304" y="1032"/>
                </a:cubicBezTo>
                <a:cubicBezTo>
                  <a:pt x="1306" y="1029"/>
                  <a:pt x="1308" y="1026"/>
                  <a:pt x="1310" y="1024"/>
                </a:cubicBezTo>
                <a:cubicBezTo>
                  <a:pt x="1315" y="1019"/>
                  <a:pt x="1319" y="1015"/>
                  <a:pt x="1324" y="1013"/>
                </a:cubicBezTo>
                <a:cubicBezTo>
                  <a:pt x="1328" y="1011"/>
                  <a:pt x="1332" y="1010"/>
                  <a:pt x="1336" y="1010"/>
                </a:cubicBezTo>
                <a:cubicBezTo>
                  <a:pt x="1340" y="1010"/>
                  <a:pt x="1344" y="1011"/>
                  <a:pt x="1348" y="1013"/>
                </a:cubicBezTo>
                <a:cubicBezTo>
                  <a:pt x="1352" y="1015"/>
                  <a:pt x="1356" y="1018"/>
                  <a:pt x="1360" y="1022"/>
                </a:cubicBezTo>
                <a:lnTo>
                  <a:pt x="1404" y="1066"/>
                </a:lnTo>
                <a:close/>
                <a:moveTo>
                  <a:pt x="1362" y="1048"/>
                </a:moveTo>
                <a:lnTo>
                  <a:pt x="1352" y="1058"/>
                </a:lnTo>
                <a:cubicBezTo>
                  <a:pt x="1349" y="1062"/>
                  <a:pt x="1347" y="1065"/>
                  <a:pt x="1345" y="1068"/>
                </a:cubicBezTo>
                <a:cubicBezTo>
                  <a:pt x="1343" y="1071"/>
                  <a:pt x="1342" y="1073"/>
                  <a:pt x="1341" y="1076"/>
                </a:cubicBezTo>
                <a:cubicBezTo>
                  <a:pt x="1341" y="1079"/>
                  <a:pt x="1341" y="1081"/>
                  <a:pt x="1342" y="1083"/>
                </a:cubicBezTo>
                <a:cubicBezTo>
                  <a:pt x="1342" y="1086"/>
                  <a:pt x="1344" y="1088"/>
                  <a:pt x="1346" y="1090"/>
                </a:cubicBezTo>
                <a:cubicBezTo>
                  <a:pt x="1349" y="1093"/>
                  <a:pt x="1353" y="1095"/>
                  <a:pt x="1357" y="1095"/>
                </a:cubicBezTo>
                <a:cubicBezTo>
                  <a:pt x="1361" y="1094"/>
                  <a:pt x="1365" y="1092"/>
                  <a:pt x="1369" y="1089"/>
                </a:cubicBezTo>
                <a:cubicBezTo>
                  <a:pt x="1372" y="1085"/>
                  <a:pt x="1374" y="1082"/>
                  <a:pt x="1375" y="1078"/>
                </a:cubicBezTo>
                <a:cubicBezTo>
                  <a:pt x="1376" y="1073"/>
                  <a:pt x="1376" y="1068"/>
                  <a:pt x="1376" y="1062"/>
                </a:cubicBezTo>
                <a:lnTo>
                  <a:pt x="1362" y="1048"/>
                </a:lnTo>
                <a:close/>
                <a:moveTo>
                  <a:pt x="1435" y="1035"/>
                </a:moveTo>
                <a:cubicBezTo>
                  <a:pt x="1435" y="1035"/>
                  <a:pt x="1435" y="1036"/>
                  <a:pt x="1435" y="1036"/>
                </a:cubicBezTo>
                <a:cubicBezTo>
                  <a:pt x="1435" y="1037"/>
                  <a:pt x="1435" y="1037"/>
                  <a:pt x="1435" y="1038"/>
                </a:cubicBezTo>
                <a:cubicBezTo>
                  <a:pt x="1435" y="1038"/>
                  <a:pt x="1434" y="1039"/>
                  <a:pt x="1434" y="1040"/>
                </a:cubicBezTo>
                <a:cubicBezTo>
                  <a:pt x="1433" y="1041"/>
                  <a:pt x="1432" y="1042"/>
                  <a:pt x="1431" y="1043"/>
                </a:cubicBezTo>
                <a:cubicBezTo>
                  <a:pt x="1430" y="1044"/>
                  <a:pt x="1429" y="1045"/>
                  <a:pt x="1428" y="1046"/>
                </a:cubicBezTo>
                <a:cubicBezTo>
                  <a:pt x="1427" y="1046"/>
                  <a:pt x="1426" y="1047"/>
                  <a:pt x="1426" y="1047"/>
                </a:cubicBezTo>
                <a:cubicBezTo>
                  <a:pt x="1425" y="1047"/>
                  <a:pt x="1425" y="1048"/>
                  <a:pt x="1424" y="1047"/>
                </a:cubicBezTo>
                <a:cubicBezTo>
                  <a:pt x="1424" y="1047"/>
                  <a:pt x="1423" y="1047"/>
                  <a:pt x="1423" y="1047"/>
                </a:cubicBezTo>
                <a:lnTo>
                  <a:pt x="1327" y="951"/>
                </a:lnTo>
                <a:cubicBezTo>
                  <a:pt x="1327" y="950"/>
                  <a:pt x="1326" y="950"/>
                  <a:pt x="1326" y="949"/>
                </a:cubicBezTo>
                <a:cubicBezTo>
                  <a:pt x="1326" y="949"/>
                  <a:pt x="1326" y="948"/>
                  <a:pt x="1326" y="948"/>
                </a:cubicBezTo>
                <a:cubicBezTo>
                  <a:pt x="1327" y="947"/>
                  <a:pt x="1327" y="946"/>
                  <a:pt x="1328" y="946"/>
                </a:cubicBezTo>
                <a:cubicBezTo>
                  <a:pt x="1328" y="945"/>
                  <a:pt x="1329" y="944"/>
                  <a:pt x="1331" y="943"/>
                </a:cubicBezTo>
                <a:cubicBezTo>
                  <a:pt x="1332" y="941"/>
                  <a:pt x="1333" y="940"/>
                  <a:pt x="1334" y="940"/>
                </a:cubicBezTo>
                <a:cubicBezTo>
                  <a:pt x="1334" y="939"/>
                  <a:pt x="1335" y="939"/>
                  <a:pt x="1336" y="938"/>
                </a:cubicBezTo>
                <a:cubicBezTo>
                  <a:pt x="1336" y="938"/>
                  <a:pt x="1337" y="938"/>
                  <a:pt x="1337" y="938"/>
                </a:cubicBezTo>
                <a:cubicBezTo>
                  <a:pt x="1338" y="938"/>
                  <a:pt x="1338" y="939"/>
                  <a:pt x="1339" y="939"/>
                </a:cubicBezTo>
                <a:lnTo>
                  <a:pt x="1435" y="1035"/>
                </a:lnTo>
                <a:close/>
                <a:moveTo>
                  <a:pt x="1518" y="896"/>
                </a:moveTo>
                <a:cubicBezTo>
                  <a:pt x="1523" y="901"/>
                  <a:pt x="1526" y="906"/>
                  <a:pt x="1528" y="912"/>
                </a:cubicBezTo>
                <a:cubicBezTo>
                  <a:pt x="1531" y="917"/>
                  <a:pt x="1531" y="923"/>
                  <a:pt x="1531" y="928"/>
                </a:cubicBezTo>
                <a:cubicBezTo>
                  <a:pt x="1531" y="934"/>
                  <a:pt x="1529" y="940"/>
                  <a:pt x="1526" y="946"/>
                </a:cubicBezTo>
                <a:cubicBezTo>
                  <a:pt x="1523" y="951"/>
                  <a:pt x="1519" y="957"/>
                  <a:pt x="1514" y="962"/>
                </a:cubicBezTo>
                <a:cubicBezTo>
                  <a:pt x="1511" y="965"/>
                  <a:pt x="1508" y="967"/>
                  <a:pt x="1505" y="969"/>
                </a:cubicBezTo>
                <a:cubicBezTo>
                  <a:pt x="1502" y="971"/>
                  <a:pt x="1500" y="973"/>
                  <a:pt x="1497" y="975"/>
                </a:cubicBezTo>
                <a:cubicBezTo>
                  <a:pt x="1494" y="976"/>
                  <a:pt x="1492" y="977"/>
                  <a:pt x="1490" y="978"/>
                </a:cubicBezTo>
                <a:cubicBezTo>
                  <a:pt x="1488" y="979"/>
                  <a:pt x="1487" y="979"/>
                  <a:pt x="1486" y="979"/>
                </a:cubicBezTo>
                <a:cubicBezTo>
                  <a:pt x="1486" y="979"/>
                  <a:pt x="1485" y="979"/>
                  <a:pt x="1485" y="979"/>
                </a:cubicBezTo>
                <a:cubicBezTo>
                  <a:pt x="1484" y="979"/>
                  <a:pt x="1484" y="978"/>
                  <a:pt x="1483" y="978"/>
                </a:cubicBezTo>
                <a:cubicBezTo>
                  <a:pt x="1483" y="978"/>
                  <a:pt x="1482" y="977"/>
                  <a:pt x="1481" y="977"/>
                </a:cubicBezTo>
                <a:cubicBezTo>
                  <a:pt x="1481" y="976"/>
                  <a:pt x="1480" y="976"/>
                  <a:pt x="1479" y="975"/>
                </a:cubicBezTo>
                <a:cubicBezTo>
                  <a:pt x="1478" y="974"/>
                  <a:pt x="1478" y="973"/>
                  <a:pt x="1477" y="972"/>
                </a:cubicBezTo>
                <a:cubicBezTo>
                  <a:pt x="1477" y="972"/>
                  <a:pt x="1476" y="971"/>
                  <a:pt x="1476" y="970"/>
                </a:cubicBezTo>
                <a:cubicBezTo>
                  <a:pt x="1476" y="970"/>
                  <a:pt x="1476" y="969"/>
                  <a:pt x="1476" y="969"/>
                </a:cubicBezTo>
                <a:cubicBezTo>
                  <a:pt x="1476" y="968"/>
                  <a:pt x="1476" y="968"/>
                  <a:pt x="1476" y="968"/>
                </a:cubicBezTo>
                <a:cubicBezTo>
                  <a:pt x="1477" y="967"/>
                  <a:pt x="1478" y="967"/>
                  <a:pt x="1479" y="966"/>
                </a:cubicBezTo>
                <a:cubicBezTo>
                  <a:pt x="1481" y="966"/>
                  <a:pt x="1483" y="965"/>
                  <a:pt x="1485" y="964"/>
                </a:cubicBezTo>
                <a:cubicBezTo>
                  <a:pt x="1488" y="963"/>
                  <a:pt x="1491" y="962"/>
                  <a:pt x="1494" y="960"/>
                </a:cubicBezTo>
                <a:cubicBezTo>
                  <a:pt x="1497" y="958"/>
                  <a:pt x="1500" y="955"/>
                  <a:pt x="1504" y="952"/>
                </a:cubicBezTo>
                <a:cubicBezTo>
                  <a:pt x="1507" y="949"/>
                  <a:pt x="1509" y="945"/>
                  <a:pt x="1511" y="942"/>
                </a:cubicBezTo>
                <a:cubicBezTo>
                  <a:pt x="1513" y="938"/>
                  <a:pt x="1514" y="935"/>
                  <a:pt x="1515" y="931"/>
                </a:cubicBezTo>
                <a:cubicBezTo>
                  <a:pt x="1515" y="928"/>
                  <a:pt x="1514" y="924"/>
                  <a:pt x="1513" y="921"/>
                </a:cubicBezTo>
                <a:cubicBezTo>
                  <a:pt x="1512" y="917"/>
                  <a:pt x="1509" y="914"/>
                  <a:pt x="1506" y="910"/>
                </a:cubicBezTo>
                <a:cubicBezTo>
                  <a:pt x="1503" y="907"/>
                  <a:pt x="1500" y="905"/>
                  <a:pt x="1496" y="904"/>
                </a:cubicBezTo>
                <a:cubicBezTo>
                  <a:pt x="1493" y="902"/>
                  <a:pt x="1490" y="902"/>
                  <a:pt x="1486" y="902"/>
                </a:cubicBezTo>
                <a:cubicBezTo>
                  <a:pt x="1483" y="903"/>
                  <a:pt x="1479" y="904"/>
                  <a:pt x="1476" y="906"/>
                </a:cubicBezTo>
                <a:cubicBezTo>
                  <a:pt x="1472" y="908"/>
                  <a:pt x="1468" y="912"/>
                  <a:pt x="1464" y="916"/>
                </a:cubicBezTo>
                <a:cubicBezTo>
                  <a:pt x="1461" y="919"/>
                  <a:pt x="1459" y="921"/>
                  <a:pt x="1457" y="924"/>
                </a:cubicBezTo>
                <a:cubicBezTo>
                  <a:pt x="1455" y="926"/>
                  <a:pt x="1453" y="928"/>
                  <a:pt x="1451" y="930"/>
                </a:cubicBezTo>
                <a:cubicBezTo>
                  <a:pt x="1450" y="931"/>
                  <a:pt x="1449" y="932"/>
                  <a:pt x="1448" y="932"/>
                </a:cubicBezTo>
                <a:cubicBezTo>
                  <a:pt x="1446" y="932"/>
                  <a:pt x="1445" y="931"/>
                  <a:pt x="1443" y="929"/>
                </a:cubicBezTo>
                <a:lnTo>
                  <a:pt x="1405" y="891"/>
                </a:lnTo>
                <a:cubicBezTo>
                  <a:pt x="1404" y="890"/>
                  <a:pt x="1403" y="888"/>
                  <a:pt x="1403" y="887"/>
                </a:cubicBezTo>
                <a:cubicBezTo>
                  <a:pt x="1403" y="885"/>
                  <a:pt x="1404" y="884"/>
                  <a:pt x="1405" y="882"/>
                </a:cubicBezTo>
                <a:lnTo>
                  <a:pt x="1446" y="841"/>
                </a:lnTo>
                <a:cubicBezTo>
                  <a:pt x="1446" y="841"/>
                  <a:pt x="1447" y="841"/>
                  <a:pt x="1448" y="840"/>
                </a:cubicBezTo>
                <a:cubicBezTo>
                  <a:pt x="1448" y="840"/>
                  <a:pt x="1449" y="840"/>
                  <a:pt x="1449" y="840"/>
                </a:cubicBezTo>
                <a:cubicBezTo>
                  <a:pt x="1450" y="841"/>
                  <a:pt x="1451" y="841"/>
                  <a:pt x="1452" y="842"/>
                </a:cubicBezTo>
                <a:cubicBezTo>
                  <a:pt x="1452" y="842"/>
                  <a:pt x="1453" y="843"/>
                  <a:pt x="1454" y="844"/>
                </a:cubicBezTo>
                <a:cubicBezTo>
                  <a:pt x="1456" y="846"/>
                  <a:pt x="1457" y="847"/>
                  <a:pt x="1457" y="849"/>
                </a:cubicBezTo>
                <a:cubicBezTo>
                  <a:pt x="1458" y="850"/>
                  <a:pt x="1458" y="851"/>
                  <a:pt x="1457" y="852"/>
                </a:cubicBezTo>
                <a:lnTo>
                  <a:pt x="1424" y="885"/>
                </a:lnTo>
                <a:lnTo>
                  <a:pt x="1450" y="911"/>
                </a:lnTo>
                <a:cubicBezTo>
                  <a:pt x="1451" y="909"/>
                  <a:pt x="1453" y="908"/>
                  <a:pt x="1454" y="906"/>
                </a:cubicBezTo>
                <a:cubicBezTo>
                  <a:pt x="1456" y="904"/>
                  <a:pt x="1458" y="902"/>
                  <a:pt x="1460" y="900"/>
                </a:cubicBezTo>
                <a:cubicBezTo>
                  <a:pt x="1465" y="895"/>
                  <a:pt x="1470" y="891"/>
                  <a:pt x="1475" y="888"/>
                </a:cubicBezTo>
                <a:cubicBezTo>
                  <a:pt x="1481" y="886"/>
                  <a:pt x="1486" y="884"/>
                  <a:pt x="1490" y="884"/>
                </a:cubicBezTo>
                <a:cubicBezTo>
                  <a:pt x="1495" y="884"/>
                  <a:pt x="1500" y="885"/>
                  <a:pt x="1505" y="887"/>
                </a:cubicBezTo>
                <a:cubicBezTo>
                  <a:pt x="1509" y="889"/>
                  <a:pt x="1514" y="892"/>
                  <a:pt x="1518" y="896"/>
                </a:cubicBezTo>
                <a:close/>
                <a:moveTo>
                  <a:pt x="1584" y="796"/>
                </a:moveTo>
                <a:cubicBezTo>
                  <a:pt x="1591" y="803"/>
                  <a:pt x="1597" y="810"/>
                  <a:pt x="1601" y="817"/>
                </a:cubicBezTo>
                <a:cubicBezTo>
                  <a:pt x="1606" y="825"/>
                  <a:pt x="1609" y="831"/>
                  <a:pt x="1611" y="838"/>
                </a:cubicBezTo>
                <a:cubicBezTo>
                  <a:pt x="1613" y="845"/>
                  <a:pt x="1612" y="852"/>
                  <a:pt x="1611" y="858"/>
                </a:cubicBezTo>
                <a:cubicBezTo>
                  <a:pt x="1609" y="865"/>
                  <a:pt x="1605" y="871"/>
                  <a:pt x="1598" y="877"/>
                </a:cubicBezTo>
                <a:cubicBezTo>
                  <a:pt x="1593" y="883"/>
                  <a:pt x="1587" y="887"/>
                  <a:pt x="1581" y="889"/>
                </a:cubicBezTo>
                <a:cubicBezTo>
                  <a:pt x="1574" y="891"/>
                  <a:pt x="1568" y="891"/>
                  <a:pt x="1562" y="890"/>
                </a:cubicBezTo>
                <a:cubicBezTo>
                  <a:pt x="1555" y="888"/>
                  <a:pt x="1549" y="885"/>
                  <a:pt x="1542" y="880"/>
                </a:cubicBezTo>
                <a:cubicBezTo>
                  <a:pt x="1535" y="875"/>
                  <a:pt x="1527" y="869"/>
                  <a:pt x="1520" y="861"/>
                </a:cubicBezTo>
                <a:cubicBezTo>
                  <a:pt x="1513" y="854"/>
                  <a:pt x="1507" y="847"/>
                  <a:pt x="1502" y="840"/>
                </a:cubicBezTo>
                <a:cubicBezTo>
                  <a:pt x="1497" y="833"/>
                  <a:pt x="1494" y="826"/>
                  <a:pt x="1492" y="819"/>
                </a:cubicBezTo>
                <a:cubicBezTo>
                  <a:pt x="1491" y="812"/>
                  <a:pt x="1491" y="805"/>
                  <a:pt x="1493" y="799"/>
                </a:cubicBezTo>
                <a:cubicBezTo>
                  <a:pt x="1495" y="792"/>
                  <a:pt x="1499" y="786"/>
                  <a:pt x="1505" y="780"/>
                </a:cubicBezTo>
                <a:cubicBezTo>
                  <a:pt x="1511" y="774"/>
                  <a:pt x="1517" y="770"/>
                  <a:pt x="1523" y="768"/>
                </a:cubicBezTo>
                <a:cubicBezTo>
                  <a:pt x="1529" y="766"/>
                  <a:pt x="1535" y="766"/>
                  <a:pt x="1541" y="768"/>
                </a:cubicBezTo>
                <a:cubicBezTo>
                  <a:pt x="1548" y="769"/>
                  <a:pt x="1555" y="773"/>
                  <a:pt x="1562" y="777"/>
                </a:cubicBezTo>
                <a:cubicBezTo>
                  <a:pt x="1569" y="782"/>
                  <a:pt x="1576" y="789"/>
                  <a:pt x="1584" y="796"/>
                </a:cubicBezTo>
                <a:close/>
                <a:moveTo>
                  <a:pt x="1572" y="810"/>
                </a:moveTo>
                <a:cubicBezTo>
                  <a:pt x="1567" y="805"/>
                  <a:pt x="1563" y="801"/>
                  <a:pt x="1559" y="798"/>
                </a:cubicBezTo>
                <a:cubicBezTo>
                  <a:pt x="1555" y="794"/>
                  <a:pt x="1551" y="792"/>
                  <a:pt x="1547" y="789"/>
                </a:cubicBezTo>
                <a:cubicBezTo>
                  <a:pt x="1544" y="787"/>
                  <a:pt x="1541" y="786"/>
                  <a:pt x="1538" y="785"/>
                </a:cubicBezTo>
                <a:cubicBezTo>
                  <a:pt x="1535" y="784"/>
                  <a:pt x="1532" y="783"/>
                  <a:pt x="1529" y="783"/>
                </a:cubicBezTo>
                <a:cubicBezTo>
                  <a:pt x="1526" y="783"/>
                  <a:pt x="1524" y="784"/>
                  <a:pt x="1521" y="785"/>
                </a:cubicBezTo>
                <a:cubicBezTo>
                  <a:pt x="1519" y="787"/>
                  <a:pt x="1516" y="788"/>
                  <a:pt x="1514" y="791"/>
                </a:cubicBezTo>
                <a:cubicBezTo>
                  <a:pt x="1510" y="795"/>
                  <a:pt x="1508" y="799"/>
                  <a:pt x="1507" y="804"/>
                </a:cubicBezTo>
                <a:cubicBezTo>
                  <a:pt x="1506" y="808"/>
                  <a:pt x="1507" y="813"/>
                  <a:pt x="1509" y="817"/>
                </a:cubicBezTo>
                <a:cubicBezTo>
                  <a:pt x="1511" y="822"/>
                  <a:pt x="1514" y="827"/>
                  <a:pt x="1518" y="832"/>
                </a:cubicBezTo>
                <a:cubicBezTo>
                  <a:pt x="1522" y="837"/>
                  <a:pt x="1526" y="842"/>
                  <a:pt x="1531" y="847"/>
                </a:cubicBezTo>
                <a:cubicBezTo>
                  <a:pt x="1538" y="854"/>
                  <a:pt x="1545" y="860"/>
                  <a:pt x="1550" y="864"/>
                </a:cubicBezTo>
                <a:cubicBezTo>
                  <a:pt x="1556" y="868"/>
                  <a:pt x="1561" y="871"/>
                  <a:pt x="1566" y="873"/>
                </a:cubicBezTo>
                <a:cubicBezTo>
                  <a:pt x="1570" y="874"/>
                  <a:pt x="1574" y="874"/>
                  <a:pt x="1578" y="873"/>
                </a:cubicBezTo>
                <a:cubicBezTo>
                  <a:pt x="1582" y="872"/>
                  <a:pt x="1586" y="870"/>
                  <a:pt x="1589" y="867"/>
                </a:cubicBezTo>
                <a:cubicBezTo>
                  <a:pt x="1592" y="864"/>
                  <a:pt x="1594" y="861"/>
                  <a:pt x="1595" y="858"/>
                </a:cubicBezTo>
                <a:cubicBezTo>
                  <a:pt x="1596" y="855"/>
                  <a:pt x="1597" y="852"/>
                  <a:pt x="1596" y="849"/>
                </a:cubicBezTo>
                <a:cubicBezTo>
                  <a:pt x="1596" y="846"/>
                  <a:pt x="1596" y="843"/>
                  <a:pt x="1594" y="840"/>
                </a:cubicBezTo>
                <a:cubicBezTo>
                  <a:pt x="1593" y="837"/>
                  <a:pt x="1591" y="833"/>
                  <a:pt x="1589" y="830"/>
                </a:cubicBezTo>
                <a:cubicBezTo>
                  <a:pt x="1587" y="827"/>
                  <a:pt x="1584" y="823"/>
                  <a:pt x="1581" y="820"/>
                </a:cubicBezTo>
                <a:cubicBezTo>
                  <a:pt x="1578" y="817"/>
                  <a:pt x="1575" y="813"/>
                  <a:pt x="1572" y="810"/>
                </a:cubicBezTo>
                <a:close/>
                <a:moveTo>
                  <a:pt x="1678" y="782"/>
                </a:moveTo>
                <a:cubicBezTo>
                  <a:pt x="1679" y="783"/>
                  <a:pt x="1680" y="785"/>
                  <a:pt x="1681" y="786"/>
                </a:cubicBezTo>
                <a:cubicBezTo>
                  <a:pt x="1682" y="787"/>
                  <a:pt x="1682" y="788"/>
                  <a:pt x="1682" y="788"/>
                </a:cubicBezTo>
                <a:cubicBezTo>
                  <a:pt x="1682" y="789"/>
                  <a:pt x="1682" y="790"/>
                  <a:pt x="1681" y="791"/>
                </a:cubicBezTo>
                <a:cubicBezTo>
                  <a:pt x="1681" y="792"/>
                  <a:pt x="1680" y="793"/>
                  <a:pt x="1680" y="795"/>
                </a:cubicBezTo>
                <a:cubicBezTo>
                  <a:pt x="1679" y="796"/>
                  <a:pt x="1678" y="797"/>
                  <a:pt x="1677" y="798"/>
                </a:cubicBezTo>
                <a:cubicBezTo>
                  <a:pt x="1676" y="799"/>
                  <a:pt x="1675" y="801"/>
                  <a:pt x="1674" y="802"/>
                </a:cubicBezTo>
                <a:cubicBezTo>
                  <a:pt x="1670" y="805"/>
                  <a:pt x="1667" y="808"/>
                  <a:pt x="1664" y="809"/>
                </a:cubicBezTo>
                <a:cubicBezTo>
                  <a:pt x="1661" y="811"/>
                  <a:pt x="1657" y="811"/>
                  <a:pt x="1654" y="811"/>
                </a:cubicBezTo>
                <a:cubicBezTo>
                  <a:pt x="1651" y="811"/>
                  <a:pt x="1647" y="809"/>
                  <a:pt x="1644" y="807"/>
                </a:cubicBezTo>
                <a:cubicBezTo>
                  <a:pt x="1640" y="805"/>
                  <a:pt x="1637" y="802"/>
                  <a:pt x="1633" y="799"/>
                </a:cubicBezTo>
                <a:lnTo>
                  <a:pt x="1595" y="761"/>
                </a:lnTo>
                <a:lnTo>
                  <a:pt x="1586" y="770"/>
                </a:lnTo>
                <a:cubicBezTo>
                  <a:pt x="1586" y="771"/>
                  <a:pt x="1585" y="771"/>
                  <a:pt x="1583" y="771"/>
                </a:cubicBezTo>
                <a:cubicBezTo>
                  <a:pt x="1582" y="770"/>
                  <a:pt x="1581" y="769"/>
                  <a:pt x="1579" y="767"/>
                </a:cubicBezTo>
                <a:cubicBezTo>
                  <a:pt x="1578" y="767"/>
                  <a:pt x="1577" y="766"/>
                  <a:pt x="1577" y="765"/>
                </a:cubicBezTo>
                <a:cubicBezTo>
                  <a:pt x="1576" y="764"/>
                  <a:pt x="1576" y="764"/>
                  <a:pt x="1576" y="763"/>
                </a:cubicBezTo>
                <a:cubicBezTo>
                  <a:pt x="1576" y="762"/>
                  <a:pt x="1576" y="762"/>
                  <a:pt x="1576" y="761"/>
                </a:cubicBezTo>
                <a:cubicBezTo>
                  <a:pt x="1576" y="761"/>
                  <a:pt x="1576" y="760"/>
                  <a:pt x="1576" y="760"/>
                </a:cubicBezTo>
                <a:lnTo>
                  <a:pt x="1585" y="751"/>
                </a:lnTo>
                <a:lnTo>
                  <a:pt x="1570" y="736"/>
                </a:lnTo>
                <a:cubicBezTo>
                  <a:pt x="1570" y="735"/>
                  <a:pt x="1569" y="735"/>
                  <a:pt x="1569" y="735"/>
                </a:cubicBezTo>
                <a:cubicBezTo>
                  <a:pt x="1569" y="734"/>
                  <a:pt x="1569" y="734"/>
                  <a:pt x="1570" y="733"/>
                </a:cubicBezTo>
                <a:cubicBezTo>
                  <a:pt x="1570" y="732"/>
                  <a:pt x="1570" y="731"/>
                  <a:pt x="1571" y="731"/>
                </a:cubicBezTo>
                <a:cubicBezTo>
                  <a:pt x="1572" y="730"/>
                  <a:pt x="1573" y="729"/>
                  <a:pt x="1574" y="728"/>
                </a:cubicBezTo>
                <a:cubicBezTo>
                  <a:pt x="1575" y="726"/>
                  <a:pt x="1576" y="725"/>
                  <a:pt x="1577" y="725"/>
                </a:cubicBezTo>
                <a:cubicBezTo>
                  <a:pt x="1578" y="724"/>
                  <a:pt x="1578" y="724"/>
                  <a:pt x="1579" y="723"/>
                </a:cubicBezTo>
                <a:cubicBezTo>
                  <a:pt x="1580" y="723"/>
                  <a:pt x="1580" y="723"/>
                  <a:pt x="1581" y="723"/>
                </a:cubicBezTo>
                <a:cubicBezTo>
                  <a:pt x="1581" y="723"/>
                  <a:pt x="1582" y="724"/>
                  <a:pt x="1582" y="724"/>
                </a:cubicBezTo>
                <a:lnTo>
                  <a:pt x="1597" y="739"/>
                </a:lnTo>
                <a:lnTo>
                  <a:pt x="1614" y="723"/>
                </a:lnTo>
                <a:cubicBezTo>
                  <a:pt x="1614" y="722"/>
                  <a:pt x="1615" y="722"/>
                  <a:pt x="1615" y="722"/>
                </a:cubicBezTo>
                <a:cubicBezTo>
                  <a:pt x="1616" y="722"/>
                  <a:pt x="1616" y="722"/>
                  <a:pt x="1617" y="722"/>
                </a:cubicBezTo>
                <a:cubicBezTo>
                  <a:pt x="1617" y="722"/>
                  <a:pt x="1618" y="723"/>
                  <a:pt x="1619" y="723"/>
                </a:cubicBezTo>
                <a:cubicBezTo>
                  <a:pt x="1619" y="724"/>
                  <a:pt x="1620" y="724"/>
                  <a:pt x="1621" y="725"/>
                </a:cubicBezTo>
                <a:cubicBezTo>
                  <a:pt x="1623" y="727"/>
                  <a:pt x="1624" y="728"/>
                  <a:pt x="1624" y="730"/>
                </a:cubicBezTo>
                <a:cubicBezTo>
                  <a:pt x="1625" y="731"/>
                  <a:pt x="1624" y="732"/>
                  <a:pt x="1624" y="733"/>
                </a:cubicBezTo>
                <a:lnTo>
                  <a:pt x="1607" y="749"/>
                </a:lnTo>
                <a:lnTo>
                  <a:pt x="1643" y="785"/>
                </a:lnTo>
                <a:cubicBezTo>
                  <a:pt x="1648" y="790"/>
                  <a:pt x="1652" y="792"/>
                  <a:pt x="1655" y="793"/>
                </a:cubicBezTo>
                <a:cubicBezTo>
                  <a:pt x="1659" y="794"/>
                  <a:pt x="1662" y="793"/>
                  <a:pt x="1666" y="790"/>
                </a:cubicBezTo>
                <a:cubicBezTo>
                  <a:pt x="1667" y="789"/>
                  <a:pt x="1668" y="787"/>
                  <a:pt x="1668" y="786"/>
                </a:cubicBezTo>
                <a:cubicBezTo>
                  <a:pt x="1669" y="785"/>
                  <a:pt x="1670" y="784"/>
                  <a:pt x="1670" y="783"/>
                </a:cubicBezTo>
                <a:cubicBezTo>
                  <a:pt x="1670" y="782"/>
                  <a:pt x="1671" y="782"/>
                  <a:pt x="1671" y="781"/>
                </a:cubicBezTo>
                <a:cubicBezTo>
                  <a:pt x="1671" y="780"/>
                  <a:pt x="1672" y="780"/>
                  <a:pt x="1672" y="779"/>
                </a:cubicBezTo>
                <a:cubicBezTo>
                  <a:pt x="1672" y="779"/>
                  <a:pt x="1672" y="779"/>
                  <a:pt x="1673" y="779"/>
                </a:cubicBezTo>
                <a:cubicBezTo>
                  <a:pt x="1673" y="779"/>
                  <a:pt x="1674" y="779"/>
                  <a:pt x="1674" y="779"/>
                </a:cubicBezTo>
                <a:cubicBezTo>
                  <a:pt x="1674" y="779"/>
                  <a:pt x="1675" y="780"/>
                  <a:pt x="1676" y="780"/>
                </a:cubicBezTo>
                <a:cubicBezTo>
                  <a:pt x="1676" y="781"/>
                  <a:pt x="1677" y="781"/>
                  <a:pt x="1678" y="782"/>
                </a:cubicBezTo>
                <a:close/>
                <a:moveTo>
                  <a:pt x="1750" y="720"/>
                </a:moveTo>
                <a:cubicBezTo>
                  <a:pt x="1750" y="720"/>
                  <a:pt x="1751" y="720"/>
                  <a:pt x="1751" y="721"/>
                </a:cubicBezTo>
                <a:cubicBezTo>
                  <a:pt x="1751" y="721"/>
                  <a:pt x="1751" y="722"/>
                  <a:pt x="1750" y="722"/>
                </a:cubicBezTo>
                <a:cubicBezTo>
                  <a:pt x="1750" y="723"/>
                  <a:pt x="1750" y="724"/>
                  <a:pt x="1749" y="725"/>
                </a:cubicBezTo>
                <a:cubicBezTo>
                  <a:pt x="1748" y="725"/>
                  <a:pt x="1748" y="726"/>
                  <a:pt x="1746" y="728"/>
                </a:cubicBezTo>
                <a:cubicBezTo>
                  <a:pt x="1745" y="729"/>
                  <a:pt x="1744" y="730"/>
                  <a:pt x="1743" y="730"/>
                </a:cubicBezTo>
                <a:cubicBezTo>
                  <a:pt x="1742" y="731"/>
                  <a:pt x="1742" y="732"/>
                  <a:pt x="1741" y="732"/>
                </a:cubicBezTo>
                <a:cubicBezTo>
                  <a:pt x="1740" y="732"/>
                  <a:pt x="1740" y="732"/>
                  <a:pt x="1739" y="732"/>
                </a:cubicBezTo>
                <a:cubicBezTo>
                  <a:pt x="1739" y="732"/>
                  <a:pt x="1739" y="732"/>
                  <a:pt x="1738" y="731"/>
                </a:cubicBezTo>
                <a:lnTo>
                  <a:pt x="1700" y="694"/>
                </a:lnTo>
                <a:cubicBezTo>
                  <a:pt x="1697" y="690"/>
                  <a:pt x="1693" y="687"/>
                  <a:pt x="1691" y="685"/>
                </a:cubicBezTo>
                <a:cubicBezTo>
                  <a:pt x="1688" y="684"/>
                  <a:pt x="1685" y="683"/>
                  <a:pt x="1682" y="682"/>
                </a:cubicBezTo>
                <a:cubicBezTo>
                  <a:pt x="1680" y="682"/>
                  <a:pt x="1677" y="682"/>
                  <a:pt x="1674" y="683"/>
                </a:cubicBezTo>
                <a:cubicBezTo>
                  <a:pt x="1672" y="684"/>
                  <a:pt x="1669" y="685"/>
                  <a:pt x="1667" y="687"/>
                </a:cubicBezTo>
                <a:cubicBezTo>
                  <a:pt x="1664" y="690"/>
                  <a:pt x="1662" y="694"/>
                  <a:pt x="1661" y="700"/>
                </a:cubicBezTo>
                <a:cubicBezTo>
                  <a:pt x="1660" y="705"/>
                  <a:pt x="1660" y="711"/>
                  <a:pt x="1661" y="718"/>
                </a:cubicBezTo>
                <a:lnTo>
                  <a:pt x="1706" y="763"/>
                </a:lnTo>
                <a:cubicBezTo>
                  <a:pt x="1707" y="764"/>
                  <a:pt x="1707" y="764"/>
                  <a:pt x="1707" y="765"/>
                </a:cubicBezTo>
                <a:cubicBezTo>
                  <a:pt x="1707" y="765"/>
                  <a:pt x="1707" y="766"/>
                  <a:pt x="1707" y="766"/>
                </a:cubicBezTo>
                <a:cubicBezTo>
                  <a:pt x="1706" y="767"/>
                  <a:pt x="1706" y="768"/>
                  <a:pt x="1705" y="768"/>
                </a:cubicBezTo>
                <a:cubicBezTo>
                  <a:pt x="1705" y="769"/>
                  <a:pt x="1704" y="770"/>
                  <a:pt x="1702" y="771"/>
                </a:cubicBezTo>
                <a:cubicBezTo>
                  <a:pt x="1701" y="773"/>
                  <a:pt x="1700" y="774"/>
                  <a:pt x="1699" y="774"/>
                </a:cubicBezTo>
                <a:cubicBezTo>
                  <a:pt x="1699" y="775"/>
                  <a:pt x="1698" y="775"/>
                  <a:pt x="1697" y="776"/>
                </a:cubicBezTo>
                <a:cubicBezTo>
                  <a:pt x="1697" y="776"/>
                  <a:pt x="1696" y="776"/>
                  <a:pt x="1696" y="776"/>
                </a:cubicBezTo>
                <a:cubicBezTo>
                  <a:pt x="1695" y="776"/>
                  <a:pt x="1695" y="776"/>
                  <a:pt x="1694" y="775"/>
                </a:cubicBezTo>
                <a:lnTo>
                  <a:pt x="1598" y="679"/>
                </a:lnTo>
                <a:cubicBezTo>
                  <a:pt x="1598" y="679"/>
                  <a:pt x="1598" y="678"/>
                  <a:pt x="1598" y="678"/>
                </a:cubicBezTo>
                <a:cubicBezTo>
                  <a:pt x="1598" y="678"/>
                  <a:pt x="1598" y="677"/>
                  <a:pt x="1598" y="676"/>
                </a:cubicBezTo>
                <a:cubicBezTo>
                  <a:pt x="1598" y="676"/>
                  <a:pt x="1599" y="675"/>
                  <a:pt x="1599" y="674"/>
                </a:cubicBezTo>
                <a:cubicBezTo>
                  <a:pt x="1600" y="673"/>
                  <a:pt x="1601" y="672"/>
                  <a:pt x="1602" y="671"/>
                </a:cubicBezTo>
                <a:cubicBezTo>
                  <a:pt x="1603" y="670"/>
                  <a:pt x="1604" y="669"/>
                  <a:pt x="1605" y="668"/>
                </a:cubicBezTo>
                <a:cubicBezTo>
                  <a:pt x="1606" y="668"/>
                  <a:pt x="1607" y="667"/>
                  <a:pt x="1607" y="667"/>
                </a:cubicBezTo>
                <a:cubicBezTo>
                  <a:pt x="1608" y="667"/>
                  <a:pt x="1609" y="667"/>
                  <a:pt x="1609" y="667"/>
                </a:cubicBezTo>
                <a:cubicBezTo>
                  <a:pt x="1609" y="667"/>
                  <a:pt x="1610" y="667"/>
                  <a:pt x="1610" y="667"/>
                </a:cubicBezTo>
                <a:lnTo>
                  <a:pt x="1649" y="706"/>
                </a:lnTo>
                <a:cubicBezTo>
                  <a:pt x="1649" y="699"/>
                  <a:pt x="1650" y="693"/>
                  <a:pt x="1651" y="688"/>
                </a:cubicBezTo>
                <a:cubicBezTo>
                  <a:pt x="1653" y="683"/>
                  <a:pt x="1656" y="678"/>
                  <a:pt x="1659" y="675"/>
                </a:cubicBezTo>
                <a:cubicBezTo>
                  <a:pt x="1663" y="670"/>
                  <a:pt x="1668" y="668"/>
                  <a:pt x="1672" y="666"/>
                </a:cubicBezTo>
                <a:cubicBezTo>
                  <a:pt x="1677" y="665"/>
                  <a:pt x="1681" y="664"/>
                  <a:pt x="1685" y="665"/>
                </a:cubicBezTo>
                <a:cubicBezTo>
                  <a:pt x="1689" y="665"/>
                  <a:pt x="1694" y="667"/>
                  <a:pt x="1698" y="669"/>
                </a:cubicBezTo>
                <a:cubicBezTo>
                  <a:pt x="1702" y="672"/>
                  <a:pt x="1706" y="676"/>
                  <a:pt x="1711" y="680"/>
                </a:cubicBezTo>
                <a:lnTo>
                  <a:pt x="1750" y="720"/>
                </a:lnTo>
                <a:close/>
                <a:moveTo>
                  <a:pt x="1802" y="540"/>
                </a:moveTo>
                <a:cubicBezTo>
                  <a:pt x="1807" y="544"/>
                  <a:pt x="1810" y="549"/>
                  <a:pt x="1812" y="555"/>
                </a:cubicBezTo>
                <a:cubicBezTo>
                  <a:pt x="1815" y="560"/>
                  <a:pt x="1816" y="565"/>
                  <a:pt x="1815" y="571"/>
                </a:cubicBezTo>
                <a:cubicBezTo>
                  <a:pt x="1815" y="576"/>
                  <a:pt x="1814" y="582"/>
                  <a:pt x="1811" y="587"/>
                </a:cubicBezTo>
                <a:cubicBezTo>
                  <a:pt x="1808" y="593"/>
                  <a:pt x="1804" y="598"/>
                  <a:pt x="1798" y="604"/>
                </a:cubicBezTo>
                <a:lnTo>
                  <a:pt x="1788" y="615"/>
                </a:lnTo>
                <a:lnTo>
                  <a:pt x="1821" y="648"/>
                </a:lnTo>
                <a:cubicBezTo>
                  <a:pt x="1822" y="649"/>
                  <a:pt x="1822" y="649"/>
                  <a:pt x="1822" y="650"/>
                </a:cubicBezTo>
                <a:cubicBezTo>
                  <a:pt x="1822" y="650"/>
                  <a:pt x="1822" y="651"/>
                  <a:pt x="1822" y="651"/>
                </a:cubicBezTo>
                <a:cubicBezTo>
                  <a:pt x="1821" y="652"/>
                  <a:pt x="1821" y="653"/>
                  <a:pt x="1820" y="654"/>
                </a:cubicBezTo>
                <a:cubicBezTo>
                  <a:pt x="1819" y="654"/>
                  <a:pt x="1818" y="656"/>
                  <a:pt x="1817" y="657"/>
                </a:cubicBezTo>
                <a:cubicBezTo>
                  <a:pt x="1816" y="658"/>
                  <a:pt x="1815" y="659"/>
                  <a:pt x="1814" y="660"/>
                </a:cubicBezTo>
                <a:cubicBezTo>
                  <a:pt x="1813" y="660"/>
                  <a:pt x="1812" y="661"/>
                  <a:pt x="1812" y="661"/>
                </a:cubicBezTo>
                <a:cubicBezTo>
                  <a:pt x="1811" y="661"/>
                  <a:pt x="1811" y="661"/>
                  <a:pt x="1810" y="661"/>
                </a:cubicBezTo>
                <a:cubicBezTo>
                  <a:pt x="1810" y="661"/>
                  <a:pt x="1809" y="661"/>
                  <a:pt x="1809" y="661"/>
                </a:cubicBezTo>
                <a:lnTo>
                  <a:pt x="1723" y="575"/>
                </a:lnTo>
                <a:cubicBezTo>
                  <a:pt x="1721" y="573"/>
                  <a:pt x="1720" y="571"/>
                  <a:pt x="1720" y="569"/>
                </a:cubicBezTo>
                <a:cubicBezTo>
                  <a:pt x="1721" y="567"/>
                  <a:pt x="1721" y="566"/>
                  <a:pt x="1723" y="565"/>
                </a:cubicBezTo>
                <a:lnTo>
                  <a:pt x="1743" y="545"/>
                </a:lnTo>
                <a:cubicBezTo>
                  <a:pt x="1745" y="543"/>
                  <a:pt x="1747" y="541"/>
                  <a:pt x="1749" y="539"/>
                </a:cubicBezTo>
                <a:cubicBezTo>
                  <a:pt x="1751" y="538"/>
                  <a:pt x="1753" y="536"/>
                  <a:pt x="1756" y="534"/>
                </a:cubicBezTo>
                <a:cubicBezTo>
                  <a:pt x="1759" y="532"/>
                  <a:pt x="1763" y="530"/>
                  <a:pt x="1767" y="529"/>
                </a:cubicBezTo>
                <a:cubicBezTo>
                  <a:pt x="1771" y="528"/>
                  <a:pt x="1775" y="528"/>
                  <a:pt x="1779" y="528"/>
                </a:cubicBezTo>
                <a:cubicBezTo>
                  <a:pt x="1783" y="528"/>
                  <a:pt x="1787" y="530"/>
                  <a:pt x="1791" y="532"/>
                </a:cubicBezTo>
                <a:cubicBezTo>
                  <a:pt x="1795" y="533"/>
                  <a:pt x="1799" y="536"/>
                  <a:pt x="1802" y="540"/>
                </a:cubicBezTo>
                <a:close/>
                <a:moveTo>
                  <a:pt x="1790" y="554"/>
                </a:moveTo>
                <a:cubicBezTo>
                  <a:pt x="1786" y="550"/>
                  <a:pt x="1782" y="547"/>
                  <a:pt x="1778" y="546"/>
                </a:cubicBezTo>
                <a:cubicBezTo>
                  <a:pt x="1775" y="545"/>
                  <a:pt x="1771" y="545"/>
                  <a:pt x="1768" y="546"/>
                </a:cubicBezTo>
                <a:cubicBezTo>
                  <a:pt x="1764" y="547"/>
                  <a:pt x="1761" y="548"/>
                  <a:pt x="1759" y="550"/>
                </a:cubicBezTo>
                <a:cubicBezTo>
                  <a:pt x="1756" y="552"/>
                  <a:pt x="1754" y="554"/>
                  <a:pt x="1752" y="556"/>
                </a:cubicBezTo>
                <a:lnTo>
                  <a:pt x="1740" y="567"/>
                </a:lnTo>
                <a:lnTo>
                  <a:pt x="1778" y="605"/>
                </a:lnTo>
                <a:lnTo>
                  <a:pt x="1789" y="594"/>
                </a:lnTo>
                <a:cubicBezTo>
                  <a:pt x="1792" y="590"/>
                  <a:pt x="1795" y="586"/>
                  <a:pt x="1797" y="583"/>
                </a:cubicBezTo>
                <a:cubicBezTo>
                  <a:pt x="1798" y="579"/>
                  <a:pt x="1799" y="576"/>
                  <a:pt x="1799" y="573"/>
                </a:cubicBezTo>
                <a:cubicBezTo>
                  <a:pt x="1799" y="569"/>
                  <a:pt x="1798" y="566"/>
                  <a:pt x="1796" y="563"/>
                </a:cubicBezTo>
                <a:cubicBezTo>
                  <a:pt x="1795" y="559"/>
                  <a:pt x="1793" y="556"/>
                  <a:pt x="1790" y="554"/>
                </a:cubicBezTo>
                <a:close/>
                <a:moveTo>
                  <a:pt x="1907" y="493"/>
                </a:moveTo>
                <a:cubicBezTo>
                  <a:pt x="1909" y="494"/>
                  <a:pt x="1909" y="496"/>
                  <a:pt x="1909" y="498"/>
                </a:cubicBezTo>
                <a:cubicBezTo>
                  <a:pt x="1909" y="500"/>
                  <a:pt x="1909" y="501"/>
                  <a:pt x="1907" y="502"/>
                </a:cubicBezTo>
                <a:lnTo>
                  <a:pt x="1865" y="545"/>
                </a:lnTo>
                <a:cubicBezTo>
                  <a:pt x="1868" y="548"/>
                  <a:pt x="1872" y="551"/>
                  <a:pt x="1876" y="554"/>
                </a:cubicBezTo>
                <a:cubicBezTo>
                  <a:pt x="1879" y="556"/>
                  <a:pt x="1883" y="557"/>
                  <a:pt x="1887" y="557"/>
                </a:cubicBezTo>
                <a:cubicBezTo>
                  <a:pt x="1890" y="558"/>
                  <a:pt x="1894" y="557"/>
                  <a:pt x="1898" y="555"/>
                </a:cubicBezTo>
                <a:cubicBezTo>
                  <a:pt x="1902" y="554"/>
                  <a:pt x="1905" y="551"/>
                  <a:pt x="1909" y="547"/>
                </a:cubicBezTo>
                <a:cubicBezTo>
                  <a:pt x="1912" y="544"/>
                  <a:pt x="1915" y="541"/>
                  <a:pt x="1917" y="538"/>
                </a:cubicBezTo>
                <a:cubicBezTo>
                  <a:pt x="1919" y="535"/>
                  <a:pt x="1920" y="533"/>
                  <a:pt x="1921" y="530"/>
                </a:cubicBezTo>
                <a:cubicBezTo>
                  <a:pt x="1923" y="528"/>
                  <a:pt x="1923" y="526"/>
                  <a:pt x="1924" y="524"/>
                </a:cubicBezTo>
                <a:cubicBezTo>
                  <a:pt x="1925" y="523"/>
                  <a:pt x="1925" y="522"/>
                  <a:pt x="1926" y="521"/>
                </a:cubicBezTo>
                <a:cubicBezTo>
                  <a:pt x="1926" y="521"/>
                  <a:pt x="1927" y="520"/>
                  <a:pt x="1927" y="520"/>
                </a:cubicBezTo>
                <a:cubicBezTo>
                  <a:pt x="1927" y="520"/>
                  <a:pt x="1928" y="520"/>
                  <a:pt x="1928" y="520"/>
                </a:cubicBezTo>
                <a:cubicBezTo>
                  <a:pt x="1929" y="521"/>
                  <a:pt x="1929" y="521"/>
                  <a:pt x="1930" y="522"/>
                </a:cubicBezTo>
                <a:cubicBezTo>
                  <a:pt x="1931" y="522"/>
                  <a:pt x="1932" y="523"/>
                  <a:pt x="1932" y="524"/>
                </a:cubicBezTo>
                <a:cubicBezTo>
                  <a:pt x="1933" y="524"/>
                  <a:pt x="1934" y="525"/>
                  <a:pt x="1934" y="525"/>
                </a:cubicBezTo>
                <a:cubicBezTo>
                  <a:pt x="1934" y="526"/>
                  <a:pt x="1935" y="526"/>
                  <a:pt x="1935" y="527"/>
                </a:cubicBezTo>
                <a:cubicBezTo>
                  <a:pt x="1935" y="527"/>
                  <a:pt x="1935" y="528"/>
                  <a:pt x="1936" y="528"/>
                </a:cubicBezTo>
                <a:cubicBezTo>
                  <a:pt x="1936" y="529"/>
                  <a:pt x="1936" y="529"/>
                  <a:pt x="1936" y="530"/>
                </a:cubicBezTo>
                <a:cubicBezTo>
                  <a:pt x="1936" y="530"/>
                  <a:pt x="1935" y="531"/>
                  <a:pt x="1935" y="533"/>
                </a:cubicBezTo>
                <a:cubicBezTo>
                  <a:pt x="1934" y="535"/>
                  <a:pt x="1933" y="537"/>
                  <a:pt x="1931" y="540"/>
                </a:cubicBezTo>
                <a:cubicBezTo>
                  <a:pt x="1930" y="543"/>
                  <a:pt x="1928" y="545"/>
                  <a:pt x="1926" y="549"/>
                </a:cubicBezTo>
                <a:cubicBezTo>
                  <a:pt x="1924" y="552"/>
                  <a:pt x="1921" y="555"/>
                  <a:pt x="1918" y="558"/>
                </a:cubicBezTo>
                <a:cubicBezTo>
                  <a:pt x="1913" y="563"/>
                  <a:pt x="1907" y="567"/>
                  <a:pt x="1902" y="570"/>
                </a:cubicBezTo>
                <a:cubicBezTo>
                  <a:pt x="1896" y="572"/>
                  <a:pt x="1891" y="573"/>
                  <a:pt x="1885" y="573"/>
                </a:cubicBezTo>
                <a:cubicBezTo>
                  <a:pt x="1879" y="573"/>
                  <a:pt x="1874" y="571"/>
                  <a:pt x="1868" y="568"/>
                </a:cubicBezTo>
                <a:cubicBezTo>
                  <a:pt x="1862" y="565"/>
                  <a:pt x="1856" y="561"/>
                  <a:pt x="1850" y="555"/>
                </a:cubicBezTo>
                <a:cubicBezTo>
                  <a:pt x="1845" y="550"/>
                  <a:pt x="1841" y="544"/>
                  <a:pt x="1838" y="538"/>
                </a:cubicBezTo>
                <a:cubicBezTo>
                  <a:pt x="1835" y="532"/>
                  <a:pt x="1833" y="526"/>
                  <a:pt x="1832" y="520"/>
                </a:cubicBezTo>
                <a:cubicBezTo>
                  <a:pt x="1832" y="515"/>
                  <a:pt x="1833" y="509"/>
                  <a:pt x="1835" y="504"/>
                </a:cubicBezTo>
                <a:cubicBezTo>
                  <a:pt x="1837" y="498"/>
                  <a:pt x="1841" y="493"/>
                  <a:pt x="1846" y="488"/>
                </a:cubicBezTo>
                <a:cubicBezTo>
                  <a:pt x="1851" y="483"/>
                  <a:pt x="1856" y="480"/>
                  <a:pt x="1861" y="478"/>
                </a:cubicBezTo>
                <a:cubicBezTo>
                  <a:pt x="1866" y="476"/>
                  <a:pt x="1871" y="475"/>
                  <a:pt x="1876" y="475"/>
                </a:cubicBezTo>
                <a:cubicBezTo>
                  <a:pt x="1881" y="476"/>
                  <a:pt x="1886" y="477"/>
                  <a:pt x="1891" y="480"/>
                </a:cubicBezTo>
                <a:cubicBezTo>
                  <a:pt x="1896" y="483"/>
                  <a:pt x="1900" y="486"/>
                  <a:pt x="1905" y="490"/>
                </a:cubicBezTo>
                <a:lnTo>
                  <a:pt x="1907" y="493"/>
                </a:lnTo>
                <a:close/>
                <a:moveTo>
                  <a:pt x="1891" y="501"/>
                </a:moveTo>
                <a:cubicBezTo>
                  <a:pt x="1885" y="495"/>
                  <a:pt x="1879" y="491"/>
                  <a:pt x="1873" y="490"/>
                </a:cubicBezTo>
                <a:cubicBezTo>
                  <a:pt x="1866" y="490"/>
                  <a:pt x="1860" y="492"/>
                  <a:pt x="1854" y="498"/>
                </a:cubicBezTo>
                <a:cubicBezTo>
                  <a:pt x="1851" y="501"/>
                  <a:pt x="1849" y="504"/>
                  <a:pt x="1848" y="507"/>
                </a:cubicBezTo>
                <a:cubicBezTo>
                  <a:pt x="1847" y="511"/>
                  <a:pt x="1847" y="514"/>
                  <a:pt x="1847" y="517"/>
                </a:cubicBezTo>
                <a:cubicBezTo>
                  <a:pt x="1847" y="521"/>
                  <a:pt x="1848" y="524"/>
                  <a:pt x="1850" y="527"/>
                </a:cubicBezTo>
                <a:cubicBezTo>
                  <a:pt x="1851" y="531"/>
                  <a:pt x="1854" y="533"/>
                  <a:pt x="1856" y="536"/>
                </a:cubicBezTo>
                <a:lnTo>
                  <a:pt x="1891" y="501"/>
                </a:lnTo>
                <a:close/>
                <a:moveTo>
                  <a:pt x="1943" y="405"/>
                </a:moveTo>
                <a:cubicBezTo>
                  <a:pt x="1944" y="407"/>
                  <a:pt x="1945" y="407"/>
                  <a:pt x="1946" y="408"/>
                </a:cubicBezTo>
                <a:cubicBezTo>
                  <a:pt x="1947" y="409"/>
                  <a:pt x="1947" y="410"/>
                  <a:pt x="1947" y="410"/>
                </a:cubicBezTo>
                <a:cubicBezTo>
                  <a:pt x="1948" y="411"/>
                  <a:pt x="1948" y="411"/>
                  <a:pt x="1948" y="412"/>
                </a:cubicBezTo>
                <a:cubicBezTo>
                  <a:pt x="1948" y="412"/>
                  <a:pt x="1947" y="412"/>
                  <a:pt x="1947" y="413"/>
                </a:cubicBezTo>
                <a:cubicBezTo>
                  <a:pt x="1947" y="413"/>
                  <a:pt x="1946" y="414"/>
                  <a:pt x="1945" y="414"/>
                </a:cubicBezTo>
                <a:cubicBezTo>
                  <a:pt x="1945" y="414"/>
                  <a:pt x="1944" y="415"/>
                  <a:pt x="1943" y="415"/>
                </a:cubicBezTo>
                <a:cubicBezTo>
                  <a:pt x="1942" y="416"/>
                  <a:pt x="1941" y="416"/>
                  <a:pt x="1940" y="417"/>
                </a:cubicBezTo>
                <a:cubicBezTo>
                  <a:pt x="1939" y="418"/>
                  <a:pt x="1938" y="418"/>
                  <a:pt x="1937" y="419"/>
                </a:cubicBezTo>
                <a:cubicBezTo>
                  <a:pt x="1936" y="421"/>
                  <a:pt x="1935" y="422"/>
                  <a:pt x="1934" y="424"/>
                </a:cubicBezTo>
                <a:cubicBezTo>
                  <a:pt x="1933" y="425"/>
                  <a:pt x="1933" y="427"/>
                  <a:pt x="1933" y="430"/>
                </a:cubicBezTo>
                <a:cubicBezTo>
                  <a:pt x="1933" y="432"/>
                  <a:pt x="1933" y="435"/>
                  <a:pt x="1933" y="438"/>
                </a:cubicBezTo>
                <a:cubicBezTo>
                  <a:pt x="1934" y="441"/>
                  <a:pt x="1934" y="445"/>
                  <a:pt x="1935" y="449"/>
                </a:cubicBezTo>
                <a:lnTo>
                  <a:pt x="1978" y="492"/>
                </a:lnTo>
                <a:cubicBezTo>
                  <a:pt x="1978" y="492"/>
                  <a:pt x="1978" y="493"/>
                  <a:pt x="1978" y="493"/>
                </a:cubicBezTo>
                <a:cubicBezTo>
                  <a:pt x="1979" y="493"/>
                  <a:pt x="1978" y="494"/>
                  <a:pt x="1978" y="495"/>
                </a:cubicBezTo>
                <a:cubicBezTo>
                  <a:pt x="1978" y="495"/>
                  <a:pt x="1978" y="496"/>
                  <a:pt x="1977" y="497"/>
                </a:cubicBezTo>
                <a:cubicBezTo>
                  <a:pt x="1976" y="498"/>
                  <a:pt x="1975" y="499"/>
                  <a:pt x="1974" y="500"/>
                </a:cubicBezTo>
                <a:cubicBezTo>
                  <a:pt x="1973" y="501"/>
                  <a:pt x="1972" y="502"/>
                  <a:pt x="1971" y="503"/>
                </a:cubicBezTo>
                <a:cubicBezTo>
                  <a:pt x="1970" y="503"/>
                  <a:pt x="1969" y="504"/>
                  <a:pt x="1969" y="504"/>
                </a:cubicBezTo>
                <a:cubicBezTo>
                  <a:pt x="1968" y="504"/>
                  <a:pt x="1968" y="504"/>
                  <a:pt x="1967" y="504"/>
                </a:cubicBezTo>
                <a:cubicBezTo>
                  <a:pt x="1967" y="504"/>
                  <a:pt x="1966" y="504"/>
                  <a:pt x="1966" y="504"/>
                </a:cubicBezTo>
                <a:lnTo>
                  <a:pt x="1901" y="439"/>
                </a:lnTo>
                <a:cubicBezTo>
                  <a:pt x="1901" y="439"/>
                  <a:pt x="1901" y="438"/>
                  <a:pt x="1901" y="438"/>
                </a:cubicBezTo>
                <a:cubicBezTo>
                  <a:pt x="1900" y="437"/>
                  <a:pt x="1900" y="437"/>
                  <a:pt x="1901" y="436"/>
                </a:cubicBezTo>
                <a:cubicBezTo>
                  <a:pt x="1901" y="436"/>
                  <a:pt x="1901" y="435"/>
                  <a:pt x="1902" y="434"/>
                </a:cubicBezTo>
                <a:cubicBezTo>
                  <a:pt x="1902" y="433"/>
                  <a:pt x="1903" y="432"/>
                  <a:pt x="1904" y="431"/>
                </a:cubicBezTo>
                <a:cubicBezTo>
                  <a:pt x="1905" y="430"/>
                  <a:pt x="1906" y="429"/>
                  <a:pt x="1907" y="429"/>
                </a:cubicBezTo>
                <a:cubicBezTo>
                  <a:pt x="1908" y="428"/>
                  <a:pt x="1909" y="428"/>
                  <a:pt x="1909" y="428"/>
                </a:cubicBezTo>
                <a:cubicBezTo>
                  <a:pt x="1910" y="428"/>
                  <a:pt x="1910" y="427"/>
                  <a:pt x="1911" y="428"/>
                </a:cubicBezTo>
                <a:cubicBezTo>
                  <a:pt x="1911" y="428"/>
                  <a:pt x="1912" y="428"/>
                  <a:pt x="1912" y="428"/>
                </a:cubicBezTo>
                <a:lnTo>
                  <a:pt x="1921" y="438"/>
                </a:lnTo>
                <a:cubicBezTo>
                  <a:pt x="1921" y="433"/>
                  <a:pt x="1920" y="430"/>
                  <a:pt x="1920" y="426"/>
                </a:cubicBezTo>
                <a:cubicBezTo>
                  <a:pt x="1920" y="423"/>
                  <a:pt x="1920" y="420"/>
                  <a:pt x="1921" y="418"/>
                </a:cubicBezTo>
                <a:cubicBezTo>
                  <a:pt x="1921" y="416"/>
                  <a:pt x="1922" y="414"/>
                  <a:pt x="1923" y="412"/>
                </a:cubicBezTo>
                <a:cubicBezTo>
                  <a:pt x="1924" y="410"/>
                  <a:pt x="1925" y="409"/>
                  <a:pt x="1926" y="407"/>
                </a:cubicBezTo>
                <a:cubicBezTo>
                  <a:pt x="1927" y="407"/>
                  <a:pt x="1928" y="406"/>
                  <a:pt x="1929" y="405"/>
                </a:cubicBezTo>
                <a:cubicBezTo>
                  <a:pt x="1930" y="405"/>
                  <a:pt x="1930" y="404"/>
                  <a:pt x="1932" y="403"/>
                </a:cubicBezTo>
                <a:cubicBezTo>
                  <a:pt x="1933" y="403"/>
                  <a:pt x="1934" y="402"/>
                  <a:pt x="1934" y="402"/>
                </a:cubicBezTo>
                <a:cubicBezTo>
                  <a:pt x="1935" y="401"/>
                  <a:pt x="1936" y="401"/>
                  <a:pt x="1937" y="401"/>
                </a:cubicBezTo>
                <a:cubicBezTo>
                  <a:pt x="1937" y="401"/>
                  <a:pt x="1938" y="401"/>
                  <a:pt x="1938" y="401"/>
                </a:cubicBezTo>
                <a:cubicBezTo>
                  <a:pt x="1938" y="401"/>
                  <a:pt x="1939" y="401"/>
                  <a:pt x="1939" y="402"/>
                </a:cubicBezTo>
                <a:cubicBezTo>
                  <a:pt x="1939" y="402"/>
                  <a:pt x="1940" y="402"/>
                  <a:pt x="1941" y="403"/>
                </a:cubicBezTo>
                <a:cubicBezTo>
                  <a:pt x="1941" y="403"/>
                  <a:pt x="1942" y="404"/>
                  <a:pt x="1943" y="405"/>
                </a:cubicBezTo>
                <a:close/>
                <a:moveTo>
                  <a:pt x="2059" y="391"/>
                </a:moveTo>
                <a:cubicBezTo>
                  <a:pt x="2060" y="392"/>
                  <a:pt x="2061" y="392"/>
                  <a:pt x="2061" y="393"/>
                </a:cubicBezTo>
                <a:cubicBezTo>
                  <a:pt x="2062" y="394"/>
                  <a:pt x="2062" y="394"/>
                  <a:pt x="2062" y="395"/>
                </a:cubicBezTo>
                <a:cubicBezTo>
                  <a:pt x="2063" y="395"/>
                  <a:pt x="2063" y="396"/>
                  <a:pt x="2063" y="396"/>
                </a:cubicBezTo>
                <a:cubicBezTo>
                  <a:pt x="2063" y="397"/>
                  <a:pt x="2063" y="398"/>
                  <a:pt x="2063" y="399"/>
                </a:cubicBezTo>
                <a:cubicBezTo>
                  <a:pt x="2063" y="400"/>
                  <a:pt x="2063" y="402"/>
                  <a:pt x="2062" y="404"/>
                </a:cubicBezTo>
                <a:cubicBezTo>
                  <a:pt x="2062" y="406"/>
                  <a:pt x="2061" y="409"/>
                  <a:pt x="2060" y="411"/>
                </a:cubicBezTo>
                <a:cubicBezTo>
                  <a:pt x="2059" y="414"/>
                  <a:pt x="2057" y="416"/>
                  <a:pt x="2056" y="419"/>
                </a:cubicBezTo>
                <a:cubicBezTo>
                  <a:pt x="2054" y="421"/>
                  <a:pt x="2052" y="424"/>
                  <a:pt x="2050" y="426"/>
                </a:cubicBezTo>
                <a:cubicBezTo>
                  <a:pt x="2045" y="431"/>
                  <a:pt x="2040" y="434"/>
                  <a:pt x="2035" y="436"/>
                </a:cubicBezTo>
                <a:cubicBezTo>
                  <a:pt x="2030" y="438"/>
                  <a:pt x="2025" y="439"/>
                  <a:pt x="2020" y="438"/>
                </a:cubicBezTo>
                <a:cubicBezTo>
                  <a:pt x="2014" y="438"/>
                  <a:pt x="2009" y="436"/>
                  <a:pt x="2003" y="433"/>
                </a:cubicBezTo>
                <a:cubicBezTo>
                  <a:pt x="1998" y="430"/>
                  <a:pt x="1992" y="426"/>
                  <a:pt x="1986" y="420"/>
                </a:cubicBezTo>
                <a:cubicBezTo>
                  <a:pt x="1980" y="414"/>
                  <a:pt x="1975" y="407"/>
                  <a:pt x="1972" y="401"/>
                </a:cubicBezTo>
                <a:cubicBezTo>
                  <a:pt x="1969" y="395"/>
                  <a:pt x="1968" y="389"/>
                  <a:pt x="1968" y="384"/>
                </a:cubicBezTo>
                <a:cubicBezTo>
                  <a:pt x="1967" y="378"/>
                  <a:pt x="1968" y="373"/>
                  <a:pt x="1971" y="368"/>
                </a:cubicBezTo>
                <a:cubicBezTo>
                  <a:pt x="1973" y="363"/>
                  <a:pt x="1976" y="358"/>
                  <a:pt x="1980" y="354"/>
                </a:cubicBezTo>
                <a:cubicBezTo>
                  <a:pt x="1982" y="352"/>
                  <a:pt x="1985" y="350"/>
                  <a:pt x="1987" y="348"/>
                </a:cubicBezTo>
                <a:cubicBezTo>
                  <a:pt x="1989" y="347"/>
                  <a:pt x="1992" y="345"/>
                  <a:pt x="1994" y="344"/>
                </a:cubicBezTo>
                <a:cubicBezTo>
                  <a:pt x="1996" y="343"/>
                  <a:pt x="1998" y="343"/>
                  <a:pt x="2000" y="342"/>
                </a:cubicBezTo>
                <a:cubicBezTo>
                  <a:pt x="2002" y="342"/>
                  <a:pt x="2004" y="341"/>
                  <a:pt x="2005" y="341"/>
                </a:cubicBezTo>
                <a:cubicBezTo>
                  <a:pt x="2006" y="341"/>
                  <a:pt x="2007" y="342"/>
                  <a:pt x="2008" y="342"/>
                </a:cubicBezTo>
                <a:cubicBezTo>
                  <a:pt x="2008" y="342"/>
                  <a:pt x="2009" y="342"/>
                  <a:pt x="2009" y="342"/>
                </a:cubicBezTo>
                <a:cubicBezTo>
                  <a:pt x="2010" y="343"/>
                  <a:pt x="2011" y="343"/>
                  <a:pt x="2011" y="344"/>
                </a:cubicBezTo>
                <a:cubicBezTo>
                  <a:pt x="2012" y="344"/>
                  <a:pt x="2013" y="345"/>
                  <a:pt x="2013" y="346"/>
                </a:cubicBezTo>
                <a:cubicBezTo>
                  <a:pt x="2015" y="348"/>
                  <a:pt x="2016" y="349"/>
                  <a:pt x="2017" y="350"/>
                </a:cubicBezTo>
                <a:cubicBezTo>
                  <a:pt x="2017" y="351"/>
                  <a:pt x="2017" y="352"/>
                  <a:pt x="2016" y="353"/>
                </a:cubicBezTo>
                <a:cubicBezTo>
                  <a:pt x="2016" y="354"/>
                  <a:pt x="2014" y="354"/>
                  <a:pt x="2013" y="354"/>
                </a:cubicBezTo>
                <a:cubicBezTo>
                  <a:pt x="2011" y="354"/>
                  <a:pt x="2009" y="355"/>
                  <a:pt x="2006" y="355"/>
                </a:cubicBezTo>
                <a:cubicBezTo>
                  <a:pt x="2004" y="356"/>
                  <a:pt x="2001" y="356"/>
                  <a:pt x="1999" y="358"/>
                </a:cubicBezTo>
                <a:cubicBezTo>
                  <a:pt x="1996" y="359"/>
                  <a:pt x="1993" y="361"/>
                  <a:pt x="1990" y="364"/>
                </a:cubicBezTo>
                <a:cubicBezTo>
                  <a:pt x="1984" y="369"/>
                  <a:pt x="1982" y="376"/>
                  <a:pt x="1984" y="383"/>
                </a:cubicBezTo>
                <a:cubicBezTo>
                  <a:pt x="1985" y="391"/>
                  <a:pt x="1990" y="399"/>
                  <a:pt x="1998" y="407"/>
                </a:cubicBezTo>
                <a:cubicBezTo>
                  <a:pt x="2002" y="411"/>
                  <a:pt x="2006" y="414"/>
                  <a:pt x="2010" y="417"/>
                </a:cubicBezTo>
                <a:cubicBezTo>
                  <a:pt x="2014" y="419"/>
                  <a:pt x="2018" y="421"/>
                  <a:pt x="2022" y="421"/>
                </a:cubicBezTo>
                <a:cubicBezTo>
                  <a:pt x="2025" y="422"/>
                  <a:pt x="2029" y="421"/>
                  <a:pt x="2032" y="420"/>
                </a:cubicBezTo>
                <a:cubicBezTo>
                  <a:pt x="2035" y="419"/>
                  <a:pt x="2038" y="417"/>
                  <a:pt x="2041" y="414"/>
                </a:cubicBezTo>
                <a:cubicBezTo>
                  <a:pt x="2044" y="411"/>
                  <a:pt x="2046" y="409"/>
                  <a:pt x="2047" y="406"/>
                </a:cubicBezTo>
                <a:cubicBezTo>
                  <a:pt x="2048" y="403"/>
                  <a:pt x="2049" y="400"/>
                  <a:pt x="2050" y="398"/>
                </a:cubicBezTo>
                <a:cubicBezTo>
                  <a:pt x="2050" y="395"/>
                  <a:pt x="2050" y="393"/>
                  <a:pt x="2051" y="391"/>
                </a:cubicBezTo>
                <a:cubicBezTo>
                  <a:pt x="2051" y="389"/>
                  <a:pt x="2051" y="388"/>
                  <a:pt x="2052" y="387"/>
                </a:cubicBezTo>
                <a:cubicBezTo>
                  <a:pt x="2052" y="387"/>
                  <a:pt x="2052" y="387"/>
                  <a:pt x="2053" y="387"/>
                </a:cubicBezTo>
                <a:cubicBezTo>
                  <a:pt x="2053" y="387"/>
                  <a:pt x="2054" y="387"/>
                  <a:pt x="2054" y="387"/>
                </a:cubicBezTo>
                <a:cubicBezTo>
                  <a:pt x="2055" y="387"/>
                  <a:pt x="2056" y="388"/>
                  <a:pt x="2057" y="388"/>
                </a:cubicBezTo>
                <a:cubicBezTo>
                  <a:pt x="2057" y="389"/>
                  <a:pt x="2058" y="390"/>
                  <a:pt x="2059" y="391"/>
                </a:cubicBezTo>
                <a:close/>
                <a:moveTo>
                  <a:pt x="2110" y="289"/>
                </a:moveTo>
                <a:cubicBezTo>
                  <a:pt x="2112" y="291"/>
                  <a:pt x="2113" y="293"/>
                  <a:pt x="2113" y="294"/>
                </a:cubicBezTo>
                <a:cubicBezTo>
                  <a:pt x="2113" y="296"/>
                  <a:pt x="2112" y="297"/>
                  <a:pt x="2111" y="299"/>
                </a:cubicBezTo>
                <a:lnTo>
                  <a:pt x="2068" y="341"/>
                </a:lnTo>
                <a:cubicBezTo>
                  <a:pt x="2072" y="345"/>
                  <a:pt x="2076" y="348"/>
                  <a:pt x="2079" y="350"/>
                </a:cubicBezTo>
                <a:cubicBezTo>
                  <a:pt x="2083" y="352"/>
                  <a:pt x="2086" y="353"/>
                  <a:pt x="2090" y="354"/>
                </a:cubicBezTo>
                <a:cubicBezTo>
                  <a:pt x="2094" y="354"/>
                  <a:pt x="2098" y="353"/>
                  <a:pt x="2101" y="352"/>
                </a:cubicBezTo>
                <a:cubicBezTo>
                  <a:pt x="2105" y="350"/>
                  <a:pt x="2109" y="347"/>
                  <a:pt x="2113" y="344"/>
                </a:cubicBezTo>
                <a:cubicBezTo>
                  <a:pt x="2116" y="341"/>
                  <a:pt x="2119" y="338"/>
                  <a:pt x="2120" y="335"/>
                </a:cubicBezTo>
                <a:cubicBezTo>
                  <a:pt x="2122" y="332"/>
                  <a:pt x="2124" y="329"/>
                  <a:pt x="2125" y="327"/>
                </a:cubicBezTo>
                <a:cubicBezTo>
                  <a:pt x="2126" y="324"/>
                  <a:pt x="2127" y="322"/>
                  <a:pt x="2128" y="321"/>
                </a:cubicBezTo>
                <a:cubicBezTo>
                  <a:pt x="2128" y="319"/>
                  <a:pt x="2129" y="318"/>
                  <a:pt x="2129" y="317"/>
                </a:cubicBezTo>
                <a:cubicBezTo>
                  <a:pt x="2130" y="317"/>
                  <a:pt x="2130" y="317"/>
                  <a:pt x="2131" y="317"/>
                </a:cubicBezTo>
                <a:cubicBezTo>
                  <a:pt x="2131" y="317"/>
                  <a:pt x="2132" y="317"/>
                  <a:pt x="2132" y="317"/>
                </a:cubicBezTo>
                <a:cubicBezTo>
                  <a:pt x="2132" y="317"/>
                  <a:pt x="2133" y="317"/>
                  <a:pt x="2134" y="318"/>
                </a:cubicBezTo>
                <a:cubicBezTo>
                  <a:pt x="2134" y="318"/>
                  <a:pt x="2135" y="319"/>
                  <a:pt x="2136" y="320"/>
                </a:cubicBezTo>
                <a:cubicBezTo>
                  <a:pt x="2137" y="321"/>
                  <a:pt x="2137" y="321"/>
                  <a:pt x="2138" y="322"/>
                </a:cubicBezTo>
                <a:cubicBezTo>
                  <a:pt x="2138" y="322"/>
                  <a:pt x="2138" y="323"/>
                  <a:pt x="2139" y="323"/>
                </a:cubicBezTo>
                <a:cubicBezTo>
                  <a:pt x="2139" y="324"/>
                  <a:pt x="2139" y="324"/>
                  <a:pt x="2139" y="324"/>
                </a:cubicBezTo>
                <a:cubicBezTo>
                  <a:pt x="2139" y="325"/>
                  <a:pt x="2139" y="325"/>
                  <a:pt x="2139" y="326"/>
                </a:cubicBezTo>
                <a:cubicBezTo>
                  <a:pt x="2139" y="326"/>
                  <a:pt x="2139" y="328"/>
                  <a:pt x="2138" y="330"/>
                </a:cubicBezTo>
                <a:cubicBezTo>
                  <a:pt x="2138" y="331"/>
                  <a:pt x="2137" y="334"/>
                  <a:pt x="2135" y="336"/>
                </a:cubicBezTo>
                <a:cubicBezTo>
                  <a:pt x="2134" y="339"/>
                  <a:pt x="2132" y="342"/>
                  <a:pt x="2130" y="345"/>
                </a:cubicBezTo>
                <a:cubicBezTo>
                  <a:pt x="2127" y="348"/>
                  <a:pt x="2125" y="351"/>
                  <a:pt x="2122" y="354"/>
                </a:cubicBezTo>
                <a:cubicBezTo>
                  <a:pt x="2116" y="360"/>
                  <a:pt x="2111" y="364"/>
                  <a:pt x="2105" y="366"/>
                </a:cubicBezTo>
                <a:cubicBezTo>
                  <a:pt x="2100" y="369"/>
                  <a:pt x="2094" y="370"/>
                  <a:pt x="2089" y="370"/>
                </a:cubicBezTo>
                <a:cubicBezTo>
                  <a:pt x="2083" y="369"/>
                  <a:pt x="2077" y="368"/>
                  <a:pt x="2071" y="365"/>
                </a:cubicBezTo>
                <a:cubicBezTo>
                  <a:pt x="2066" y="362"/>
                  <a:pt x="2060" y="357"/>
                  <a:pt x="2054" y="351"/>
                </a:cubicBezTo>
                <a:cubicBezTo>
                  <a:pt x="2048" y="346"/>
                  <a:pt x="2044" y="340"/>
                  <a:pt x="2041" y="334"/>
                </a:cubicBezTo>
                <a:cubicBezTo>
                  <a:pt x="2038" y="328"/>
                  <a:pt x="2037" y="323"/>
                  <a:pt x="2036" y="317"/>
                </a:cubicBezTo>
                <a:cubicBezTo>
                  <a:pt x="2036" y="311"/>
                  <a:pt x="2037" y="305"/>
                  <a:pt x="2039" y="300"/>
                </a:cubicBezTo>
                <a:cubicBezTo>
                  <a:pt x="2041" y="294"/>
                  <a:pt x="2044" y="289"/>
                  <a:pt x="2049" y="285"/>
                </a:cubicBezTo>
                <a:cubicBezTo>
                  <a:pt x="2054" y="280"/>
                  <a:pt x="2059" y="276"/>
                  <a:pt x="2065" y="274"/>
                </a:cubicBezTo>
                <a:cubicBezTo>
                  <a:pt x="2070" y="272"/>
                  <a:pt x="2075" y="271"/>
                  <a:pt x="2080" y="272"/>
                </a:cubicBezTo>
                <a:cubicBezTo>
                  <a:pt x="2085" y="272"/>
                  <a:pt x="2090" y="274"/>
                  <a:pt x="2095" y="276"/>
                </a:cubicBezTo>
                <a:cubicBezTo>
                  <a:pt x="2100" y="279"/>
                  <a:pt x="2104" y="283"/>
                  <a:pt x="2108" y="287"/>
                </a:cubicBezTo>
                <a:lnTo>
                  <a:pt x="2110" y="289"/>
                </a:lnTo>
                <a:close/>
                <a:moveTo>
                  <a:pt x="2095" y="297"/>
                </a:moveTo>
                <a:cubicBezTo>
                  <a:pt x="2089" y="291"/>
                  <a:pt x="2083" y="287"/>
                  <a:pt x="2076" y="287"/>
                </a:cubicBezTo>
                <a:cubicBezTo>
                  <a:pt x="2070" y="286"/>
                  <a:pt x="2064" y="289"/>
                  <a:pt x="2058" y="294"/>
                </a:cubicBezTo>
                <a:cubicBezTo>
                  <a:pt x="2055" y="297"/>
                  <a:pt x="2053" y="301"/>
                  <a:pt x="2052" y="304"/>
                </a:cubicBezTo>
                <a:cubicBezTo>
                  <a:pt x="2051" y="307"/>
                  <a:pt x="2050" y="310"/>
                  <a:pt x="2051" y="314"/>
                </a:cubicBezTo>
                <a:cubicBezTo>
                  <a:pt x="2051" y="317"/>
                  <a:pt x="2052" y="320"/>
                  <a:pt x="2053" y="324"/>
                </a:cubicBezTo>
                <a:cubicBezTo>
                  <a:pt x="2055" y="327"/>
                  <a:pt x="2057" y="330"/>
                  <a:pt x="2060" y="333"/>
                </a:cubicBezTo>
                <a:lnTo>
                  <a:pt x="2095" y="297"/>
                </a:lnTo>
                <a:close/>
                <a:moveTo>
                  <a:pt x="2225" y="244"/>
                </a:moveTo>
                <a:cubicBezTo>
                  <a:pt x="2226" y="245"/>
                  <a:pt x="2226" y="245"/>
                  <a:pt x="2226" y="246"/>
                </a:cubicBezTo>
                <a:cubicBezTo>
                  <a:pt x="2226" y="246"/>
                  <a:pt x="2226" y="247"/>
                  <a:pt x="2226" y="247"/>
                </a:cubicBezTo>
                <a:cubicBezTo>
                  <a:pt x="2225" y="248"/>
                  <a:pt x="2225" y="249"/>
                  <a:pt x="2224" y="249"/>
                </a:cubicBezTo>
                <a:cubicBezTo>
                  <a:pt x="2224" y="250"/>
                  <a:pt x="2223" y="251"/>
                  <a:pt x="2222" y="252"/>
                </a:cubicBezTo>
                <a:cubicBezTo>
                  <a:pt x="2220" y="254"/>
                  <a:pt x="2219" y="255"/>
                  <a:pt x="2218" y="255"/>
                </a:cubicBezTo>
                <a:cubicBezTo>
                  <a:pt x="2218" y="256"/>
                  <a:pt x="2217" y="256"/>
                  <a:pt x="2216" y="257"/>
                </a:cubicBezTo>
                <a:cubicBezTo>
                  <a:pt x="2216" y="257"/>
                  <a:pt x="2215" y="257"/>
                  <a:pt x="2215" y="257"/>
                </a:cubicBezTo>
                <a:cubicBezTo>
                  <a:pt x="2214" y="257"/>
                  <a:pt x="2214" y="257"/>
                  <a:pt x="2213" y="256"/>
                </a:cubicBezTo>
                <a:lnTo>
                  <a:pt x="2176" y="218"/>
                </a:lnTo>
                <a:cubicBezTo>
                  <a:pt x="2172" y="215"/>
                  <a:pt x="2169" y="212"/>
                  <a:pt x="2166" y="210"/>
                </a:cubicBezTo>
                <a:cubicBezTo>
                  <a:pt x="2163" y="209"/>
                  <a:pt x="2160" y="208"/>
                  <a:pt x="2157" y="207"/>
                </a:cubicBezTo>
                <a:cubicBezTo>
                  <a:pt x="2155" y="206"/>
                  <a:pt x="2152" y="207"/>
                  <a:pt x="2149" y="208"/>
                </a:cubicBezTo>
                <a:cubicBezTo>
                  <a:pt x="2147" y="208"/>
                  <a:pt x="2144" y="210"/>
                  <a:pt x="2142" y="212"/>
                </a:cubicBezTo>
                <a:cubicBezTo>
                  <a:pt x="2139" y="215"/>
                  <a:pt x="2137" y="219"/>
                  <a:pt x="2136" y="224"/>
                </a:cubicBezTo>
                <a:cubicBezTo>
                  <a:pt x="2135" y="229"/>
                  <a:pt x="2135" y="236"/>
                  <a:pt x="2136" y="243"/>
                </a:cubicBezTo>
                <a:lnTo>
                  <a:pt x="2181" y="288"/>
                </a:lnTo>
                <a:cubicBezTo>
                  <a:pt x="2182" y="289"/>
                  <a:pt x="2182" y="289"/>
                  <a:pt x="2182" y="289"/>
                </a:cubicBezTo>
                <a:cubicBezTo>
                  <a:pt x="2182" y="290"/>
                  <a:pt x="2182" y="290"/>
                  <a:pt x="2182" y="291"/>
                </a:cubicBezTo>
                <a:cubicBezTo>
                  <a:pt x="2182" y="292"/>
                  <a:pt x="2181" y="292"/>
                  <a:pt x="2180" y="293"/>
                </a:cubicBezTo>
                <a:cubicBezTo>
                  <a:pt x="2180" y="294"/>
                  <a:pt x="2179" y="295"/>
                  <a:pt x="2178" y="296"/>
                </a:cubicBezTo>
                <a:cubicBezTo>
                  <a:pt x="2177" y="297"/>
                  <a:pt x="2176" y="298"/>
                  <a:pt x="2175" y="299"/>
                </a:cubicBezTo>
                <a:cubicBezTo>
                  <a:pt x="2174" y="300"/>
                  <a:pt x="2173" y="300"/>
                  <a:pt x="2172" y="300"/>
                </a:cubicBezTo>
                <a:cubicBezTo>
                  <a:pt x="2172" y="301"/>
                  <a:pt x="2171" y="301"/>
                  <a:pt x="2171" y="301"/>
                </a:cubicBezTo>
                <a:cubicBezTo>
                  <a:pt x="2170" y="301"/>
                  <a:pt x="2170" y="300"/>
                  <a:pt x="2170" y="300"/>
                </a:cubicBezTo>
                <a:lnTo>
                  <a:pt x="2105" y="235"/>
                </a:lnTo>
                <a:cubicBezTo>
                  <a:pt x="2105" y="235"/>
                  <a:pt x="2104" y="235"/>
                  <a:pt x="2104" y="234"/>
                </a:cubicBezTo>
                <a:cubicBezTo>
                  <a:pt x="2104" y="234"/>
                  <a:pt x="2104" y="233"/>
                  <a:pt x="2104" y="233"/>
                </a:cubicBezTo>
                <a:cubicBezTo>
                  <a:pt x="2105" y="232"/>
                  <a:pt x="2105" y="231"/>
                  <a:pt x="2106" y="231"/>
                </a:cubicBezTo>
                <a:cubicBezTo>
                  <a:pt x="2106" y="230"/>
                  <a:pt x="2107" y="229"/>
                  <a:pt x="2108" y="228"/>
                </a:cubicBezTo>
                <a:cubicBezTo>
                  <a:pt x="2109" y="227"/>
                  <a:pt x="2110" y="226"/>
                  <a:pt x="2111" y="225"/>
                </a:cubicBezTo>
                <a:cubicBezTo>
                  <a:pt x="2112" y="225"/>
                  <a:pt x="2112" y="224"/>
                  <a:pt x="2113" y="224"/>
                </a:cubicBezTo>
                <a:cubicBezTo>
                  <a:pt x="2113" y="224"/>
                  <a:pt x="2114" y="224"/>
                  <a:pt x="2114" y="224"/>
                </a:cubicBezTo>
                <a:cubicBezTo>
                  <a:pt x="2115" y="224"/>
                  <a:pt x="2115" y="224"/>
                  <a:pt x="2116" y="225"/>
                </a:cubicBezTo>
                <a:lnTo>
                  <a:pt x="2124" y="233"/>
                </a:lnTo>
                <a:cubicBezTo>
                  <a:pt x="2124" y="225"/>
                  <a:pt x="2124" y="219"/>
                  <a:pt x="2126" y="213"/>
                </a:cubicBezTo>
                <a:cubicBezTo>
                  <a:pt x="2128" y="208"/>
                  <a:pt x="2131" y="203"/>
                  <a:pt x="2134" y="200"/>
                </a:cubicBezTo>
                <a:cubicBezTo>
                  <a:pt x="2139" y="195"/>
                  <a:pt x="2143" y="192"/>
                  <a:pt x="2147" y="191"/>
                </a:cubicBezTo>
                <a:cubicBezTo>
                  <a:pt x="2152" y="189"/>
                  <a:pt x="2156" y="189"/>
                  <a:pt x="2160" y="190"/>
                </a:cubicBezTo>
                <a:cubicBezTo>
                  <a:pt x="2165" y="190"/>
                  <a:pt x="2169" y="192"/>
                  <a:pt x="2173" y="194"/>
                </a:cubicBezTo>
                <a:cubicBezTo>
                  <a:pt x="2177" y="197"/>
                  <a:pt x="2181" y="200"/>
                  <a:pt x="2186" y="205"/>
                </a:cubicBezTo>
                <a:lnTo>
                  <a:pt x="2225" y="244"/>
                </a:lnTo>
                <a:close/>
                <a:moveTo>
                  <a:pt x="2278" y="182"/>
                </a:moveTo>
                <a:cubicBezTo>
                  <a:pt x="2279" y="184"/>
                  <a:pt x="2280" y="185"/>
                  <a:pt x="2281" y="186"/>
                </a:cubicBezTo>
                <a:cubicBezTo>
                  <a:pt x="2281" y="187"/>
                  <a:pt x="2282" y="188"/>
                  <a:pt x="2282" y="189"/>
                </a:cubicBezTo>
                <a:cubicBezTo>
                  <a:pt x="2282" y="189"/>
                  <a:pt x="2281" y="190"/>
                  <a:pt x="2281" y="191"/>
                </a:cubicBezTo>
                <a:cubicBezTo>
                  <a:pt x="2280" y="193"/>
                  <a:pt x="2280" y="194"/>
                  <a:pt x="2279" y="195"/>
                </a:cubicBezTo>
                <a:cubicBezTo>
                  <a:pt x="2278" y="196"/>
                  <a:pt x="2278" y="197"/>
                  <a:pt x="2277" y="199"/>
                </a:cubicBezTo>
                <a:cubicBezTo>
                  <a:pt x="2276" y="200"/>
                  <a:pt x="2275" y="201"/>
                  <a:pt x="2273" y="202"/>
                </a:cubicBezTo>
                <a:cubicBezTo>
                  <a:pt x="2270" y="205"/>
                  <a:pt x="2267" y="208"/>
                  <a:pt x="2264" y="209"/>
                </a:cubicBezTo>
                <a:cubicBezTo>
                  <a:pt x="2260" y="211"/>
                  <a:pt x="2257" y="212"/>
                  <a:pt x="2254" y="211"/>
                </a:cubicBezTo>
                <a:cubicBezTo>
                  <a:pt x="2250" y="211"/>
                  <a:pt x="2247" y="210"/>
                  <a:pt x="2243" y="208"/>
                </a:cubicBezTo>
                <a:cubicBezTo>
                  <a:pt x="2240" y="206"/>
                  <a:pt x="2236" y="203"/>
                  <a:pt x="2233" y="199"/>
                </a:cubicBezTo>
                <a:lnTo>
                  <a:pt x="2195" y="161"/>
                </a:lnTo>
                <a:lnTo>
                  <a:pt x="2186" y="170"/>
                </a:lnTo>
                <a:cubicBezTo>
                  <a:pt x="2185" y="171"/>
                  <a:pt x="2184" y="171"/>
                  <a:pt x="2183" y="171"/>
                </a:cubicBezTo>
                <a:cubicBezTo>
                  <a:pt x="2182" y="171"/>
                  <a:pt x="2180" y="170"/>
                  <a:pt x="2179" y="168"/>
                </a:cubicBezTo>
                <a:cubicBezTo>
                  <a:pt x="2178" y="167"/>
                  <a:pt x="2177" y="166"/>
                  <a:pt x="2176" y="165"/>
                </a:cubicBezTo>
                <a:cubicBezTo>
                  <a:pt x="2176" y="165"/>
                  <a:pt x="2176" y="164"/>
                  <a:pt x="2175" y="163"/>
                </a:cubicBezTo>
                <a:cubicBezTo>
                  <a:pt x="2175" y="163"/>
                  <a:pt x="2175" y="162"/>
                  <a:pt x="2175" y="162"/>
                </a:cubicBezTo>
                <a:cubicBezTo>
                  <a:pt x="2175" y="161"/>
                  <a:pt x="2176" y="161"/>
                  <a:pt x="2176" y="160"/>
                </a:cubicBezTo>
                <a:lnTo>
                  <a:pt x="2185" y="151"/>
                </a:lnTo>
                <a:lnTo>
                  <a:pt x="2170" y="136"/>
                </a:lnTo>
                <a:cubicBezTo>
                  <a:pt x="2169" y="136"/>
                  <a:pt x="2169" y="135"/>
                  <a:pt x="2169" y="135"/>
                </a:cubicBezTo>
                <a:cubicBezTo>
                  <a:pt x="2169" y="134"/>
                  <a:pt x="2169" y="134"/>
                  <a:pt x="2169" y="133"/>
                </a:cubicBezTo>
                <a:cubicBezTo>
                  <a:pt x="2169" y="133"/>
                  <a:pt x="2170" y="132"/>
                  <a:pt x="2171" y="131"/>
                </a:cubicBezTo>
                <a:cubicBezTo>
                  <a:pt x="2171" y="130"/>
                  <a:pt x="2172" y="129"/>
                  <a:pt x="2173" y="128"/>
                </a:cubicBezTo>
                <a:cubicBezTo>
                  <a:pt x="2174" y="127"/>
                  <a:pt x="2176" y="126"/>
                  <a:pt x="2176" y="125"/>
                </a:cubicBezTo>
                <a:cubicBezTo>
                  <a:pt x="2177" y="124"/>
                  <a:pt x="2178" y="124"/>
                  <a:pt x="2179" y="124"/>
                </a:cubicBezTo>
                <a:cubicBezTo>
                  <a:pt x="2179" y="124"/>
                  <a:pt x="2180" y="124"/>
                  <a:pt x="2180" y="124"/>
                </a:cubicBezTo>
                <a:cubicBezTo>
                  <a:pt x="2181" y="124"/>
                  <a:pt x="2181" y="124"/>
                  <a:pt x="2182" y="124"/>
                </a:cubicBezTo>
                <a:lnTo>
                  <a:pt x="2197" y="140"/>
                </a:lnTo>
                <a:lnTo>
                  <a:pt x="2213" y="123"/>
                </a:lnTo>
                <a:cubicBezTo>
                  <a:pt x="2214" y="123"/>
                  <a:pt x="2214" y="122"/>
                  <a:pt x="2215" y="122"/>
                </a:cubicBezTo>
                <a:cubicBezTo>
                  <a:pt x="2215" y="122"/>
                  <a:pt x="2216" y="122"/>
                  <a:pt x="2216" y="122"/>
                </a:cubicBezTo>
                <a:cubicBezTo>
                  <a:pt x="2217" y="123"/>
                  <a:pt x="2218" y="123"/>
                  <a:pt x="2218" y="123"/>
                </a:cubicBezTo>
                <a:cubicBezTo>
                  <a:pt x="2219" y="124"/>
                  <a:pt x="2220" y="125"/>
                  <a:pt x="2221" y="126"/>
                </a:cubicBezTo>
                <a:cubicBezTo>
                  <a:pt x="2223" y="127"/>
                  <a:pt x="2224" y="129"/>
                  <a:pt x="2224" y="130"/>
                </a:cubicBezTo>
                <a:cubicBezTo>
                  <a:pt x="2224" y="131"/>
                  <a:pt x="2224" y="132"/>
                  <a:pt x="2223" y="133"/>
                </a:cubicBezTo>
                <a:lnTo>
                  <a:pt x="2207" y="149"/>
                </a:lnTo>
                <a:lnTo>
                  <a:pt x="2243" y="186"/>
                </a:lnTo>
                <a:cubicBezTo>
                  <a:pt x="2247" y="190"/>
                  <a:pt x="2251" y="193"/>
                  <a:pt x="2255" y="194"/>
                </a:cubicBezTo>
                <a:cubicBezTo>
                  <a:pt x="2258" y="195"/>
                  <a:pt x="2262" y="193"/>
                  <a:pt x="2265" y="190"/>
                </a:cubicBezTo>
                <a:cubicBezTo>
                  <a:pt x="2266" y="189"/>
                  <a:pt x="2267" y="188"/>
                  <a:pt x="2268" y="187"/>
                </a:cubicBezTo>
                <a:cubicBezTo>
                  <a:pt x="2269" y="186"/>
                  <a:pt x="2269" y="185"/>
                  <a:pt x="2270" y="184"/>
                </a:cubicBezTo>
                <a:cubicBezTo>
                  <a:pt x="2270" y="183"/>
                  <a:pt x="2270" y="182"/>
                  <a:pt x="2271" y="181"/>
                </a:cubicBezTo>
                <a:cubicBezTo>
                  <a:pt x="2271" y="181"/>
                  <a:pt x="2271" y="180"/>
                  <a:pt x="2272" y="180"/>
                </a:cubicBezTo>
                <a:cubicBezTo>
                  <a:pt x="2272" y="179"/>
                  <a:pt x="2272" y="179"/>
                  <a:pt x="2272" y="179"/>
                </a:cubicBezTo>
                <a:cubicBezTo>
                  <a:pt x="2273" y="179"/>
                  <a:pt x="2273" y="179"/>
                  <a:pt x="2274" y="179"/>
                </a:cubicBezTo>
                <a:cubicBezTo>
                  <a:pt x="2274" y="180"/>
                  <a:pt x="2275" y="180"/>
                  <a:pt x="2275" y="180"/>
                </a:cubicBezTo>
                <a:cubicBezTo>
                  <a:pt x="2276" y="181"/>
                  <a:pt x="2277" y="182"/>
                  <a:pt x="2278" y="182"/>
                </a:cubicBezTo>
                <a:close/>
                <a:moveTo>
                  <a:pt x="2306" y="164"/>
                </a:moveTo>
                <a:cubicBezTo>
                  <a:pt x="2306" y="164"/>
                  <a:pt x="2306" y="164"/>
                  <a:pt x="2307" y="165"/>
                </a:cubicBezTo>
                <a:cubicBezTo>
                  <a:pt x="2307" y="165"/>
                  <a:pt x="2307" y="166"/>
                  <a:pt x="2306" y="167"/>
                </a:cubicBezTo>
                <a:cubicBezTo>
                  <a:pt x="2306" y="167"/>
                  <a:pt x="2306" y="168"/>
                  <a:pt x="2305" y="169"/>
                </a:cubicBezTo>
                <a:cubicBezTo>
                  <a:pt x="2304" y="170"/>
                  <a:pt x="2303" y="171"/>
                  <a:pt x="2302" y="172"/>
                </a:cubicBezTo>
                <a:cubicBezTo>
                  <a:pt x="2301" y="173"/>
                  <a:pt x="2300" y="174"/>
                  <a:pt x="2299" y="175"/>
                </a:cubicBezTo>
                <a:cubicBezTo>
                  <a:pt x="2298" y="175"/>
                  <a:pt x="2297" y="176"/>
                  <a:pt x="2297" y="176"/>
                </a:cubicBezTo>
                <a:cubicBezTo>
                  <a:pt x="2296" y="176"/>
                  <a:pt x="2296" y="176"/>
                  <a:pt x="2295" y="176"/>
                </a:cubicBezTo>
                <a:cubicBezTo>
                  <a:pt x="2295" y="176"/>
                  <a:pt x="2294" y="176"/>
                  <a:pt x="2294" y="176"/>
                </a:cubicBezTo>
                <a:lnTo>
                  <a:pt x="2229" y="111"/>
                </a:lnTo>
                <a:cubicBezTo>
                  <a:pt x="2229" y="111"/>
                  <a:pt x="2229" y="110"/>
                  <a:pt x="2229" y="110"/>
                </a:cubicBezTo>
                <a:cubicBezTo>
                  <a:pt x="2229" y="109"/>
                  <a:pt x="2229" y="109"/>
                  <a:pt x="2229" y="108"/>
                </a:cubicBezTo>
                <a:cubicBezTo>
                  <a:pt x="2229" y="107"/>
                  <a:pt x="2230" y="107"/>
                  <a:pt x="2230" y="106"/>
                </a:cubicBezTo>
                <a:cubicBezTo>
                  <a:pt x="2231" y="105"/>
                  <a:pt x="2232" y="104"/>
                  <a:pt x="2233" y="103"/>
                </a:cubicBezTo>
                <a:cubicBezTo>
                  <a:pt x="2234" y="102"/>
                  <a:pt x="2235" y="101"/>
                  <a:pt x="2236" y="100"/>
                </a:cubicBezTo>
                <a:cubicBezTo>
                  <a:pt x="2237" y="99"/>
                  <a:pt x="2238" y="99"/>
                  <a:pt x="2238" y="99"/>
                </a:cubicBezTo>
                <a:cubicBezTo>
                  <a:pt x="2239" y="98"/>
                  <a:pt x="2240" y="98"/>
                  <a:pt x="2240" y="98"/>
                </a:cubicBezTo>
                <a:cubicBezTo>
                  <a:pt x="2240" y="98"/>
                  <a:pt x="2241" y="99"/>
                  <a:pt x="2241" y="99"/>
                </a:cubicBezTo>
                <a:lnTo>
                  <a:pt x="2306" y="164"/>
                </a:lnTo>
                <a:close/>
                <a:moveTo>
                  <a:pt x="2221" y="76"/>
                </a:moveTo>
                <a:cubicBezTo>
                  <a:pt x="2224" y="79"/>
                  <a:pt x="2225" y="81"/>
                  <a:pt x="2225" y="83"/>
                </a:cubicBezTo>
                <a:cubicBezTo>
                  <a:pt x="2225" y="85"/>
                  <a:pt x="2223" y="88"/>
                  <a:pt x="2221" y="90"/>
                </a:cubicBezTo>
                <a:cubicBezTo>
                  <a:pt x="2218" y="93"/>
                  <a:pt x="2215" y="95"/>
                  <a:pt x="2213" y="95"/>
                </a:cubicBezTo>
                <a:cubicBezTo>
                  <a:pt x="2211" y="95"/>
                  <a:pt x="2209" y="93"/>
                  <a:pt x="2206" y="91"/>
                </a:cubicBezTo>
                <a:cubicBezTo>
                  <a:pt x="2203" y="88"/>
                  <a:pt x="2202" y="85"/>
                  <a:pt x="2202" y="83"/>
                </a:cubicBezTo>
                <a:cubicBezTo>
                  <a:pt x="2202" y="81"/>
                  <a:pt x="2204" y="79"/>
                  <a:pt x="2206" y="76"/>
                </a:cubicBezTo>
                <a:cubicBezTo>
                  <a:pt x="2209" y="73"/>
                  <a:pt x="2212" y="72"/>
                  <a:pt x="2214" y="72"/>
                </a:cubicBezTo>
                <a:cubicBezTo>
                  <a:pt x="2216" y="72"/>
                  <a:pt x="2218" y="73"/>
                  <a:pt x="2221" y="76"/>
                </a:cubicBezTo>
                <a:close/>
                <a:moveTo>
                  <a:pt x="2340" y="130"/>
                </a:moveTo>
                <a:cubicBezTo>
                  <a:pt x="2340" y="130"/>
                  <a:pt x="2340" y="131"/>
                  <a:pt x="2340" y="131"/>
                </a:cubicBezTo>
                <a:cubicBezTo>
                  <a:pt x="2341" y="131"/>
                  <a:pt x="2340" y="132"/>
                  <a:pt x="2340" y="133"/>
                </a:cubicBezTo>
                <a:cubicBezTo>
                  <a:pt x="2340" y="133"/>
                  <a:pt x="2340" y="134"/>
                  <a:pt x="2339" y="135"/>
                </a:cubicBezTo>
                <a:cubicBezTo>
                  <a:pt x="2338" y="136"/>
                  <a:pt x="2337" y="137"/>
                  <a:pt x="2336" y="138"/>
                </a:cubicBezTo>
                <a:cubicBezTo>
                  <a:pt x="2335" y="139"/>
                  <a:pt x="2334" y="140"/>
                  <a:pt x="2333" y="141"/>
                </a:cubicBezTo>
                <a:cubicBezTo>
                  <a:pt x="2332" y="141"/>
                  <a:pt x="2331" y="142"/>
                  <a:pt x="2331" y="142"/>
                </a:cubicBezTo>
                <a:cubicBezTo>
                  <a:pt x="2330" y="142"/>
                  <a:pt x="2330" y="142"/>
                  <a:pt x="2329" y="142"/>
                </a:cubicBezTo>
                <a:cubicBezTo>
                  <a:pt x="2329" y="142"/>
                  <a:pt x="2328" y="142"/>
                  <a:pt x="2328" y="142"/>
                </a:cubicBezTo>
                <a:lnTo>
                  <a:pt x="2232" y="46"/>
                </a:lnTo>
                <a:cubicBezTo>
                  <a:pt x="2232" y="45"/>
                  <a:pt x="2231" y="45"/>
                  <a:pt x="2231" y="44"/>
                </a:cubicBezTo>
                <a:cubicBezTo>
                  <a:pt x="2231" y="44"/>
                  <a:pt x="2231" y="43"/>
                  <a:pt x="2231" y="43"/>
                </a:cubicBezTo>
                <a:cubicBezTo>
                  <a:pt x="2232" y="42"/>
                  <a:pt x="2232" y="41"/>
                  <a:pt x="2233" y="40"/>
                </a:cubicBezTo>
                <a:cubicBezTo>
                  <a:pt x="2234" y="40"/>
                  <a:pt x="2234" y="39"/>
                  <a:pt x="2236" y="37"/>
                </a:cubicBezTo>
                <a:cubicBezTo>
                  <a:pt x="2237" y="36"/>
                  <a:pt x="2238" y="35"/>
                  <a:pt x="2239" y="35"/>
                </a:cubicBezTo>
                <a:cubicBezTo>
                  <a:pt x="2240" y="34"/>
                  <a:pt x="2240" y="34"/>
                  <a:pt x="2241" y="33"/>
                </a:cubicBezTo>
                <a:cubicBezTo>
                  <a:pt x="2242" y="33"/>
                  <a:pt x="2242" y="33"/>
                  <a:pt x="2243" y="33"/>
                </a:cubicBezTo>
                <a:cubicBezTo>
                  <a:pt x="2243" y="33"/>
                  <a:pt x="2243" y="33"/>
                  <a:pt x="2244" y="34"/>
                </a:cubicBezTo>
                <a:lnTo>
                  <a:pt x="2340" y="130"/>
                </a:lnTo>
                <a:close/>
                <a:moveTo>
                  <a:pt x="2382" y="17"/>
                </a:moveTo>
                <a:cubicBezTo>
                  <a:pt x="2384" y="19"/>
                  <a:pt x="2385" y="21"/>
                  <a:pt x="2385" y="23"/>
                </a:cubicBezTo>
                <a:cubicBezTo>
                  <a:pt x="2384" y="24"/>
                  <a:pt x="2384" y="26"/>
                  <a:pt x="2382" y="27"/>
                </a:cubicBezTo>
                <a:lnTo>
                  <a:pt x="2340" y="70"/>
                </a:lnTo>
                <a:cubicBezTo>
                  <a:pt x="2344" y="73"/>
                  <a:pt x="2347" y="76"/>
                  <a:pt x="2351" y="78"/>
                </a:cubicBezTo>
                <a:cubicBezTo>
                  <a:pt x="2354" y="80"/>
                  <a:pt x="2358" y="82"/>
                  <a:pt x="2362" y="82"/>
                </a:cubicBezTo>
                <a:cubicBezTo>
                  <a:pt x="2365" y="83"/>
                  <a:pt x="2369" y="82"/>
                  <a:pt x="2373" y="80"/>
                </a:cubicBezTo>
                <a:cubicBezTo>
                  <a:pt x="2377" y="79"/>
                  <a:pt x="2381" y="76"/>
                  <a:pt x="2385" y="72"/>
                </a:cubicBezTo>
                <a:cubicBezTo>
                  <a:pt x="2388" y="69"/>
                  <a:pt x="2390" y="66"/>
                  <a:pt x="2392" y="63"/>
                </a:cubicBezTo>
                <a:cubicBezTo>
                  <a:pt x="2394" y="60"/>
                  <a:pt x="2395" y="58"/>
                  <a:pt x="2397" y="55"/>
                </a:cubicBezTo>
                <a:cubicBezTo>
                  <a:pt x="2398" y="53"/>
                  <a:pt x="2399" y="51"/>
                  <a:pt x="2399" y="49"/>
                </a:cubicBezTo>
                <a:cubicBezTo>
                  <a:pt x="2400" y="48"/>
                  <a:pt x="2400" y="46"/>
                  <a:pt x="2401" y="46"/>
                </a:cubicBezTo>
                <a:cubicBezTo>
                  <a:pt x="2401" y="45"/>
                  <a:pt x="2402" y="45"/>
                  <a:pt x="2402" y="45"/>
                </a:cubicBezTo>
                <a:cubicBezTo>
                  <a:pt x="2403" y="45"/>
                  <a:pt x="2403" y="45"/>
                  <a:pt x="2404" y="45"/>
                </a:cubicBezTo>
                <a:cubicBezTo>
                  <a:pt x="2404" y="46"/>
                  <a:pt x="2405" y="46"/>
                  <a:pt x="2405" y="46"/>
                </a:cubicBezTo>
                <a:cubicBezTo>
                  <a:pt x="2406" y="47"/>
                  <a:pt x="2407" y="48"/>
                  <a:pt x="2408" y="48"/>
                </a:cubicBezTo>
                <a:cubicBezTo>
                  <a:pt x="2408" y="49"/>
                  <a:pt x="2409" y="50"/>
                  <a:pt x="2409" y="50"/>
                </a:cubicBezTo>
                <a:cubicBezTo>
                  <a:pt x="2410" y="51"/>
                  <a:pt x="2410" y="51"/>
                  <a:pt x="2410" y="52"/>
                </a:cubicBezTo>
                <a:cubicBezTo>
                  <a:pt x="2410" y="52"/>
                  <a:pt x="2411" y="52"/>
                  <a:pt x="2411" y="53"/>
                </a:cubicBezTo>
                <a:cubicBezTo>
                  <a:pt x="2411" y="53"/>
                  <a:pt x="2411" y="54"/>
                  <a:pt x="2411" y="54"/>
                </a:cubicBezTo>
                <a:cubicBezTo>
                  <a:pt x="2411" y="55"/>
                  <a:pt x="2411" y="56"/>
                  <a:pt x="2410" y="58"/>
                </a:cubicBezTo>
                <a:cubicBezTo>
                  <a:pt x="2409" y="60"/>
                  <a:pt x="2408" y="62"/>
                  <a:pt x="2407" y="65"/>
                </a:cubicBezTo>
                <a:cubicBezTo>
                  <a:pt x="2405" y="67"/>
                  <a:pt x="2403" y="70"/>
                  <a:pt x="2401" y="73"/>
                </a:cubicBezTo>
                <a:cubicBezTo>
                  <a:pt x="2399" y="77"/>
                  <a:pt x="2396" y="80"/>
                  <a:pt x="2393" y="83"/>
                </a:cubicBezTo>
                <a:cubicBezTo>
                  <a:pt x="2388" y="88"/>
                  <a:pt x="2382" y="92"/>
                  <a:pt x="2377" y="95"/>
                </a:cubicBezTo>
                <a:cubicBezTo>
                  <a:pt x="2371" y="97"/>
                  <a:pt x="2366" y="98"/>
                  <a:pt x="2360" y="98"/>
                </a:cubicBezTo>
                <a:cubicBezTo>
                  <a:pt x="2355" y="98"/>
                  <a:pt x="2349" y="96"/>
                  <a:pt x="2343" y="93"/>
                </a:cubicBezTo>
                <a:cubicBezTo>
                  <a:pt x="2337" y="90"/>
                  <a:pt x="2331" y="86"/>
                  <a:pt x="2326" y="80"/>
                </a:cubicBezTo>
                <a:cubicBezTo>
                  <a:pt x="2320" y="74"/>
                  <a:pt x="2316" y="69"/>
                  <a:pt x="2313" y="63"/>
                </a:cubicBezTo>
                <a:cubicBezTo>
                  <a:pt x="2310" y="57"/>
                  <a:pt x="2308" y="51"/>
                  <a:pt x="2308" y="45"/>
                </a:cubicBezTo>
                <a:cubicBezTo>
                  <a:pt x="2307" y="40"/>
                  <a:pt x="2308" y="34"/>
                  <a:pt x="2310" y="28"/>
                </a:cubicBezTo>
                <a:cubicBezTo>
                  <a:pt x="2313" y="23"/>
                  <a:pt x="2316" y="18"/>
                  <a:pt x="2321" y="13"/>
                </a:cubicBezTo>
                <a:cubicBezTo>
                  <a:pt x="2326" y="8"/>
                  <a:pt x="2331" y="4"/>
                  <a:pt x="2336" y="3"/>
                </a:cubicBezTo>
                <a:cubicBezTo>
                  <a:pt x="2341" y="1"/>
                  <a:pt x="2346" y="0"/>
                  <a:pt x="2352" y="0"/>
                </a:cubicBezTo>
                <a:cubicBezTo>
                  <a:pt x="2357" y="1"/>
                  <a:pt x="2361" y="2"/>
                  <a:pt x="2366" y="5"/>
                </a:cubicBezTo>
                <a:cubicBezTo>
                  <a:pt x="2371" y="8"/>
                  <a:pt x="2376" y="11"/>
                  <a:pt x="2380" y="15"/>
                </a:cubicBezTo>
                <a:lnTo>
                  <a:pt x="2382" y="17"/>
                </a:lnTo>
                <a:close/>
                <a:moveTo>
                  <a:pt x="2366" y="26"/>
                </a:moveTo>
                <a:cubicBezTo>
                  <a:pt x="2360" y="19"/>
                  <a:pt x="2354" y="16"/>
                  <a:pt x="2348" y="15"/>
                </a:cubicBezTo>
                <a:cubicBezTo>
                  <a:pt x="2341" y="15"/>
                  <a:pt x="2335" y="17"/>
                  <a:pt x="2329" y="23"/>
                </a:cubicBezTo>
                <a:cubicBezTo>
                  <a:pt x="2326" y="26"/>
                  <a:pt x="2324" y="29"/>
                  <a:pt x="2323" y="32"/>
                </a:cubicBezTo>
                <a:cubicBezTo>
                  <a:pt x="2322" y="36"/>
                  <a:pt x="2322" y="39"/>
                  <a:pt x="2322" y="42"/>
                </a:cubicBezTo>
                <a:cubicBezTo>
                  <a:pt x="2322" y="46"/>
                  <a:pt x="2323" y="49"/>
                  <a:pt x="2325" y="52"/>
                </a:cubicBezTo>
                <a:cubicBezTo>
                  <a:pt x="2327" y="55"/>
                  <a:pt x="2329" y="58"/>
                  <a:pt x="2331" y="61"/>
                </a:cubicBezTo>
                <a:lnTo>
                  <a:pt x="2366" y="26"/>
                </a:lnTo>
                <a:close/>
              </a:path>
            </a:pathLst>
          </a:custGeom>
          <a:solidFill>
            <a:srgbClr val="000000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097" name="Freeform 41"/>
          <p:cNvSpPr>
            <a:spLocks noEditPoints="1"/>
          </p:cNvSpPr>
          <p:nvPr/>
        </p:nvSpPr>
        <p:spPr bwMode="auto">
          <a:xfrm>
            <a:off x="3041910" y="3980743"/>
            <a:ext cx="1016000" cy="1001713"/>
          </a:xfrm>
          <a:custGeom>
            <a:avLst/>
            <a:gdLst/>
            <a:ahLst/>
            <a:cxnLst>
              <a:cxn ang="0">
                <a:pos x="54" y="1453"/>
              </a:cxn>
              <a:cxn ang="0">
                <a:pos x="59" y="1536"/>
              </a:cxn>
              <a:cxn ang="0">
                <a:pos x="59" y="1428"/>
              </a:cxn>
              <a:cxn ang="0">
                <a:pos x="200" y="1462"/>
              </a:cxn>
              <a:cxn ang="0">
                <a:pos x="228" y="1456"/>
              </a:cxn>
              <a:cxn ang="0">
                <a:pos x="175" y="1397"/>
              </a:cxn>
              <a:cxn ang="0">
                <a:pos x="281" y="1400"/>
              </a:cxn>
              <a:cxn ang="0">
                <a:pos x="263" y="1314"/>
              </a:cxn>
              <a:cxn ang="0">
                <a:pos x="299" y="1350"/>
              </a:cxn>
              <a:cxn ang="0">
                <a:pos x="273" y="1292"/>
              </a:cxn>
              <a:cxn ang="0">
                <a:pos x="269" y="1246"/>
              </a:cxn>
              <a:cxn ang="0">
                <a:pos x="359" y="1302"/>
              </a:cxn>
              <a:cxn ang="0">
                <a:pos x="349" y="1232"/>
              </a:cxn>
              <a:cxn ang="0">
                <a:pos x="323" y="1223"/>
              </a:cxn>
              <a:cxn ang="0">
                <a:pos x="359" y="1199"/>
              </a:cxn>
              <a:cxn ang="0">
                <a:pos x="382" y="1164"/>
              </a:cxn>
              <a:cxn ang="0">
                <a:pos x="513" y="1156"/>
              </a:cxn>
              <a:cxn ang="0">
                <a:pos x="450" y="1102"/>
              </a:cxn>
              <a:cxn ang="0">
                <a:pos x="481" y="1180"/>
              </a:cxn>
              <a:cxn ang="0">
                <a:pos x="566" y="1114"/>
              </a:cxn>
              <a:cxn ang="0">
                <a:pos x="556" y="1020"/>
              </a:cxn>
              <a:cxn ang="0">
                <a:pos x="686" y="993"/>
              </a:cxn>
              <a:cxn ang="0">
                <a:pos x="642" y="1037"/>
              </a:cxn>
              <a:cxn ang="0">
                <a:pos x="575" y="973"/>
              </a:cxn>
              <a:cxn ang="0">
                <a:pos x="721" y="942"/>
              </a:cxn>
              <a:cxn ang="0">
                <a:pos x="749" y="935"/>
              </a:cxn>
              <a:cxn ang="0">
                <a:pos x="695" y="877"/>
              </a:cxn>
              <a:cxn ang="0">
                <a:pos x="757" y="810"/>
              </a:cxn>
              <a:cxn ang="0">
                <a:pos x="725" y="821"/>
              </a:cxn>
              <a:cxn ang="0">
                <a:pos x="762" y="788"/>
              </a:cxn>
              <a:cxn ang="0">
                <a:pos x="833" y="809"/>
              </a:cxn>
              <a:cxn ang="0">
                <a:pos x="845" y="846"/>
              </a:cxn>
              <a:cxn ang="0">
                <a:pos x="830" y="716"/>
              </a:cxn>
              <a:cxn ang="0">
                <a:pos x="893" y="799"/>
              </a:cxn>
              <a:cxn ang="0">
                <a:pos x="959" y="774"/>
              </a:cxn>
              <a:cxn ang="0">
                <a:pos x="851" y="696"/>
              </a:cxn>
              <a:cxn ang="0">
                <a:pos x="992" y="525"/>
              </a:cxn>
              <a:cxn ang="0">
                <a:pos x="922" y="590"/>
              </a:cxn>
              <a:cxn ang="0">
                <a:pos x="1088" y="595"/>
              </a:cxn>
              <a:cxn ang="0">
                <a:pos x="1009" y="511"/>
              </a:cxn>
              <a:cxn ang="0">
                <a:pos x="1162" y="439"/>
              </a:cxn>
              <a:cxn ang="0">
                <a:pos x="1120" y="481"/>
              </a:cxn>
              <a:cxn ang="0">
                <a:pos x="1052" y="497"/>
              </a:cxn>
              <a:cxn ang="0">
                <a:pos x="1114" y="443"/>
              </a:cxn>
              <a:cxn ang="0">
                <a:pos x="1253" y="413"/>
              </a:cxn>
              <a:cxn ang="0">
                <a:pos x="1261" y="424"/>
              </a:cxn>
              <a:cxn ang="0">
                <a:pos x="1197" y="364"/>
              </a:cxn>
              <a:cxn ang="0">
                <a:pos x="1339" y="321"/>
              </a:cxn>
              <a:cxn ang="0">
                <a:pos x="1330" y="265"/>
              </a:cxn>
              <a:cxn ang="0">
                <a:pos x="1320" y="198"/>
              </a:cxn>
              <a:cxn ang="0">
                <a:pos x="1334" y="244"/>
              </a:cxn>
              <a:cxn ang="0">
                <a:pos x="1410" y="164"/>
              </a:cxn>
              <a:cxn ang="0">
                <a:pos x="1326" y="158"/>
              </a:cxn>
              <a:cxn ang="0">
                <a:pos x="1514" y="167"/>
              </a:cxn>
              <a:cxn ang="0">
                <a:pos x="1449" y="101"/>
              </a:cxn>
              <a:cxn ang="0">
                <a:pos x="1481" y="24"/>
              </a:cxn>
              <a:cxn ang="0">
                <a:pos x="1494" y="72"/>
              </a:cxn>
              <a:cxn ang="0">
                <a:pos x="1462" y="84"/>
              </a:cxn>
              <a:cxn ang="0">
                <a:pos x="1614" y="66"/>
              </a:cxn>
              <a:cxn ang="0">
                <a:pos x="1508" y="38"/>
              </a:cxn>
              <a:cxn ang="0">
                <a:pos x="1553" y="3"/>
              </a:cxn>
            </a:cxnLst>
            <a:rect l="0" t="0" r="r" b="b"/>
            <a:pathLst>
              <a:path w="1614" h="1590">
                <a:moveTo>
                  <a:pt x="137" y="1535"/>
                </a:moveTo>
                <a:cubicBezTo>
                  <a:pt x="138" y="1536"/>
                  <a:pt x="139" y="1537"/>
                  <a:pt x="139" y="1538"/>
                </a:cubicBezTo>
                <a:cubicBezTo>
                  <a:pt x="140" y="1538"/>
                  <a:pt x="140" y="1539"/>
                  <a:pt x="140" y="1540"/>
                </a:cubicBezTo>
                <a:cubicBezTo>
                  <a:pt x="140" y="1540"/>
                  <a:pt x="141" y="1541"/>
                  <a:pt x="140" y="1542"/>
                </a:cubicBezTo>
                <a:cubicBezTo>
                  <a:pt x="140" y="1542"/>
                  <a:pt x="140" y="1542"/>
                  <a:pt x="140" y="1543"/>
                </a:cubicBezTo>
                <a:lnTo>
                  <a:pt x="95" y="1587"/>
                </a:lnTo>
                <a:cubicBezTo>
                  <a:pt x="94" y="1589"/>
                  <a:pt x="93" y="1589"/>
                  <a:pt x="91" y="1589"/>
                </a:cubicBezTo>
                <a:cubicBezTo>
                  <a:pt x="89" y="1590"/>
                  <a:pt x="87" y="1589"/>
                  <a:pt x="85" y="1587"/>
                </a:cubicBezTo>
                <a:lnTo>
                  <a:pt x="3" y="1504"/>
                </a:lnTo>
                <a:cubicBezTo>
                  <a:pt x="1" y="1502"/>
                  <a:pt x="0" y="1500"/>
                  <a:pt x="0" y="1499"/>
                </a:cubicBezTo>
                <a:cubicBezTo>
                  <a:pt x="0" y="1497"/>
                  <a:pt x="1" y="1496"/>
                  <a:pt x="2" y="1495"/>
                </a:cubicBezTo>
                <a:lnTo>
                  <a:pt x="46" y="1450"/>
                </a:lnTo>
                <a:cubicBezTo>
                  <a:pt x="47" y="1450"/>
                  <a:pt x="47" y="1450"/>
                  <a:pt x="48" y="1450"/>
                </a:cubicBezTo>
                <a:cubicBezTo>
                  <a:pt x="48" y="1450"/>
                  <a:pt x="49" y="1450"/>
                  <a:pt x="49" y="1450"/>
                </a:cubicBezTo>
                <a:cubicBezTo>
                  <a:pt x="50" y="1450"/>
                  <a:pt x="51" y="1450"/>
                  <a:pt x="51" y="1451"/>
                </a:cubicBezTo>
                <a:cubicBezTo>
                  <a:pt x="52" y="1452"/>
                  <a:pt x="53" y="1452"/>
                  <a:pt x="54" y="1453"/>
                </a:cubicBezTo>
                <a:cubicBezTo>
                  <a:pt x="55" y="1454"/>
                  <a:pt x="55" y="1455"/>
                  <a:pt x="56" y="1456"/>
                </a:cubicBezTo>
                <a:cubicBezTo>
                  <a:pt x="57" y="1456"/>
                  <a:pt x="57" y="1457"/>
                  <a:pt x="57" y="1458"/>
                </a:cubicBezTo>
                <a:cubicBezTo>
                  <a:pt x="57" y="1458"/>
                  <a:pt x="57" y="1459"/>
                  <a:pt x="57" y="1459"/>
                </a:cubicBezTo>
                <a:cubicBezTo>
                  <a:pt x="57" y="1460"/>
                  <a:pt x="57" y="1460"/>
                  <a:pt x="56" y="1461"/>
                </a:cubicBezTo>
                <a:lnTo>
                  <a:pt x="20" y="1497"/>
                </a:lnTo>
                <a:lnTo>
                  <a:pt x="49" y="1526"/>
                </a:lnTo>
                <a:lnTo>
                  <a:pt x="80" y="1495"/>
                </a:lnTo>
                <a:cubicBezTo>
                  <a:pt x="81" y="1495"/>
                  <a:pt x="81" y="1494"/>
                  <a:pt x="82" y="1494"/>
                </a:cubicBezTo>
                <a:cubicBezTo>
                  <a:pt x="82" y="1494"/>
                  <a:pt x="83" y="1494"/>
                  <a:pt x="84" y="1494"/>
                </a:cubicBezTo>
                <a:cubicBezTo>
                  <a:pt x="84" y="1495"/>
                  <a:pt x="85" y="1495"/>
                  <a:pt x="86" y="1496"/>
                </a:cubicBezTo>
                <a:cubicBezTo>
                  <a:pt x="86" y="1496"/>
                  <a:pt x="87" y="1497"/>
                  <a:pt x="88" y="1498"/>
                </a:cubicBezTo>
                <a:cubicBezTo>
                  <a:pt x="89" y="1499"/>
                  <a:pt x="90" y="1499"/>
                  <a:pt x="90" y="1500"/>
                </a:cubicBezTo>
                <a:cubicBezTo>
                  <a:pt x="91" y="1501"/>
                  <a:pt x="91" y="1501"/>
                  <a:pt x="91" y="1502"/>
                </a:cubicBezTo>
                <a:cubicBezTo>
                  <a:pt x="91" y="1503"/>
                  <a:pt x="91" y="1503"/>
                  <a:pt x="91" y="1504"/>
                </a:cubicBezTo>
                <a:cubicBezTo>
                  <a:pt x="91" y="1504"/>
                  <a:pt x="91" y="1505"/>
                  <a:pt x="90" y="1505"/>
                </a:cubicBezTo>
                <a:lnTo>
                  <a:pt x="59" y="1536"/>
                </a:lnTo>
                <a:lnTo>
                  <a:pt x="93" y="1569"/>
                </a:lnTo>
                <a:lnTo>
                  <a:pt x="129" y="1533"/>
                </a:lnTo>
                <a:cubicBezTo>
                  <a:pt x="130" y="1532"/>
                  <a:pt x="130" y="1532"/>
                  <a:pt x="131" y="1532"/>
                </a:cubicBezTo>
                <a:cubicBezTo>
                  <a:pt x="131" y="1532"/>
                  <a:pt x="132" y="1532"/>
                  <a:pt x="132" y="1532"/>
                </a:cubicBezTo>
                <a:cubicBezTo>
                  <a:pt x="133" y="1532"/>
                  <a:pt x="134" y="1532"/>
                  <a:pt x="135" y="1533"/>
                </a:cubicBezTo>
                <a:cubicBezTo>
                  <a:pt x="135" y="1534"/>
                  <a:pt x="136" y="1534"/>
                  <a:pt x="137" y="1535"/>
                </a:cubicBezTo>
                <a:close/>
                <a:moveTo>
                  <a:pt x="167" y="1512"/>
                </a:moveTo>
                <a:cubicBezTo>
                  <a:pt x="167" y="1512"/>
                  <a:pt x="168" y="1513"/>
                  <a:pt x="168" y="1513"/>
                </a:cubicBezTo>
                <a:cubicBezTo>
                  <a:pt x="168" y="1514"/>
                  <a:pt x="168" y="1514"/>
                  <a:pt x="167" y="1515"/>
                </a:cubicBezTo>
                <a:cubicBezTo>
                  <a:pt x="167" y="1515"/>
                  <a:pt x="167" y="1516"/>
                  <a:pt x="166" y="1517"/>
                </a:cubicBezTo>
                <a:cubicBezTo>
                  <a:pt x="165" y="1518"/>
                  <a:pt x="164" y="1519"/>
                  <a:pt x="163" y="1520"/>
                </a:cubicBezTo>
                <a:cubicBezTo>
                  <a:pt x="162" y="1521"/>
                  <a:pt x="161" y="1522"/>
                  <a:pt x="160" y="1523"/>
                </a:cubicBezTo>
                <a:cubicBezTo>
                  <a:pt x="159" y="1523"/>
                  <a:pt x="159" y="1524"/>
                  <a:pt x="158" y="1524"/>
                </a:cubicBezTo>
                <a:cubicBezTo>
                  <a:pt x="157" y="1524"/>
                  <a:pt x="157" y="1525"/>
                  <a:pt x="156" y="1524"/>
                </a:cubicBezTo>
                <a:cubicBezTo>
                  <a:pt x="156" y="1524"/>
                  <a:pt x="156" y="1524"/>
                  <a:pt x="155" y="1524"/>
                </a:cubicBezTo>
                <a:lnTo>
                  <a:pt x="59" y="1428"/>
                </a:lnTo>
                <a:cubicBezTo>
                  <a:pt x="59" y="1427"/>
                  <a:pt x="59" y="1427"/>
                  <a:pt x="58" y="1427"/>
                </a:cubicBezTo>
                <a:cubicBezTo>
                  <a:pt x="58" y="1426"/>
                  <a:pt x="58" y="1426"/>
                  <a:pt x="59" y="1425"/>
                </a:cubicBezTo>
                <a:cubicBezTo>
                  <a:pt x="59" y="1424"/>
                  <a:pt x="59" y="1423"/>
                  <a:pt x="60" y="1423"/>
                </a:cubicBezTo>
                <a:cubicBezTo>
                  <a:pt x="61" y="1422"/>
                  <a:pt x="62" y="1421"/>
                  <a:pt x="63" y="1420"/>
                </a:cubicBezTo>
                <a:cubicBezTo>
                  <a:pt x="64" y="1418"/>
                  <a:pt x="65" y="1417"/>
                  <a:pt x="66" y="1417"/>
                </a:cubicBezTo>
                <a:cubicBezTo>
                  <a:pt x="67" y="1416"/>
                  <a:pt x="68" y="1416"/>
                  <a:pt x="68" y="1415"/>
                </a:cubicBezTo>
                <a:cubicBezTo>
                  <a:pt x="69" y="1415"/>
                  <a:pt x="69" y="1415"/>
                  <a:pt x="70" y="1415"/>
                </a:cubicBezTo>
                <a:cubicBezTo>
                  <a:pt x="70" y="1415"/>
                  <a:pt x="71" y="1416"/>
                  <a:pt x="71" y="1416"/>
                </a:cubicBezTo>
                <a:lnTo>
                  <a:pt x="167" y="1512"/>
                </a:lnTo>
                <a:close/>
                <a:moveTo>
                  <a:pt x="209" y="1400"/>
                </a:moveTo>
                <a:cubicBezTo>
                  <a:pt x="211" y="1401"/>
                  <a:pt x="212" y="1403"/>
                  <a:pt x="212" y="1405"/>
                </a:cubicBezTo>
                <a:cubicBezTo>
                  <a:pt x="212" y="1407"/>
                  <a:pt x="211" y="1408"/>
                  <a:pt x="210" y="1409"/>
                </a:cubicBezTo>
                <a:lnTo>
                  <a:pt x="167" y="1452"/>
                </a:lnTo>
                <a:cubicBezTo>
                  <a:pt x="171" y="1455"/>
                  <a:pt x="174" y="1458"/>
                  <a:pt x="178" y="1460"/>
                </a:cubicBezTo>
                <a:cubicBezTo>
                  <a:pt x="182" y="1463"/>
                  <a:pt x="185" y="1464"/>
                  <a:pt x="189" y="1464"/>
                </a:cubicBezTo>
                <a:cubicBezTo>
                  <a:pt x="193" y="1465"/>
                  <a:pt x="196" y="1464"/>
                  <a:pt x="200" y="1462"/>
                </a:cubicBezTo>
                <a:cubicBezTo>
                  <a:pt x="204" y="1461"/>
                  <a:pt x="208" y="1458"/>
                  <a:pt x="212" y="1454"/>
                </a:cubicBezTo>
                <a:cubicBezTo>
                  <a:pt x="215" y="1451"/>
                  <a:pt x="217" y="1448"/>
                  <a:pt x="219" y="1445"/>
                </a:cubicBezTo>
                <a:cubicBezTo>
                  <a:pt x="221" y="1442"/>
                  <a:pt x="223" y="1440"/>
                  <a:pt x="224" y="1437"/>
                </a:cubicBezTo>
                <a:cubicBezTo>
                  <a:pt x="225" y="1435"/>
                  <a:pt x="226" y="1433"/>
                  <a:pt x="226" y="1431"/>
                </a:cubicBezTo>
                <a:cubicBezTo>
                  <a:pt x="227" y="1430"/>
                  <a:pt x="228" y="1429"/>
                  <a:pt x="228" y="1428"/>
                </a:cubicBezTo>
                <a:cubicBezTo>
                  <a:pt x="229" y="1428"/>
                  <a:pt x="229" y="1427"/>
                  <a:pt x="229" y="1427"/>
                </a:cubicBezTo>
                <a:cubicBezTo>
                  <a:pt x="230" y="1427"/>
                  <a:pt x="230" y="1427"/>
                  <a:pt x="231" y="1427"/>
                </a:cubicBezTo>
                <a:cubicBezTo>
                  <a:pt x="231" y="1428"/>
                  <a:pt x="232" y="1428"/>
                  <a:pt x="233" y="1429"/>
                </a:cubicBezTo>
                <a:cubicBezTo>
                  <a:pt x="233" y="1429"/>
                  <a:pt x="234" y="1430"/>
                  <a:pt x="235" y="1431"/>
                </a:cubicBezTo>
                <a:cubicBezTo>
                  <a:pt x="235" y="1431"/>
                  <a:pt x="236" y="1432"/>
                  <a:pt x="236" y="1432"/>
                </a:cubicBezTo>
                <a:cubicBezTo>
                  <a:pt x="237" y="1433"/>
                  <a:pt x="237" y="1433"/>
                  <a:pt x="237" y="1434"/>
                </a:cubicBezTo>
                <a:cubicBezTo>
                  <a:pt x="238" y="1434"/>
                  <a:pt x="238" y="1435"/>
                  <a:pt x="238" y="1435"/>
                </a:cubicBezTo>
                <a:cubicBezTo>
                  <a:pt x="238" y="1435"/>
                  <a:pt x="238" y="1436"/>
                  <a:pt x="238" y="1437"/>
                </a:cubicBezTo>
                <a:cubicBezTo>
                  <a:pt x="238" y="1437"/>
                  <a:pt x="238" y="1438"/>
                  <a:pt x="237" y="1440"/>
                </a:cubicBezTo>
                <a:cubicBezTo>
                  <a:pt x="236" y="1442"/>
                  <a:pt x="235" y="1444"/>
                  <a:pt x="234" y="1447"/>
                </a:cubicBezTo>
                <a:cubicBezTo>
                  <a:pt x="232" y="1450"/>
                  <a:pt x="231" y="1452"/>
                  <a:pt x="228" y="1456"/>
                </a:cubicBezTo>
                <a:cubicBezTo>
                  <a:pt x="226" y="1459"/>
                  <a:pt x="223" y="1462"/>
                  <a:pt x="220" y="1465"/>
                </a:cubicBezTo>
                <a:cubicBezTo>
                  <a:pt x="215" y="1470"/>
                  <a:pt x="210" y="1474"/>
                  <a:pt x="204" y="1477"/>
                </a:cubicBezTo>
                <a:cubicBezTo>
                  <a:pt x="199" y="1479"/>
                  <a:pt x="193" y="1480"/>
                  <a:pt x="187" y="1480"/>
                </a:cubicBezTo>
                <a:cubicBezTo>
                  <a:pt x="182" y="1480"/>
                  <a:pt x="176" y="1478"/>
                  <a:pt x="170" y="1475"/>
                </a:cubicBezTo>
                <a:cubicBezTo>
                  <a:pt x="164" y="1472"/>
                  <a:pt x="159" y="1468"/>
                  <a:pt x="153" y="1462"/>
                </a:cubicBezTo>
                <a:cubicBezTo>
                  <a:pt x="147" y="1457"/>
                  <a:pt x="143" y="1451"/>
                  <a:pt x="140" y="1445"/>
                </a:cubicBezTo>
                <a:cubicBezTo>
                  <a:pt x="137" y="1439"/>
                  <a:pt x="135" y="1433"/>
                  <a:pt x="135" y="1427"/>
                </a:cubicBezTo>
                <a:cubicBezTo>
                  <a:pt x="135" y="1422"/>
                  <a:pt x="135" y="1416"/>
                  <a:pt x="138" y="1411"/>
                </a:cubicBezTo>
                <a:cubicBezTo>
                  <a:pt x="140" y="1405"/>
                  <a:pt x="143" y="1400"/>
                  <a:pt x="148" y="1395"/>
                </a:cubicBezTo>
                <a:cubicBezTo>
                  <a:pt x="153" y="1390"/>
                  <a:pt x="158" y="1387"/>
                  <a:pt x="163" y="1385"/>
                </a:cubicBezTo>
                <a:cubicBezTo>
                  <a:pt x="169" y="1383"/>
                  <a:pt x="174" y="1382"/>
                  <a:pt x="179" y="1382"/>
                </a:cubicBezTo>
                <a:cubicBezTo>
                  <a:pt x="184" y="1383"/>
                  <a:pt x="189" y="1384"/>
                  <a:pt x="194" y="1387"/>
                </a:cubicBezTo>
                <a:cubicBezTo>
                  <a:pt x="198" y="1390"/>
                  <a:pt x="203" y="1393"/>
                  <a:pt x="207" y="1397"/>
                </a:cubicBezTo>
                <a:lnTo>
                  <a:pt x="209" y="1400"/>
                </a:lnTo>
                <a:close/>
                <a:moveTo>
                  <a:pt x="194" y="1408"/>
                </a:moveTo>
                <a:cubicBezTo>
                  <a:pt x="188" y="1402"/>
                  <a:pt x="181" y="1398"/>
                  <a:pt x="175" y="1397"/>
                </a:cubicBezTo>
                <a:cubicBezTo>
                  <a:pt x="168" y="1397"/>
                  <a:pt x="162" y="1399"/>
                  <a:pt x="157" y="1405"/>
                </a:cubicBezTo>
                <a:cubicBezTo>
                  <a:pt x="154" y="1408"/>
                  <a:pt x="152" y="1411"/>
                  <a:pt x="151" y="1414"/>
                </a:cubicBezTo>
                <a:cubicBezTo>
                  <a:pt x="149" y="1418"/>
                  <a:pt x="149" y="1421"/>
                  <a:pt x="149" y="1424"/>
                </a:cubicBezTo>
                <a:cubicBezTo>
                  <a:pt x="150" y="1428"/>
                  <a:pt x="151" y="1431"/>
                  <a:pt x="152" y="1434"/>
                </a:cubicBezTo>
                <a:cubicBezTo>
                  <a:pt x="154" y="1437"/>
                  <a:pt x="156" y="1440"/>
                  <a:pt x="158" y="1443"/>
                </a:cubicBezTo>
                <a:lnTo>
                  <a:pt x="194" y="1408"/>
                </a:lnTo>
                <a:close/>
                <a:moveTo>
                  <a:pt x="305" y="1354"/>
                </a:moveTo>
                <a:cubicBezTo>
                  <a:pt x="306" y="1355"/>
                  <a:pt x="306" y="1356"/>
                  <a:pt x="307" y="1356"/>
                </a:cubicBezTo>
                <a:cubicBezTo>
                  <a:pt x="308" y="1357"/>
                  <a:pt x="308" y="1358"/>
                  <a:pt x="308" y="1358"/>
                </a:cubicBezTo>
                <a:cubicBezTo>
                  <a:pt x="309" y="1359"/>
                  <a:pt x="309" y="1359"/>
                  <a:pt x="309" y="1360"/>
                </a:cubicBezTo>
                <a:cubicBezTo>
                  <a:pt x="309" y="1360"/>
                  <a:pt x="309" y="1361"/>
                  <a:pt x="309" y="1362"/>
                </a:cubicBezTo>
                <a:cubicBezTo>
                  <a:pt x="309" y="1363"/>
                  <a:pt x="309" y="1365"/>
                  <a:pt x="308" y="1368"/>
                </a:cubicBezTo>
                <a:cubicBezTo>
                  <a:pt x="308" y="1370"/>
                  <a:pt x="307" y="1372"/>
                  <a:pt x="306" y="1375"/>
                </a:cubicBezTo>
                <a:cubicBezTo>
                  <a:pt x="305" y="1377"/>
                  <a:pt x="303" y="1380"/>
                  <a:pt x="302" y="1382"/>
                </a:cubicBezTo>
                <a:cubicBezTo>
                  <a:pt x="300" y="1385"/>
                  <a:pt x="298" y="1387"/>
                  <a:pt x="296" y="1389"/>
                </a:cubicBezTo>
                <a:cubicBezTo>
                  <a:pt x="291" y="1394"/>
                  <a:pt x="286" y="1397"/>
                  <a:pt x="281" y="1400"/>
                </a:cubicBezTo>
                <a:cubicBezTo>
                  <a:pt x="276" y="1402"/>
                  <a:pt x="271" y="1402"/>
                  <a:pt x="265" y="1402"/>
                </a:cubicBezTo>
                <a:cubicBezTo>
                  <a:pt x="260" y="1401"/>
                  <a:pt x="255" y="1400"/>
                  <a:pt x="249" y="1397"/>
                </a:cubicBezTo>
                <a:cubicBezTo>
                  <a:pt x="243" y="1394"/>
                  <a:pt x="238" y="1389"/>
                  <a:pt x="232" y="1384"/>
                </a:cubicBezTo>
                <a:cubicBezTo>
                  <a:pt x="226" y="1377"/>
                  <a:pt x="221" y="1371"/>
                  <a:pt x="218" y="1365"/>
                </a:cubicBezTo>
                <a:cubicBezTo>
                  <a:pt x="215" y="1359"/>
                  <a:pt x="214" y="1353"/>
                  <a:pt x="213" y="1347"/>
                </a:cubicBezTo>
                <a:cubicBezTo>
                  <a:pt x="213" y="1342"/>
                  <a:pt x="214" y="1336"/>
                  <a:pt x="216" y="1331"/>
                </a:cubicBezTo>
                <a:cubicBezTo>
                  <a:pt x="219" y="1326"/>
                  <a:pt x="222" y="1321"/>
                  <a:pt x="226" y="1317"/>
                </a:cubicBezTo>
                <a:cubicBezTo>
                  <a:pt x="228" y="1315"/>
                  <a:pt x="230" y="1313"/>
                  <a:pt x="233" y="1312"/>
                </a:cubicBezTo>
                <a:cubicBezTo>
                  <a:pt x="235" y="1310"/>
                  <a:pt x="237" y="1309"/>
                  <a:pt x="240" y="1308"/>
                </a:cubicBezTo>
                <a:cubicBezTo>
                  <a:pt x="242" y="1307"/>
                  <a:pt x="244" y="1306"/>
                  <a:pt x="246" y="1306"/>
                </a:cubicBezTo>
                <a:cubicBezTo>
                  <a:pt x="248" y="1305"/>
                  <a:pt x="250" y="1305"/>
                  <a:pt x="251" y="1305"/>
                </a:cubicBezTo>
                <a:cubicBezTo>
                  <a:pt x="252" y="1305"/>
                  <a:pt x="253" y="1305"/>
                  <a:pt x="253" y="1305"/>
                </a:cubicBezTo>
                <a:cubicBezTo>
                  <a:pt x="254" y="1305"/>
                  <a:pt x="255" y="1306"/>
                  <a:pt x="255" y="1306"/>
                </a:cubicBezTo>
                <a:cubicBezTo>
                  <a:pt x="256" y="1306"/>
                  <a:pt x="256" y="1307"/>
                  <a:pt x="257" y="1307"/>
                </a:cubicBezTo>
                <a:cubicBezTo>
                  <a:pt x="258" y="1308"/>
                  <a:pt x="258" y="1308"/>
                  <a:pt x="259" y="1309"/>
                </a:cubicBezTo>
                <a:cubicBezTo>
                  <a:pt x="261" y="1311"/>
                  <a:pt x="262" y="1313"/>
                  <a:pt x="263" y="1314"/>
                </a:cubicBezTo>
                <a:cubicBezTo>
                  <a:pt x="263" y="1315"/>
                  <a:pt x="263" y="1316"/>
                  <a:pt x="262" y="1316"/>
                </a:cubicBezTo>
                <a:cubicBezTo>
                  <a:pt x="261" y="1317"/>
                  <a:pt x="260" y="1318"/>
                  <a:pt x="258" y="1318"/>
                </a:cubicBezTo>
                <a:cubicBezTo>
                  <a:pt x="257" y="1318"/>
                  <a:pt x="255" y="1318"/>
                  <a:pt x="252" y="1319"/>
                </a:cubicBezTo>
                <a:cubicBezTo>
                  <a:pt x="250" y="1319"/>
                  <a:pt x="247" y="1320"/>
                  <a:pt x="244" y="1321"/>
                </a:cubicBezTo>
                <a:cubicBezTo>
                  <a:pt x="242" y="1323"/>
                  <a:pt x="239" y="1325"/>
                  <a:pt x="236" y="1327"/>
                </a:cubicBezTo>
                <a:cubicBezTo>
                  <a:pt x="230" y="1333"/>
                  <a:pt x="228" y="1340"/>
                  <a:pt x="229" y="1347"/>
                </a:cubicBezTo>
                <a:cubicBezTo>
                  <a:pt x="231" y="1354"/>
                  <a:pt x="236" y="1362"/>
                  <a:pt x="244" y="1371"/>
                </a:cubicBezTo>
                <a:cubicBezTo>
                  <a:pt x="248" y="1375"/>
                  <a:pt x="252" y="1378"/>
                  <a:pt x="256" y="1380"/>
                </a:cubicBezTo>
                <a:cubicBezTo>
                  <a:pt x="260" y="1383"/>
                  <a:pt x="264" y="1384"/>
                  <a:pt x="267" y="1385"/>
                </a:cubicBezTo>
                <a:cubicBezTo>
                  <a:pt x="271" y="1385"/>
                  <a:pt x="275" y="1385"/>
                  <a:pt x="278" y="1384"/>
                </a:cubicBezTo>
                <a:cubicBezTo>
                  <a:pt x="281" y="1383"/>
                  <a:pt x="284" y="1381"/>
                  <a:pt x="287" y="1378"/>
                </a:cubicBezTo>
                <a:cubicBezTo>
                  <a:pt x="290" y="1375"/>
                  <a:pt x="292" y="1372"/>
                  <a:pt x="293" y="1369"/>
                </a:cubicBezTo>
                <a:cubicBezTo>
                  <a:pt x="294" y="1366"/>
                  <a:pt x="295" y="1364"/>
                  <a:pt x="295" y="1361"/>
                </a:cubicBezTo>
                <a:cubicBezTo>
                  <a:pt x="296" y="1359"/>
                  <a:pt x="296" y="1356"/>
                  <a:pt x="296" y="1354"/>
                </a:cubicBezTo>
                <a:cubicBezTo>
                  <a:pt x="297" y="1353"/>
                  <a:pt x="297" y="1351"/>
                  <a:pt x="298" y="1351"/>
                </a:cubicBezTo>
                <a:cubicBezTo>
                  <a:pt x="298" y="1350"/>
                  <a:pt x="298" y="1350"/>
                  <a:pt x="299" y="1350"/>
                </a:cubicBezTo>
                <a:cubicBezTo>
                  <a:pt x="299" y="1350"/>
                  <a:pt x="300" y="1350"/>
                  <a:pt x="300" y="1351"/>
                </a:cubicBezTo>
                <a:cubicBezTo>
                  <a:pt x="301" y="1351"/>
                  <a:pt x="302" y="1351"/>
                  <a:pt x="302" y="1352"/>
                </a:cubicBezTo>
                <a:cubicBezTo>
                  <a:pt x="303" y="1353"/>
                  <a:pt x="304" y="1353"/>
                  <a:pt x="305" y="1354"/>
                </a:cubicBezTo>
                <a:close/>
                <a:moveTo>
                  <a:pt x="365" y="1304"/>
                </a:moveTo>
                <a:cubicBezTo>
                  <a:pt x="366" y="1306"/>
                  <a:pt x="367" y="1307"/>
                  <a:pt x="368" y="1308"/>
                </a:cubicBezTo>
                <a:cubicBezTo>
                  <a:pt x="369" y="1309"/>
                  <a:pt x="369" y="1310"/>
                  <a:pt x="369" y="1311"/>
                </a:cubicBezTo>
                <a:cubicBezTo>
                  <a:pt x="369" y="1311"/>
                  <a:pt x="369" y="1312"/>
                  <a:pt x="368" y="1313"/>
                </a:cubicBezTo>
                <a:cubicBezTo>
                  <a:pt x="368" y="1315"/>
                  <a:pt x="367" y="1316"/>
                  <a:pt x="367" y="1317"/>
                </a:cubicBezTo>
                <a:cubicBezTo>
                  <a:pt x="366" y="1318"/>
                  <a:pt x="365" y="1319"/>
                  <a:pt x="364" y="1321"/>
                </a:cubicBezTo>
                <a:cubicBezTo>
                  <a:pt x="363" y="1322"/>
                  <a:pt x="362" y="1323"/>
                  <a:pt x="361" y="1324"/>
                </a:cubicBezTo>
                <a:cubicBezTo>
                  <a:pt x="358" y="1327"/>
                  <a:pt x="354" y="1330"/>
                  <a:pt x="351" y="1331"/>
                </a:cubicBezTo>
                <a:cubicBezTo>
                  <a:pt x="348" y="1333"/>
                  <a:pt x="344" y="1333"/>
                  <a:pt x="341" y="1333"/>
                </a:cubicBezTo>
                <a:cubicBezTo>
                  <a:pt x="338" y="1333"/>
                  <a:pt x="334" y="1332"/>
                  <a:pt x="331" y="1330"/>
                </a:cubicBezTo>
                <a:cubicBezTo>
                  <a:pt x="327" y="1328"/>
                  <a:pt x="324" y="1325"/>
                  <a:pt x="320" y="1321"/>
                </a:cubicBezTo>
                <a:lnTo>
                  <a:pt x="282" y="1283"/>
                </a:lnTo>
                <a:lnTo>
                  <a:pt x="273" y="1292"/>
                </a:lnTo>
                <a:cubicBezTo>
                  <a:pt x="273" y="1293"/>
                  <a:pt x="272" y="1293"/>
                  <a:pt x="270" y="1293"/>
                </a:cubicBezTo>
                <a:cubicBezTo>
                  <a:pt x="269" y="1293"/>
                  <a:pt x="268" y="1292"/>
                  <a:pt x="266" y="1290"/>
                </a:cubicBezTo>
                <a:cubicBezTo>
                  <a:pt x="265" y="1289"/>
                  <a:pt x="264" y="1288"/>
                  <a:pt x="264" y="1287"/>
                </a:cubicBezTo>
                <a:cubicBezTo>
                  <a:pt x="263" y="1287"/>
                  <a:pt x="263" y="1286"/>
                  <a:pt x="263" y="1285"/>
                </a:cubicBezTo>
                <a:cubicBezTo>
                  <a:pt x="263" y="1285"/>
                  <a:pt x="263" y="1284"/>
                  <a:pt x="263" y="1284"/>
                </a:cubicBezTo>
                <a:cubicBezTo>
                  <a:pt x="263" y="1283"/>
                  <a:pt x="263" y="1283"/>
                  <a:pt x="264" y="1282"/>
                </a:cubicBezTo>
                <a:lnTo>
                  <a:pt x="273" y="1273"/>
                </a:lnTo>
                <a:lnTo>
                  <a:pt x="257" y="1258"/>
                </a:lnTo>
                <a:cubicBezTo>
                  <a:pt x="257" y="1258"/>
                  <a:pt x="257" y="1257"/>
                  <a:pt x="256" y="1257"/>
                </a:cubicBezTo>
                <a:cubicBezTo>
                  <a:pt x="256" y="1256"/>
                  <a:pt x="256" y="1256"/>
                  <a:pt x="257" y="1255"/>
                </a:cubicBezTo>
                <a:cubicBezTo>
                  <a:pt x="257" y="1255"/>
                  <a:pt x="257" y="1254"/>
                  <a:pt x="258" y="1253"/>
                </a:cubicBezTo>
                <a:cubicBezTo>
                  <a:pt x="259" y="1252"/>
                  <a:pt x="260" y="1251"/>
                  <a:pt x="261" y="1250"/>
                </a:cubicBezTo>
                <a:cubicBezTo>
                  <a:pt x="262" y="1249"/>
                  <a:pt x="263" y="1248"/>
                  <a:pt x="264" y="1247"/>
                </a:cubicBezTo>
                <a:cubicBezTo>
                  <a:pt x="265" y="1246"/>
                  <a:pt x="265" y="1246"/>
                  <a:pt x="266" y="1246"/>
                </a:cubicBezTo>
                <a:cubicBezTo>
                  <a:pt x="267" y="1246"/>
                  <a:pt x="267" y="1245"/>
                  <a:pt x="268" y="1246"/>
                </a:cubicBezTo>
                <a:cubicBezTo>
                  <a:pt x="268" y="1246"/>
                  <a:pt x="269" y="1246"/>
                  <a:pt x="269" y="1246"/>
                </a:cubicBezTo>
                <a:lnTo>
                  <a:pt x="284" y="1262"/>
                </a:lnTo>
                <a:lnTo>
                  <a:pt x="301" y="1245"/>
                </a:lnTo>
                <a:cubicBezTo>
                  <a:pt x="301" y="1245"/>
                  <a:pt x="302" y="1244"/>
                  <a:pt x="302" y="1244"/>
                </a:cubicBezTo>
                <a:cubicBezTo>
                  <a:pt x="303" y="1244"/>
                  <a:pt x="303" y="1244"/>
                  <a:pt x="304" y="1244"/>
                </a:cubicBezTo>
                <a:cubicBezTo>
                  <a:pt x="304" y="1245"/>
                  <a:pt x="305" y="1245"/>
                  <a:pt x="306" y="1245"/>
                </a:cubicBezTo>
                <a:cubicBezTo>
                  <a:pt x="307" y="1246"/>
                  <a:pt x="307" y="1247"/>
                  <a:pt x="308" y="1248"/>
                </a:cubicBezTo>
                <a:cubicBezTo>
                  <a:pt x="310" y="1249"/>
                  <a:pt x="311" y="1251"/>
                  <a:pt x="311" y="1252"/>
                </a:cubicBezTo>
                <a:cubicBezTo>
                  <a:pt x="312" y="1253"/>
                  <a:pt x="311" y="1254"/>
                  <a:pt x="311" y="1255"/>
                </a:cubicBezTo>
                <a:lnTo>
                  <a:pt x="294" y="1271"/>
                </a:lnTo>
                <a:lnTo>
                  <a:pt x="330" y="1307"/>
                </a:lnTo>
                <a:cubicBezTo>
                  <a:pt x="335" y="1312"/>
                  <a:pt x="339" y="1315"/>
                  <a:pt x="342" y="1316"/>
                </a:cubicBezTo>
                <a:cubicBezTo>
                  <a:pt x="346" y="1317"/>
                  <a:pt x="349" y="1315"/>
                  <a:pt x="353" y="1312"/>
                </a:cubicBezTo>
                <a:cubicBezTo>
                  <a:pt x="354" y="1311"/>
                  <a:pt x="355" y="1310"/>
                  <a:pt x="355" y="1309"/>
                </a:cubicBezTo>
                <a:cubicBezTo>
                  <a:pt x="356" y="1308"/>
                  <a:pt x="357" y="1307"/>
                  <a:pt x="357" y="1306"/>
                </a:cubicBezTo>
                <a:cubicBezTo>
                  <a:pt x="357" y="1305"/>
                  <a:pt x="358" y="1304"/>
                  <a:pt x="358" y="1303"/>
                </a:cubicBezTo>
                <a:cubicBezTo>
                  <a:pt x="358" y="1303"/>
                  <a:pt x="359" y="1302"/>
                  <a:pt x="359" y="1302"/>
                </a:cubicBezTo>
                <a:cubicBezTo>
                  <a:pt x="359" y="1301"/>
                  <a:pt x="360" y="1301"/>
                  <a:pt x="360" y="1301"/>
                </a:cubicBezTo>
                <a:cubicBezTo>
                  <a:pt x="360" y="1301"/>
                  <a:pt x="361" y="1301"/>
                  <a:pt x="361" y="1301"/>
                </a:cubicBezTo>
                <a:cubicBezTo>
                  <a:pt x="362" y="1302"/>
                  <a:pt x="362" y="1302"/>
                  <a:pt x="363" y="1302"/>
                </a:cubicBezTo>
                <a:cubicBezTo>
                  <a:pt x="363" y="1303"/>
                  <a:pt x="364" y="1304"/>
                  <a:pt x="365" y="1304"/>
                </a:cubicBezTo>
                <a:close/>
                <a:moveTo>
                  <a:pt x="359" y="1199"/>
                </a:moveTo>
                <a:cubicBezTo>
                  <a:pt x="360" y="1200"/>
                  <a:pt x="361" y="1201"/>
                  <a:pt x="361" y="1202"/>
                </a:cubicBezTo>
                <a:cubicBezTo>
                  <a:pt x="362" y="1203"/>
                  <a:pt x="363" y="1203"/>
                  <a:pt x="363" y="1204"/>
                </a:cubicBezTo>
                <a:cubicBezTo>
                  <a:pt x="363" y="1205"/>
                  <a:pt x="363" y="1205"/>
                  <a:pt x="363" y="1205"/>
                </a:cubicBezTo>
                <a:cubicBezTo>
                  <a:pt x="363" y="1206"/>
                  <a:pt x="363" y="1206"/>
                  <a:pt x="363" y="1207"/>
                </a:cubicBezTo>
                <a:cubicBezTo>
                  <a:pt x="362" y="1207"/>
                  <a:pt x="362" y="1207"/>
                  <a:pt x="361" y="1208"/>
                </a:cubicBezTo>
                <a:cubicBezTo>
                  <a:pt x="360" y="1208"/>
                  <a:pt x="359" y="1209"/>
                  <a:pt x="358" y="1209"/>
                </a:cubicBezTo>
                <a:cubicBezTo>
                  <a:pt x="357" y="1209"/>
                  <a:pt x="357" y="1210"/>
                  <a:pt x="355" y="1211"/>
                </a:cubicBezTo>
                <a:cubicBezTo>
                  <a:pt x="354" y="1211"/>
                  <a:pt x="353" y="1212"/>
                  <a:pt x="352" y="1213"/>
                </a:cubicBezTo>
                <a:cubicBezTo>
                  <a:pt x="351" y="1214"/>
                  <a:pt x="350" y="1216"/>
                  <a:pt x="350" y="1217"/>
                </a:cubicBezTo>
                <a:cubicBezTo>
                  <a:pt x="349" y="1219"/>
                  <a:pt x="348" y="1221"/>
                  <a:pt x="348" y="1223"/>
                </a:cubicBezTo>
                <a:cubicBezTo>
                  <a:pt x="348" y="1226"/>
                  <a:pt x="348" y="1229"/>
                  <a:pt x="349" y="1232"/>
                </a:cubicBezTo>
                <a:cubicBezTo>
                  <a:pt x="349" y="1235"/>
                  <a:pt x="350" y="1239"/>
                  <a:pt x="351" y="1243"/>
                </a:cubicBezTo>
                <a:lnTo>
                  <a:pt x="393" y="1286"/>
                </a:lnTo>
                <a:cubicBezTo>
                  <a:pt x="394" y="1286"/>
                  <a:pt x="394" y="1286"/>
                  <a:pt x="394" y="1287"/>
                </a:cubicBezTo>
                <a:cubicBezTo>
                  <a:pt x="394" y="1287"/>
                  <a:pt x="394" y="1288"/>
                  <a:pt x="394" y="1288"/>
                </a:cubicBezTo>
                <a:cubicBezTo>
                  <a:pt x="393" y="1289"/>
                  <a:pt x="393" y="1290"/>
                  <a:pt x="392" y="1291"/>
                </a:cubicBezTo>
                <a:cubicBezTo>
                  <a:pt x="392" y="1292"/>
                  <a:pt x="391" y="1293"/>
                  <a:pt x="390" y="1294"/>
                </a:cubicBezTo>
                <a:cubicBezTo>
                  <a:pt x="388" y="1295"/>
                  <a:pt x="387" y="1296"/>
                  <a:pt x="387" y="1297"/>
                </a:cubicBezTo>
                <a:cubicBezTo>
                  <a:pt x="386" y="1297"/>
                  <a:pt x="385" y="1298"/>
                  <a:pt x="384" y="1298"/>
                </a:cubicBezTo>
                <a:cubicBezTo>
                  <a:pt x="384" y="1298"/>
                  <a:pt x="383" y="1298"/>
                  <a:pt x="383" y="1298"/>
                </a:cubicBezTo>
                <a:cubicBezTo>
                  <a:pt x="382" y="1298"/>
                  <a:pt x="382" y="1298"/>
                  <a:pt x="381" y="1297"/>
                </a:cubicBezTo>
                <a:lnTo>
                  <a:pt x="317" y="1233"/>
                </a:lnTo>
                <a:cubicBezTo>
                  <a:pt x="316" y="1232"/>
                  <a:pt x="316" y="1232"/>
                  <a:pt x="316" y="1232"/>
                </a:cubicBezTo>
                <a:cubicBezTo>
                  <a:pt x="316" y="1231"/>
                  <a:pt x="316" y="1231"/>
                  <a:pt x="316" y="1230"/>
                </a:cubicBezTo>
                <a:cubicBezTo>
                  <a:pt x="316" y="1229"/>
                  <a:pt x="317" y="1229"/>
                  <a:pt x="317" y="1228"/>
                </a:cubicBezTo>
                <a:cubicBezTo>
                  <a:pt x="318" y="1227"/>
                  <a:pt x="319" y="1226"/>
                  <a:pt x="320" y="1225"/>
                </a:cubicBezTo>
                <a:cubicBezTo>
                  <a:pt x="321" y="1224"/>
                  <a:pt x="322" y="1223"/>
                  <a:pt x="323" y="1223"/>
                </a:cubicBezTo>
                <a:cubicBezTo>
                  <a:pt x="323" y="1222"/>
                  <a:pt x="324" y="1222"/>
                  <a:pt x="325" y="1222"/>
                </a:cubicBezTo>
                <a:cubicBezTo>
                  <a:pt x="325" y="1221"/>
                  <a:pt x="326" y="1221"/>
                  <a:pt x="326" y="1221"/>
                </a:cubicBezTo>
                <a:cubicBezTo>
                  <a:pt x="327" y="1222"/>
                  <a:pt x="327" y="1222"/>
                  <a:pt x="328" y="1222"/>
                </a:cubicBezTo>
                <a:lnTo>
                  <a:pt x="337" y="1232"/>
                </a:lnTo>
                <a:cubicBezTo>
                  <a:pt x="336" y="1227"/>
                  <a:pt x="336" y="1223"/>
                  <a:pt x="336" y="1220"/>
                </a:cubicBezTo>
                <a:cubicBezTo>
                  <a:pt x="336" y="1217"/>
                  <a:pt x="336" y="1214"/>
                  <a:pt x="336" y="1212"/>
                </a:cubicBezTo>
                <a:cubicBezTo>
                  <a:pt x="337" y="1210"/>
                  <a:pt x="337" y="1208"/>
                  <a:pt x="338" y="1206"/>
                </a:cubicBezTo>
                <a:cubicBezTo>
                  <a:pt x="339" y="1204"/>
                  <a:pt x="341" y="1203"/>
                  <a:pt x="342" y="1201"/>
                </a:cubicBezTo>
                <a:cubicBezTo>
                  <a:pt x="343" y="1201"/>
                  <a:pt x="343" y="1200"/>
                  <a:pt x="344" y="1199"/>
                </a:cubicBezTo>
                <a:cubicBezTo>
                  <a:pt x="345" y="1198"/>
                  <a:pt x="346" y="1198"/>
                  <a:pt x="347" y="1197"/>
                </a:cubicBezTo>
                <a:cubicBezTo>
                  <a:pt x="348" y="1196"/>
                  <a:pt x="349" y="1196"/>
                  <a:pt x="350" y="1195"/>
                </a:cubicBezTo>
                <a:cubicBezTo>
                  <a:pt x="351" y="1195"/>
                  <a:pt x="352" y="1195"/>
                  <a:pt x="352" y="1195"/>
                </a:cubicBezTo>
                <a:cubicBezTo>
                  <a:pt x="353" y="1195"/>
                  <a:pt x="353" y="1195"/>
                  <a:pt x="353" y="1195"/>
                </a:cubicBezTo>
                <a:cubicBezTo>
                  <a:pt x="354" y="1195"/>
                  <a:pt x="354" y="1195"/>
                  <a:pt x="355" y="1195"/>
                </a:cubicBezTo>
                <a:cubicBezTo>
                  <a:pt x="355" y="1196"/>
                  <a:pt x="356" y="1196"/>
                  <a:pt x="356" y="1197"/>
                </a:cubicBezTo>
                <a:cubicBezTo>
                  <a:pt x="357" y="1197"/>
                  <a:pt x="358" y="1198"/>
                  <a:pt x="359" y="1199"/>
                </a:cubicBezTo>
                <a:close/>
                <a:moveTo>
                  <a:pt x="450" y="1229"/>
                </a:moveTo>
                <a:cubicBezTo>
                  <a:pt x="450" y="1229"/>
                  <a:pt x="450" y="1230"/>
                  <a:pt x="451" y="1230"/>
                </a:cubicBezTo>
                <a:cubicBezTo>
                  <a:pt x="451" y="1231"/>
                  <a:pt x="451" y="1231"/>
                  <a:pt x="450" y="1232"/>
                </a:cubicBezTo>
                <a:cubicBezTo>
                  <a:pt x="450" y="1233"/>
                  <a:pt x="450" y="1233"/>
                  <a:pt x="449" y="1234"/>
                </a:cubicBezTo>
                <a:cubicBezTo>
                  <a:pt x="448" y="1235"/>
                  <a:pt x="447" y="1236"/>
                  <a:pt x="446" y="1237"/>
                </a:cubicBezTo>
                <a:cubicBezTo>
                  <a:pt x="445" y="1238"/>
                  <a:pt x="444" y="1239"/>
                  <a:pt x="443" y="1240"/>
                </a:cubicBezTo>
                <a:cubicBezTo>
                  <a:pt x="442" y="1241"/>
                  <a:pt x="442" y="1241"/>
                  <a:pt x="441" y="1241"/>
                </a:cubicBezTo>
                <a:cubicBezTo>
                  <a:pt x="440" y="1242"/>
                  <a:pt x="440" y="1242"/>
                  <a:pt x="439" y="1242"/>
                </a:cubicBezTo>
                <a:cubicBezTo>
                  <a:pt x="439" y="1242"/>
                  <a:pt x="438" y="1241"/>
                  <a:pt x="438" y="1241"/>
                </a:cubicBezTo>
                <a:lnTo>
                  <a:pt x="373" y="1176"/>
                </a:lnTo>
                <a:cubicBezTo>
                  <a:pt x="373" y="1176"/>
                  <a:pt x="373" y="1176"/>
                  <a:pt x="373" y="1175"/>
                </a:cubicBezTo>
                <a:cubicBezTo>
                  <a:pt x="373" y="1175"/>
                  <a:pt x="373" y="1174"/>
                  <a:pt x="373" y="1173"/>
                </a:cubicBezTo>
                <a:cubicBezTo>
                  <a:pt x="373" y="1173"/>
                  <a:pt x="374" y="1172"/>
                  <a:pt x="374" y="1171"/>
                </a:cubicBezTo>
                <a:cubicBezTo>
                  <a:pt x="375" y="1170"/>
                  <a:pt x="376" y="1169"/>
                  <a:pt x="377" y="1168"/>
                </a:cubicBezTo>
                <a:cubicBezTo>
                  <a:pt x="378" y="1167"/>
                  <a:pt x="379" y="1166"/>
                  <a:pt x="380" y="1165"/>
                </a:cubicBezTo>
                <a:cubicBezTo>
                  <a:pt x="381" y="1165"/>
                  <a:pt x="382" y="1164"/>
                  <a:pt x="382" y="1164"/>
                </a:cubicBezTo>
                <a:cubicBezTo>
                  <a:pt x="383" y="1164"/>
                  <a:pt x="384" y="1164"/>
                  <a:pt x="384" y="1164"/>
                </a:cubicBezTo>
                <a:cubicBezTo>
                  <a:pt x="384" y="1164"/>
                  <a:pt x="385" y="1164"/>
                  <a:pt x="385" y="1164"/>
                </a:cubicBezTo>
                <a:lnTo>
                  <a:pt x="450" y="1229"/>
                </a:lnTo>
                <a:close/>
                <a:moveTo>
                  <a:pt x="365" y="1141"/>
                </a:moveTo>
                <a:cubicBezTo>
                  <a:pt x="368" y="1144"/>
                  <a:pt x="369" y="1146"/>
                  <a:pt x="369" y="1148"/>
                </a:cubicBezTo>
                <a:cubicBezTo>
                  <a:pt x="369" y="1151"/>
                  <a:pt x="367" y="1153"/>
                  <a:pt x="365" y="1156"/>
                </a:cubicBezTo>
                <a:cubicBezTo>
                  <a:pt x="362" y="1159"/>
                  <a:pt x="359" y="1160"/>
                  <a:pt x="357" y="1160"/>
                </a:cubicBezTo>
                <a:cubicBezTo>
                  <a:pt x="355" y="1160"/>
                  <a:pt x="353" y="1159"/>
                  <a:pt x="350" y="1156"/>
                </a:cubicBezTo>
                <a:cubicBezTo>
                  <a:pt x="347" y="1153"/>
                  <a:pt x="346" y="1151"/>
                  <a:pt x="346" y="1149"/>
                </a:cubicBezTo>
                <a:cubicBezTo>
                  <a:pt x="346" y="1147"/>
                  <a:pt x="348" y="1144"/>
                  <a:pt x="350" y="1141"/>
                </a:cubicBezTo>
                <a:cubicBezTo>
                  <a:pt x="353" y="1139"/>
                  <a:pt x="356" y="1137"/>
                  <a:pt x="358" y="1137"/>
                </a:cubicBezTo>
                <a:cubicBezTo>
                  <a:pt x="360" y="1137"/>
                  <a:pt x="362" y="1138"/>
                  <a:pt x="365" y="1141"/>
                </a:cubicBezTo>
                <a:close/>
                <a:moveTo>
                  <a:pt x="509" y="1151"/>
                </a:moveTo>
                <a:cubicBezTo>
                  <a:pt x="509" y="1151"/>
                  <a:pt x="510" y="1152"/>
                  <a:pt x="511" y="1153"/>
                </a:cubicBezTo>
                <a:cubicBezTo>
                  <a:pt x="511" y="1153"/>
                  <a:pt x="512" y="1154"/>
                  <a:pt x="512" y="1155"/>
                </a:cubicBezTo>
                <a:cubicBezTo>
                  <a:pt x="512" y="1155"/>
                  <a:pt x="512" y="1156"/>
                  <a:pt x="513" y="1156"/>
                </a:cubicBezTo>
                <a:cubicBezTo>
                  <a:pt x="513" y="1157"/>
                  <a:pt x="513" y="1157"/>
                  <a:pt x="513" y="1159"/>
                </a:cubicBezTo>
                <a:cubicBezTo>
                  <a:pt x="513" y="1160"/>
                  <a:pt x="512" y="1162"/>
                  <a:pt x="512" y="1164"/>
                </a:cubicBezTo>
                <a:cubicBezTo>
                  <a:pt x="511" y="1166"/>
                  <a:pt x="511" y="1169"/>
                  <a:pt x="509" y="1171"/>
                </a:cubicBezTo>
                <a:cubicBezTo>
                  <a:pt x="508" y="1174"/>
                  <a:pt x="507" y="1176"/>
                  <a:pt x="505" y="1179"/>
                </a:cubicBezTo>
                <a:cubicBezTo>
                  <a:pt x="504" y="1181"/>
                  <a:pt x="502" y="1184"/>
                  <a:pt x="499" y="1186"/>
                </a:cubicBezTo>
                <a:cubicBezTo>
                  <a:pt x="495" y="1190"/>
                  <a:pt x="490" y="1194"/>
                  <a:pt x="485" y="1196"/>
                </a:cubicBezTo>
                <a:cubicBezTo>
                  <a:pt x="480" y="1198"/>
                  <a:pt x="474" y="1199"/>
                  <a:pt x="469" y="1198"/>
                </a:cubicBezTo>
                <a:cubicBezTo>
                  <a:pt x="464" y="1198"/>
                  <a:pt x="458" y="1196"/>
                  <a:pt x="453" y="1193"/>
                </a:cubicBezTo>
                <a:cubicBezTo>
                  <a:pt x="447" y="1190"/>
                  <a:pt x="442" y="1186"/>
                  <a:pt x="436" y="1180"/>
                </a:cubicBezTo>
                <a:cubicBezTo>
                  <a:pt x="430" y="1174"/>
                  <a:pt x="425" y="1167"/>
                  <a:pt x="422" y="1161"/>
                </a:cubicBezTo>
                <a:cubicBezTo>
                  <a:pt x="419" y="1155"/>
                  <a:pt x="417" y="1149"/>
                  <a:pt x="417" y="1144"/>
                </a:cubicBezTo>
                <a:cubicBezTo>
                  <a:pt x="417" y="1138"/>
                  <a:pt x="418" y="1133"/>
                  <a:pt x="420" y="1128"/>
                </a:cubicBezTo>
                <a:cubicBezTo>
                  <a:pt x="422" y="1122"/>
                  <a:pt x="426" y="1118"/>
                  <a:pt x="430" y="1114"/>
                </a:cubicBezTo>
                <a:cubicBezTo>
                  <a:pt x="432" y="1111"/>
                  <a:pt x="434" y="1110"/>
                  <a:pt x="436" y="1108"/>
                </a:cubicBezTo>
                <a:cubicBezTo>
                  <a:pt x="439" y="1107"/>
                  <a:pt x="441" y="1105"/>
                  <a:pt x="443" y="1104"/>
                </a:cubicBezTo>
                <a:cubicBezTo>
                  <a:pt x="445" y="1103"/>
                  <a:pt x="448" y="1103"/>
                  <a:pt x="450" y="1102"/>
                </a:cubicBezTo>
                <a:cubicBezTo>
                  <a:pt x="452" y="1102"/>
                  <a:pt x="453" y="1101"/>
                  <a:pt x="455" y="1101"/>
                </a:cubicBezTo>
                <a:cubicBezTo>
                  <a:pt x="456" y="1101"/>
                  <a:pt x="457" y="1101"/>
                  <a:pt x="457" y="1102"/>
                </a:cubicBezTo>
                <a:cubicBezTo>
                  <a:pt x="458" y="1102"/>
                  <a:pt x="458" y="1102"/>
                  <a:pt x="459" y="1102"/>
                </a:cubicBezTo>
                <a:cubicBezTo>
                  <a:pt x="459" y="1103"/>
                  <a:pt x="460" y="1103"/>
                  <a:pt x="461" y="1103"/>
                </a:cubicBezTo>
                <a:cubicBezTo>
                  <a:pt x="461" y="1104"/>
                  <a:pt x="462" y="1105"/>
                  <a:pt x="463" y="1106"/>
                </a:cubicBezTo>
                <a:cubicBezTo>
                  <a:pt x="465" y="1107"/>
                  <a:pt x="466" y="1109"/>
                  <a:pt x="466" y="1110"/>
                </a:cubicBezTo>
                <a:cubicBezTo>
                  <a:pt x="466" y="1111"/>
                  <a:pt x="466" y="1112"/>
                  <a:pt x="466" y="1113"/>
                </a:cubicBezTo>
                <a:cubicBezTo>
                  <a:pt x="465" y="1114"/>
                  <a:pt x="464" y="1114"/>
                  <a:pt x="462" y="1114"/>
                </a:cubicBezTo>
                <a:cubicBezTo>
                  <a:pt x="460" y="1114"/>
                  <a:pt x="458" y="1115"/>
                  <a:pt x="456" y="1115"/>
                </a:cubicBezTo>
                <a:cubicBezTo>
                  <a:pt x="453" y="1116"/>
                  <a:pt x="451" y="1116"/>
                  <a:pt x="448" y="1118"/>
                </a:cubicBezTo>
                <a:cubicBezTo>
                  <a:pt x="445" y="1119"/>
                  <a:pt x="442" y="1121"/>
                  <a:pt x="440" y="1124"/>
                </a:cubicBezTo>
                <a:cubicBezTo>
                  <a:pt x="434" y="1129"/>
                  <a:pt x="432" y="1136"/>
                  <a:pt x="433" y="1143"/>
                </a:cubicBezTo>
                <a:cubicBezTo>
                  <a:pt x="434" y="1151"/>
                  <a:pt x="439" y="1159"/>
                  <a:pt x="448" y="1167"/>
                </a:cubicBezTo>
                <a:cubicBezTo>
                  <a:pt x="452" y="1171"/>
                  <a:pt x="456" y="1174"/>
                  <a:pt x="460" y="1177"/>
                </a:cubicBezTo>
                <a:cubicBezTo>
                  <a:pt x="464" y="1179"/>
                  <a:pt x="467" y="1181"/>
                  <a:pt x="471" y="1181"/>
                </a:cubicBezTo>
                <a:cubicBezTo>
                  <a:pt x="475" y="1182"/>
                  <a:pt x="478" y="1181"/>
                  <a:pt x="481" y="1180"/>
                </a:cubicBezTo>
                <a:cubicBezTo>
                  <a:pt x="485" y="1179"/>
                  <a:pt x="488" y="1177"/>
                  <a:pt x="491" y="1174"/>
                </a:cubicBezTo>
                <a:cubicBezTo>
                  <a:pt x="493" y="1171"/>
                  <a:pt x="495" y="1169"/>
                  <a:pt x="497" y="1166"/>
                </a:cubicBezTo>
                <a:cubicBezTo>
                  <a:pt x="498" y="1163"/>
                  <a:pt x="499" y="1160"/>
                  <a:pt x="499" y="1157"/>
                </a:cubicBezTo>
                <a:cubicBezTo>
                  <a:pt x="500" y="1155"/>
                  <a:pt x="500" y="1153"/>
                  <a:pt x="500" y="1151"/>
                </a:cubicBezTo>
                <a:cubicBezTo>
                  <a:pt x="500" y="1149"/>
                  <a:pt x="501" y="1148"/>
                  <a:pt x="501" y="1147"/>
                </a:cubicBezTo>
                <a:cubicBezTo>
                  <a:pt x="502" y="1147"/>
                  <a:pt x="502" y="1147"/>
                  <a:pt x="502" y="1147"/>
                </a:cubicBezTo>
                <a:cubicBezTo>
                  <a:pt x="503" y="1147"/>
                  <a:pt x="503" y="1147"/>
                  <a:pt x="504" y="1147"/>
                </a:cubicBezTo>
                <a:cubicBezTo>
                  <a:pt x="505" y="1147"/>
                  <a:pt x="505" y="1148"/>
                  <a:pt x="506" y="1148"/>
                </a:cubicBezTo>
                <a:cubicBezTo>
                  <a:pt x="507" y="1149"/>
                  <a:pt x="508" y="1150"/>
                  <a:pt x="509" y="1151"/>
                </a:cubicBezTo>
                <a:close/>
                <a:moveTo>
                  <a:pt x="612" y="1060"/>
                </a:moveTo>
                <a:cubicBezTo>
                  <a:pt x="613" y="1061"/>
                  <a:pt x="614" y="1062"/>
                  <a:pt x="614" y="1062"/>
                </a:cubicBezTo>
                <a:cubicBezTo>
                  <a:pt x="615" y="1063"/>
                  <a:pt x="615" y="1064"/>
                  <a:pt x="615" y="1065"/>
                </a:cubicBezTo>
                <a:cubicBezTo>
                  <a:pt x="616" y="1065"/>
                  <a:pt x="616" y="1066"/>
                  <a:pt x="616" y="1066"/>
                </a:cubicBezTo>
                <a:cubicBezTo>
                  <a:pt x="615" y="1067"/>
                  <a:pt x="615" y="1067"/>
                  <a:pt x="615" y="1068"/>
                </a:cubicBezTo>
                <a:lnTo>
                  <a:pt x="570" y="1112"/>
                </a:lnTo>
                <a:cubicBezTo>
                  <a:pt x="569" y="1113"/>
                  <a:pt x="568" y="1114"/>
                  <a:pt x="566" y="1114"/>
                </a:cubicBezTo>
                <a:cubicBezTo>
                  <a:pt x="564" y="1115"/>
                  <a:pt x="562" y="1114"/>
                  <a:pt x="561" y="1112"/>
                </a:cubicBezTo>
                <a:lnTo>
                  <a:pt x="478" y="1029"/>
                </a:lnTo>
                <a:cubicBezTo>
                  <a:pt x="476" y="1027"/>
                  <a:pt x="475" y="1025"/>
                  <a:pt x="475" y="1024"/>
                </a:cubicBezTo>
                <a:cubicBezTo>
                  <a:pt x="476" y="1022"/>
                  <a:pt x="476" y="1020"/>
                  <a:pt x="477" y="1019"/>
                </a:cubicBezTo>
                <a:lnTo>
                  <a:pt x="521" y="975"/>
                </a:lnTo>
                <a:cubicBezTo>
                  <a:pt x="522" y="975"/>
                  <a:pt x="522" y="975"/>
                  <a:pt x="523" y="974"/>
                </a:cubicBezTo>
                <a:cubicBezTo>
                  <a:pt x="523" y="974"/>
                  <a:pt x="524" y="974"/>
                  <a:pt x="524" y="975"/>
                </a:cubicBezTo>
                <a:cubicBezTo>
                  <a:pt x="525" y="975"/>
                  <a:pt x="526" y="975"/>
                  <a:pt x="526" y="976"/>
                </a:cubicBezTo>
                <a:cubicBezTo>
                  <a:pt x="527" y="976"/>
                  <a:pt x="528" y="977"/>
                  <a:pt x="529" y="978"/>
                </a:cubicBezTo>
                <a:cubicBezTo>
                  <a:pt x="530" y="979"/>
                  <a:pt x="531" y="980"/>
                  <a:pt x="531" y="980"/>
                </a:cubicBezTo>
                <a:cubicBezTo>
                  <a:pt x="532" y="981"/>
                  <a:pt x="532" y="982"/>
                  <a:pt x="532" y="983"/>
                </a:cubicBezTo>
                <a:cubicBezTo>
                  <a:pt x="532" y="983"/>
                  <a:pt x="533" y="984"/>
                  <a:pt x="532" y="984"/>
                </a:cubicBezTo>
                <a:cubicBezTo>
                  <a:pt x="532" y="985"/>
                  <a:pt x="532" y="985"/>
                  <a:pt x="532" y="986"/>
                </a:cubicBezTo>
                <a:lnTo>
                  <a:pt x="495" y="1022"/>
                </a:lnTo>
                <a:lnTo>
                  <a:pt x="524" y="1051"/>
                </a:lnTo>
                <a:lnTo>
                  <a:pt x="556" y="1020"/>
                </a:lnTo>
                <a:cubicBezTo>
                  <a:pt x="556" y="1019"/>
                  <a:pt x="556" y="1019"/>
                  <a:pt x="557" y="1019"/>
                </a:cubicBezTo>
                <a:cubicBezTo>
                  <a:pt x="558" y="1019"/>
                  <a:pt x="558" y="1019"/>
                  <a:pt x="559" y="1019"/>
                </a:cubicBezTo>
                <a:cubicBezTo>
                  <a:pt x="559" y="1019"/>
                  <a:pt x="560" y="1020"/>
                  <a:pt x="561" y="1020"/>
                </a:cubicBezTo>
                <a:cubicBezTo>
                  <a:pt x="562" y="1021"/>
                  <a:pt x="562" y="1022"/>
                  <a:pt x="563" y="1023"/>
                </a:cubicBezTo>
                <a:cubicBezTo>
                  <a:pt x="564" y="1023"/>
                  <a:pt x="565" y="1024"/>
                  <a:pt x="565" y="1025"/>
                </a:cubicBezTo>
                <a:cubicBezTo>
                  <a:pt x="566" y="1026"/>
                  <a:pt x="566" y="1026"/>
                  <a:pt x="566" y="1027"/>
                </a:cubicBezTo>
                <a:cubicBezTo>
                  <a:pt x="567" y="1028"/>
                  <a:pt x="567" y="1028"/>
                  <a:pt x="566" y="1029"/>
                </a:cubicBezTo>
                <a:cubicBezTo>
                  <a:pt x="566" y="1029"/>
                  <a:pt x="566" y="1029"/>
                  <a:pt x="566" y="1030"/>
                </a:cubicBezTo>
                <a:lnTo>
                  <a:pt x="534" y="1061"/>
                </a:lnTo>
                <a:lnTo>
                  <a:pt x="568" y="1094"/>
                </a:lnTo>
                <a:lnTo>
                  <a:pt x="605" y="1057"/>
                </a:lnTo>
                <a:cubicBezTo>
                  <a:pt x="605" y="1057"/>
                  <a:pt x="605" y="1057"/>
                  <a:pt x="606" y="1057"/>
                </a:cubicBezTo>
                <a:cubicBezTo>
                  <a:pt x="606" y="1057"/>
                  <a:pt x="607" y="1057"/>
                  <a:pt x="608" y="1057"/>
                </a:cubicBezTo>
                <a:cubicBezTo>
                  <a:pt x="608" y="1057"/>
                  <a:pt x="609" y="1057"/>
                  <a:pt x="610" y="1058"/>
                </a:cubicBezTo>
                <a:cubicBezTo>
                  <a:pt x="610" y="1058"/>
                  <a:pt x="611" y="1059"/>
                  <a:pt x="612" y="1060"/>
                </a:cubicBezTo>
                <a:close/>
                <a:moveTo>
                  <a:pt x="686" y="993"/>
                </a:moveTo>
                <a:cubicBezTo>
                  <a:pt x="686" y="993"/>
                  <a:pt x="687" y="994"/>
                  <a:pt x="687" y="994"/>
                </a:cubicBezTo>
                <a:cubicBezTo>
                  <a:pt x="687" y="995"/>
                  <a:pt x="687" y="995"/>
                  <a:pt x="686" y="996"/>
                </a:cubicBezTo>
                <a:cubicBezTo>
                  <a:pt x="686" y="996"/>
                  <a:pt x="686" y="997"/>
                  <a:pt x="685" y="998"/>
                </a:cubicBezTo>
                <a:cubicBezTo>
                  <a:pt x="684" y="999"/>
                  <a:pt x="684" y="1000"/>
                  <a:pt x="682" y="1001"/>
                </a:cubicBezTo>
                <a:cubicBezTo>
                  <a:pt x="681" y="1002"/>
                  <a:pt x="680" y="1003"/>
                  <a:pt x="679" y="1004"/>
                </a:cubicBezTo>
                <a:cubicBezTo>
                  <a:pt x="678" y="1004"/>
                  <a:pt x="678" y="1005"/>
                  <a:pt x="677" y="1005"/>
                </a:cubicBezTo>
                <a:cubicBezTo>
                  <a:pt x="676" y="1005"/>
                  <a:pt x="676" y="1006"/>
                  <a:pt x="675" y="1005"/>
                </a:cubicBezTo>
                <a:cubicBezTo>
                  <a:pt x="675" y="1005"/>
                  <a:pt x="675" y="1005"/>
                  <a:pt x="674" y="1005"/>
                </a:cubicBezTo>
                <a:lnTo>
                  <a:pt x="636" y="967"/>
                </a:lnTo>
                <a:cubicBezTo>
                  <a:pt x="633" y="963"/>
                  <a:pt x="629" y="961"/>
                  <a:pt x="627" y="959"/>
                </a:cubicBezTo>
                <a:cubicBezTo>
                  <a:pt x="624" y="957"/>
                  <a:pt x="621" y="956"/>
                  <a:pt x="618" y="956"/>
                </a:cubicBezTo>
                <a:cubicBezTo>
                  <a:pt x="615" y="955"/>
                  <a:pt x="613" y="955"/>
                  <a:pt x="610" y="956"/>
                </a:cubicBezTo>
                <a:cubicBezTo>
                  <a:pt x="608" y="957"/>
                  <a:pt x="605" y="959"/>
                  <a:pt x="603" y="961"/>
                </a:cubicBezTo>
                <a:cubicBezTo>
                  <a:pt x="600" y="964"/>
                  <a:pt x="598" y="968"/>
                  <a:pt x="597" y="973"/>
                </a:cubicBezTo>
                <a:cubicBezTo>
                  <a:pt x="596" y="978"/>
                  <a:pt x="596" y="984"/>
                  <a:pt x="597" y="992"/>
                </a:cubicBezTo>
                <a:lnTo>
                  <a:pt x="642" y="1037"/>
                </a:lnTo>
                <a:cubicBezTo>
                  <a:pt x="643" y="1037"/>
                  <a:pt x="643" y="1038"/>
                  <a:pt x="643" y="1038"/>
                </a:cubicBezTo>
                <a:cubicBezTo>
                  <a:pt x="643" y="1038"/>
                  <a:pt x="643" y="1039"/>
                  <a:pt x="643" y="1040"/>
                </a:cubicBezTo>
                <a:cubicBezTo>
                  <a:pt x="642" y="1040"/>
                  <a:pt x="642" y="1041"/>
                  <a:pt x="641" y="1042"/>
                </a:cubicBezTo>
                <a:cubicBezTo>
                  <a:pt x="641" y="1043"/>
                  <a:pt x="640" y="1044"/>
                  <a:pt x="638" y="1045"/>
                </a:cubicBezTo>
                <a:cubicBezTo>
                  <a:pt x="637" y="1046"/>
                  <a:pt x="636" y="1047"/>
                  <a:pt x="635" y="1048"/>
                </a:cubicBezTo>
                <a:cubicBezTo>
                  <a:pt x="635" y="1048"/>
                  <a:pt x="634" y="1049"/>
                  <a:pt x="633" y="1049"/>
                </a:cubicBezTo>
                <a:cubicBezTo>
                  <a:pt x="633" y="1049"/>
                  <a:pt x="632" y="1049"/>
                  <a:pt x="632" y="1049"/>
                </a:cubicBezTo>
                <a:cubicBezTo>
                  <a:pt x="631" y="1049"/>
                  <a:pt x="631" y="1049"/>
                  <a:pt x="630" y="1049"/>
                </a:cubicBezTo>
                <a:lnTo>
                  <a:pt x="566" y="984"/>
                </a:lnTo>
                <a:cubicBezTo>
                  <a:pt x="565" y="984"/>
                  <a:pt x="565" y="983"/>
                  <a:pt x="565" y="983"/>
                </a:cubicBezTo>
                <a:cubicBezTo>
                  <a:pt x="565" y="982"/>
                  <a:pt x="565" y="982"/>
                  <a:pt x="565" y="981"/>
                </a:cubicBezTo>
                <a:cubicBezTo>
                  <a:pt x="565" y="981"/>
                  <a:pt x="566" y="980"/>
                  <a:pt x="566" y="979"/>
                </a:cubicBezTo>
                <a:cubicBezTo>
                  <a:pt x="567" y="978"/>
                  <a:pt x="568" y="977"/>
                  <a:pt x="569" y="976"/>
                </a:cubicBezTo>
                <a:cubicBezTo>
                  <a:pt x="570" y="975"/>
                  <a:pt x="571" y="974"/>
                  <a:pt x="572" y="974"/>
                </a:cubicBezTo>
                <a:cubicBezTo>
                  <a:pt x="572" y="973"/>
                  <a:pt x="573" y="973"/>
                  <a:pt x="574" y="973"/>
                </a:cubicBezTo>
                <a:cubicBezTo>
                  <a:pt x="574" y="972"/>
                  <a:pt x="575" y="972"/>
                  <a:pt x="575" y="973"/>
                </a:cubicBezTo>
                <a:cubicBezTo>
                  <a:pt x="576" y="973"/>
                  <a:pt x="576" y="973"/>
                  <a:pt x="576" y="973"/>
                </a:cubicBezTo>
                <a:lnTo>
                  <a:pt x="585" y="982"/>
                </a:lnTo>
                <a:cubicBezTo>
                  <a:pt x="585" y="974"/>
                  <a:pt x="585" y="967"/>
                  <a:pt x="587" y="962"/>
                </a:cubicBezTo>
                <a:cubicBezTo>
                  <a:pt x="589" y="956"/>
                  <a:pt x="591" y="952"/>
                  <a:pt x="595" y="948"/>
                </a:cubicBezTo>
                <a:cubicBezTo>
                  <a:pt x="599" y="944"/>
                  <a:pt x="604" y="941"/>
                  <a:pt x="608" y="939"/>
                </a:cubicBezTo>
                <a:cubicBezTo>
                  <a:pt x="613" y="938"/>
                  <a:pt x="617" y="938"/>
                  <a:pt x="621" y="938"/>
                </a:cubicBezTo>
                <a:cubicBezTo>
                  <a:pt x="625" y="939"/>
                  <a:pt x="630" y="940"/>
                  <a:pt x="634" y="943"/>
                </a:cubicBezTo>
                <a:cubicBezTo>
                  <a:pt x="638" y="945"/>
                  <a:pt x="642" y="949"/>
                  <a:pt x="647" y="953"/>
                </a:cubicBezTo>
                <a:lnTo>
                  <a:pt x="686" y="993"/>
                </a:lnTo>
                <a:close/>
                <a:moveTo>
                  <a:pt x="730" y="879"/>
                </a:moveTo>
                <a:cubicBezTo>
                  <a:pt x="731" y="881"/>
                  <a:pt x="732" y="883"/>
                  <a:pt x="732" y="884"/>
                </a:cubicBezTo>
                <a:cubicBezTo>
                  <a:pt x="732" y="886"/>
                  <a:pt x="731" y="888"/>
                  <a:pt x="730" y="889"/>
                </a:cubicBezTo>
                <a:lnTo>
                  <a:pt x="688" y="931"/>
                </a:lnTo>
                <a:cubicBezTo>
                  <a:pt x="691" y="935"/>
                  <a:pt x="695" y="938"/>
                  <a:pt x="698" y="940"/>
                </a:cubicBezTo>
                <a:cubicBezTo>
                  <a:pt x="702" y="942"/>
                  <a:pt x="706" y="943"/>
                  <a:pt x="709" y="944"/>
                </a:cubicBezTo>
                <a:cubicBezTo>
                  <a:pt x="713" y="944"/>
                  <a:pt x="717" y="944"/>
                  <a:pt x="721" y="942"/>
                </a:cubicBezTo>
                <a:cubicBezTo>
                  <a:pt x="724" y="940"/>
                  <a:pt x="728" y="938"/>
                  <a:pt x="732" y="934"/>
                </a:cubicBezTo>
                <a:cubicBezTo>
                  <a:pt x="735" y="931"/>
                  <a:pt x="738" y="928"/>
                  <a:pt x="740" y="925"/>
                </a:cubicBezTo>
                <a:cubicBezTo>
                  <a:pt x="742" y="922"/>
                  <a:pt x="743" y="919"/>
                  <a:pt x="744" y="917"/>
                </a:cubicBezTo>
                <a:cubicBezTo>
                  <a:pt x="745" y="914"/>
                  <a:pt x="746" y="912"/>
                  <a:pt x="747" y="911"/>
                </a:cubicBezTo>
                <a:cubicBezTo>
                  <a:pt x="748" y="909"/>
                  <a:pt x="748" y="908"/>
                  <a:pt x="749" y="908"/>
                </a:cubicBezTo>
                <a:cubicBezTo>
                  <a:pt x="749" y="907"/>
                  <a:pt x="749" y="907"/>
                  <a:pt x="750" y="907"/>
                </a:cubicBezTo>
                <a:cubicBezTo>
                  <a:pt x="750" y="907"/>
                  <a:pt x="751" y="907"/>
                  <a:pt x="751" y="907"/>
                </a:cubicBezTo>
                <a:cubicBezTo>
                  <a:pt x="752" y="907"/>
                  <a:pt x="752" y="908"/>
                  <a:pt x="753" y="908"/>
                </a:cubicBezTo>
                <a:cubicBezTo>
                  <a:pt x="754" y="909"/>
                  <a:pt x="754" y="909"/>
                  <a:pt x="755" y="910"/>
                </a:cubicBezTo>
                <a:cubicBezTo>
                  <a:pt x="756" y="911"/>
                  <a:pt x="756" y="911"/>
                  <a:pt x="757" y="912"/>
                </a:cubicBezTo>
                <a:cubicBezTo>
                  <a:pt x="757" y="912"/>
                  <a:pt x="758" y="913"/>
                  <a:pt x="758" y="913"/>
                </a:cubicBezTo>
                <a:cubicBezTo>
                  <a:pt x="758" y="914"/>
                  <a:pt x="758" y="914"/>
                  <a:pt x="758" y="915"/>
                </a:cubicBezTo>
                <a:cubicBezTo>
                  <a:pt x="759" y="915"/>
                  <a:pt x="759" y="916"/>
                  <a:pt x="759" y="916"/>
                </a:cubicBezTo>
                <a:cubicBezTo>
                  <a:pt x="759" y="917"/>
                  <a:pt x="758" y="918"/>
                  <a:pt x="758" y="920"/>
                </a:cubicBezTo>
                <a:cubicBezTo>
                  <a:pt x="757" y="922"/>
                  <a:pt x="756" y="924"/>
                  <a:pt x="754" y="926"/>
                </a:cubicBezTo>
                <a:cubicBezTo>
                  <a:pt x="753" y="929"/>
                  <a:pt x="751" y="932"/>
                  <a:pt x="749" y="935"/>
                </a:cubicBezTo>
                <a:cubicBezTo>
                  <a:pt x="746" y="938"/>
                  <a:pt x="744" y="941"/>
                  <a:pt x="741" y="945"/>
                </a:cubicBezTo>
                <a:cubicBezTo>
                  <a:pt x="735" y="950"/>
                  <a:pt x="730" y="954"/>
                  <a:pt x="725" y="956"/>
                </a:cubicBezTo>
                <a:cubicBezTo>
                  <a:pt x="719" y="959"/>
                  <a:pt x="713" y="960"/>
                  <a:pt x="708" y="960"/>
                </a:cubicBezTo>
                <a:cubicBezTo>
                  <a:pt x="702" y="960"/>
                  <a:pt x="696" y="958"/>
                  <a:pt x="691" y="955"/>
                </a:cubicBezTo>
                <a:cubicBezTo>
                  <a:pt x="685" y="952"/>
                  <a:pt x="679" y="947"/>
                  <a:pt x="673" y="942"/>
                </a:cubicBezTo>
                <a:cubicBezTo>
                  <a:pt x="668" y="936"/>
                  <a:pt x="663" y="930"/>
                  <a:pt x="660" y="925"/>
                </a:cubicBezTo>
                <a:cubicBezTo>
                  <a:pt x="657" y="919"/>
                  <a:pt x="656" y="913"/>
                  <a:pt x="655" y="907"/>
                </a:cubicBezTo>
                <a:cubicBezTo>
                  <a:pt x="655" y="901"/>
                  <a:pt x="656" y="896"/>
                  <a:pt x="658" y="890"/>
                </a:cubicBezTo>
                <a:cubicBezTo>
                  <a:pt x="660" y="885"/>
                  <a:pt x="664" y="880"/>
                  <a:pt x="668" y="875"/>
                </a:cubicBezTo>
                <a:cubicBezTo>
                  <a:pt x="673" y="870"/>
                  <a:pt x="679" y="866"/>
                  <a:pt x="684" y="864"/>
                </a:cubicBezTo>
                <a:cubicBezTo>
                  <a:pt x="689" y="862"/>
                  <a:pt x="694" y="862"/>
                  <a:pt x="699" y="862"/>
                </a:cubicBezTo>
                <a:cubicBezTo>
                  <a:pt x="704" y="862"/>
                  <a:pt x="709" y="864"/>
                  <a:pt x="714" y="867"/>
                </a:cubicBezTo>
                <a:cubicBezTo>
                  <a:pt x="719" y="869"/>
                  <a:pt x="723" y="873"/>
                  <a:pt x="727" y="877"/>
                </a:cubicBezTo>
                <a:lnTo>
                  <a:pt x="730" y="879"/>
                </a:lnTo>
                <a:close/>
                <a:moveTo>
                  <a:pt x="714" y="887"/>
                </a:moveTo>
                <a:cubicBezTo>
                  <a:pt x="708" y="881"/>
                  <a:pt x="702" y="878"/>
                  <a:pt x="695" y="877"/>
                </a:cubicBezTo>
                <a:cubicBezTo>
                  <a:pt x="689" y="876"/>
                  <a:pt x="683" y="879"/>
                  <a:pt x="677" y="885"/>
                </a:cubicBezTo>
                <a:cubicBezTo>
                  <a:pt x="674" y="888"/>
                  <a:pt x="672" y="891"/>
                  <a:pt x="671" y="894"/>
                </a:cubicBezTo>
                <a:cubicBezTo>
                  <a:pt x="670" y="897"/>
                  <a:pt x="669" y="901"/>
                  <a:pt x="670" y="904"/>
                </a:cubicBezTo>
                <a:cubicBezTo>
                  <a:pt x="670" y="907"/>
                  <a:pt x="671" y="911"/>
                  <a:pt x="673" y="914"/>
                </a:cubicBezTo>
                <a:cubicBezTo>
                  <a:pt x="674" y="917"/>
                  <a:pt x="676" y="920"/>
                  <a:pt x="679" y="923"/>
                </a:cubicBezTo>
                <a:lnTo>
                  <a:pt x="714" y="887"/>
                </a:lnTo>
                <a:close/>
                <a:moveTo>
                  <a:pt x="766" y="792"/>
                </a:moveTo>
                <a:cubicBezTo>
                  <a:pt x="767" y="793"/>
                  <a:pt x="768" y="794"/>
                  <a:pt x="769" y="795"/>
                </a:cubicBezTo>
                <a:cubicBezTo>
                  <a:pt x="769" y="795"/>
                  <a:pt x="770" y="796"/>
                  <a:pt x="770" y="797"/>
                </a:cubicBezTo>
                <a:cubicBezTo>
                  <a:pt x="770" y="797"/>
                  <a:pt x="771" y="798"/>
                  <a:pt x="771" y="798"/>
                </a:cubicBezTo>
                <a:cubicBezTo>
                  <a:pt x="771" y="799"/>
                  <a:pt x="770" y="799"/>
                  <a:pt x="770" y="799"/>
                </a:cubicBezTo>
                <a:cubicBezTo>
                  <a:pt x="770" y="800"/>
                  <a:pt x="769" y="800"/>
                  <a:pt x="768" y="800"/>
                </a:cubicBezTo>
                <a:cubicBezTo>
                  <a:pt x="767" y="801"/>
                  <a:pt x="767" y="801"/>
                  <a:pt x="766" y="802"/>
                </a:cubicBezTo>
                <a:cubicBezTo>
                  <a:pt x="765" y="802"/>
                  <a:pt x="764" y="803"/>
                  <a:pt x="763" y="803"/>
                </a:cubicBezTo>
                <a:cubicBezTo>
                  <a:pt x="762" y="804"/>
                  <a:pt x="761" y="805"/>
                  <a:pt x="760" y="806"/>
                </a:cubicBezTo>
                <a:cubicBezTo>
                  <a:pt x="758" y="807"/>
                  <a:pt x="758" y="809"/>
                  <a:pt x="757" y="810"/>
                </a:cubicBezTo>
                <a:cubicBezTo>
                  <a:pt x="756" y="812"/>
                  <a:pt x="756" y="814"/>
                  <a:pt x="756" y="816"/>
                </a:cubicBezTo>
                <a:cubicBezTo>
                  <a:pt x="755" y="819"/>
                  <a:pt x="756" y="821"/>
                  <a:pt x="756" y="825"/>
                </a:cubicBezTo>
                <a:cubicBezTo>
                  <a:pt x="756" y="828"/>
                  <a:pt x="757" y="831"/>
                  <a:pt x="758" y="836"/>
                </a:cubicBezTo>
                <a:lnTo>
                  <a:pt x="801" y="878"/>
                </a:lnTo>
                <a:cubicBezTo>
                  <a:pt x="801" y="879"/>
                  <a:pt x="801" y="879"/>
                  <a:pt x="801" y="880"/>
                </a:cubicBezTo>
                <a:cubicBezTo>
                  <a:pt x="801" y="880"/>
                  <a:pt x="801" y="881"/>
                  <a:pt x="801" y="881"/>
                </a:cubicBezTo>
                <a:cubicBezTo>
                  <a:pt x="801" y="882"/>
                  <a:pt x="800" y="883"/>
                  <a:pt x="800" y="883"/>
                </a:cubicBezTo>
                <a:cubicBezTo>
                  <a:pt x="799" y="884"/>
                  <a:pt x="798" y="885"/>
                  <a:pt x="797" y="887"/>
                </a:cubicBezTo>
                <a:cubicBezTo>
                  <a:pt x="796" y="888"/>
                  <a:pt x="795" y="889"/>
                  <a:pt x="794" y="889"/>
                </a:cubicBezTo>
                <a:cubicBezTo>
                  <a:pt x="793" y="890"/>
                  <a:pt x="792" y="890"/>
                  <a:pt x="792" y="891"/>
                </a:cubicBezTo>
                <a:cubicBezTo>
                  <a:pt x="791" y="891"/>
                  <a:pt x="790" y="891"/>
                  <a:pt x="790" y="891"/>
                </a:cubicBezTo>
                <a:cubicBezTo>
                  <a:pt x="790" y="891"/>
                  <a:pt x="789" y="891"/>
                  <a:pt x="789" y="890"/>
                </a:cubicBezTo>
                <a:lnTo>
                  <a:pt x="724" y="826"/>
                </a:lnTo>
                <a:cubicBezTo>
                  <a:pt x="724" y="825"/>
                  <a:pt x="723" y="825"/>
                  <a:pt x="723" y="824"/>
                </a:cubicBezTo>
                <a:cubicBezTo>
                  <a:pt x="723" y="824"/>
                  <a:pt x="723" y="823"/>
                  <a:pt x="724" y="823"/>
                </a:cubicBezTo>
                <a:cubicBezTo>
                  <a:pt x="724" y="822"/>
                  <a:pt x="724" y="821"/>
                  <a:pt x="725" y="821"/>
                </a:cubicBezTo>
                <a:cubicBezTo>
                  <a:pt x="725" y="820"/>
                  <a:pt x="726" y="819"/>
                  <a:pt x="727" y="818"/>
                </a:cubicBezTo>
                <a:cubicBezTo>
                  <a:pt x="728" y="817"/>
                  <a:pt x="729" y="816"/>
                  <a:pt x="730" y="815"/>
                </a:cubicBezTo>
                <a:cubicBezTo>
                  <a:pt x="731" y="815"/>
                  <a:pt x="731" y="814"/>
                  <a:pt x="732" y="814"/>
                </a:cubicBezTo>
                <a:cubicBezTo>
                  <a:pt x="733" y="814"/>
                  <a:pt x="733" y="814"/>
                  <a:pt x="734" y="814"/>
                </a:cubicBezTo>
                <a:cubicBezTo>
                  <a:pt x="734" y="814"/>
                  <a:pt x="734" y="814"/>
                  <a:pt x="735" y="815"/>
                </a:cubicBezTo>
                <a:lnTo>
                  <a:pt x="744" y="824"/>
                </a:lnTo>
                <a:cubicBezTo>
                  <a:pt x="743" y="820"/>
                  <a:pt x="743" y="816"/>
                  <a:pt x="743" y="813"/>
                </a:cubicBezTo>
                <a:cubicBezTo>
                  <a:pt x="743" y="810"/>
                  <a:pt x="743" y="807"/>
                  <a:pt x="743" y="805"/>
                </a:cubicBezTo>
                <a:cubicBezTo>
                  <a:pt x="744" y="802"/>
                  <a:pt x="745" y="800"/>
                  <a:pt x="746" y="799"/>
                </a:cubicBezTo>
                <a:cubicBezTo>
                  <a:pt x="747" y="797"/>
                  <a:pt x="748" y="795"/>
                  <a:pt x="749" y="794"/>
                </a:cubicBezTo>
                <a:cubicBezTo>
                  <a:pt x="750" y="793"/>
                  <a:pt x="751" y="793"/>
                  <a:pt x="751" y="792"/>
                </a:cubicBezTo>
                <a:cubicBezTo>
                  <a:pt x="752" y="791"/>
                  <a:pt x="753" y="791"/>
                  <a:pt x="754" y="790"/>
                </a:cubicBezTo>
                <a:cubicBezTo>
                  <a:pt x="755" y="789"/>
                  <a:pt x="756" y="789"/>
                  <a:pt x="757" y="788"/>
                </a:cubicBezTo>
                <a:cubicBezTo>
                  <a:pt x="758" y="788"/>
                  <a:pt x="759" y="787"/>
                  <a:pt x="760" y="787"/>
                </a:cubicBezTo>
                <a:cubicBezTo>
                  <a:pt x="760" y="787"/>
                  <a:pt x="760" y="787"/>
                  <a:pt x="761" y="788"/>
                </a:cubicBezTo>
                <a:cubicBezTo>
                  <a:pt x="761" y="788"/>
                  <a:pt x="761" y="788"/>
                  <a:pt x="762" y="788"/>
                </a:cubicBezTo>
                <a:cubicBezTo>
                  <a:pt x="762" y="788"/>
                  <a:pt x="763" y="789"/>
                  <a:pt x="763" y="789"/>
                </a:cubicBezTo>
                <a:cubicBezTo>
                  <a:pt x="764" y="790"/>
                  <a:pt x="765" y="791"/>
                  <a:pt x="766" y="792"/>
                </a:cubicBezTo>
                <a:close/>
                <a:moveTo>
                  <a:pt x="838" y="718"/>
                </a:moveTo>
                <a:cubicBezTo>
                  <a:pt x="839" y="720"/>
                  <a:pt x="840" y="721"/>
                  <a:pt x="841" y="722"/>
                </a:cubicBezTo>
                <a:cubicBezTo>
                  <a:pt x="841" y="723"/>
                  <a:pt x="841" y="724"/>
                  <a:pt x="840" y="725"/>
                </a:cubicBezTo>
                <a:lnTo>
                  <a:pt x="831" y="734"/>
                </a:lnTo>
                <a:cubicBezTo>
                  <a:pt x="834" y="734"/>
                  <a:pt x="837" y="735"/>
                  <a:pt x="840" y="737"/>
                </a:cubicBezTo>
                <a:cubicBezTo>
                  <a:pt x="843" y="738"/>
                  <a:pt x="845" y="740"/>
                  <a:pt x="847" y="742"/>
                </a:cubicBezTo>
                <a:cubicBezTo>
                  <a:pt x="851" y="746"/>
                  <a:pt x="854" y="750"/>
                  <a:pt x="856" y="754"/>
                </a:cubicBezTo>
                <a:cubicBezTo>
                  <a:pt x="857" y="758"/>
                  <a:pt x="858" y="762"/>
                  <a:pt x="858" y="766"/>
                </a:cubicBezTo>
                <a:cubicBezTo>
                  <a:pt x="857" y="770"/>
                  <a:pt x="856" y="775"/>
                  <a:pt x="854" y="779"/>
                </a:cubicBezTo>
                <a:cubicBezTo>
                  <a:pt x="852" y="783"/>
                  <a:pt x="849" y="787"/>
                  <a:pt x="846" y="790"/>
                </a:cubicBezTo>
                <a:cubicBezTo>
                  <a:pt x="843" y="793"/>
                  <a:pt x="840" y="795"/>
                  <a:pt x="837" y="797"/>
                </a:cubicBezTo>
                <a:cubicBezTo>
                  <a:pt x="834" y="799"/>
                  <a:pt x="831" y="800"/>
                  <a:pt x="829" y="800"/>
                </a:cubicBezTo>
                <a:cubicBezTo>
                  <a:pt x="829" y="801"/>
                  <a:pt x="829" y="803"/>
                  <a:pt x="830" y="805"/>
                </a:cubicBezTo>
                <a:cubicBezTo>
                  <a:pt x="830" y="806"/>
                  <a:pt x="831" y="808"/>
                  <a:pt x="833" y="809"/>
                </a:cubicBezTo>
                <a:cubicBezTo>
                  <a:pt x="834" y="811"/>
                  <a:pt x="837" y="812"/>
                  <a:pt x="839" y="811"/>
                </a:cubicBezTo>
                <a:cubicBezTo>
                  <a:pt x="842" y="811"/>
                  <a:pt x="845" y="809"/>
                  <a:pt x="847" y="807"/>
                </a:cubicBezTo>
                <a:lnTo>
                  <a:pt x="865" y="791"/>
                </a:lnTo>
                <a:cubicBezTo>
                  <a:pt x="868" y="788"/>
                  <a:pt x="872" y="785"/>
                  <a:pt x="875" y="783"/>
                </a:cubicBezTo>
                <a:cubicBezTo>
                  <a:pt x="879" y="781"/>
                  <a:pt x="882" y="780"/>
                  <a:pt x="885" y="780"/>
                </a:cubicBezTo>
                <a:cubicBezTo>
                  <a:pt x="889" y="779"/>
                  <a:pt x="892" y="779"/>
                  <a:pt x="895" y="780"/>
                </a:cubicBezTo>
                <a:cubicBezTo>
                  <a:pt x="899" y="781"/>
                  <a:pt x="902" y="783"/>
                  <a:pt x="904" y="786"/>
                </a:cubicBezTo>
                <a:cubicBezTo>
                  <a:pt x="907" y="789"/>
                  <a:pt x="910" y="793"/>
                  <a:pt x="911" y="797"/>
                </a:cubicBezTo>
                <a:cubicBezTo>
                  <a:pt x="913" y="800"/>
                  <a:pt x="913" y="805"/>
                  <a:pt x="912" y="809"/>
                </a:cubicBezTo>
                <a:cubicBezTo>
                  <a:pt x="912" y="814"/>
                  <a:pt x="910" y="819"/>
                  <a:pt x="907" y="824"/>
                </a:cubicBezTo>
                <a:cubicBezTo>
                  <a:pt x="905" y="829"/>
                  <a:pt x="901" y="834"/>
                  <a:pt x="895" y="840"/>
                </a:cubicBezTo>
                <a:cubicBezTo>
                  <a:pt x="890" y="845"/>
                  <a:pt x="885" y="849"/>
                  <a:pt x="881" y="852"/>
                </a:cubicBezTo>
                <a:cubicBezTo>
                  <a:pt x="876" y="855"/>
                  <a:pt x="872" y="856"/>
                  <a:pt x="868" y="857"/>
                </a:cubicBezTo>
                <a:cubicBezTo>
                  <a:pt x="864" y="858"/>
                  <a:pt x="860" y="858"/>
                  <a:pt x="857" y="857"/>
                </a:cubicBezTo>
                <a:cubicBezTo>
                  <a:pt x="854" y="856"/>
                  <a:pt x="851" y="854"/>
                  <a:pt x="849" y="851"/>
                </a:cubicBezTo>
                <a:cubicBezTo>
                  <a:pt x="847" y="850"/>
                  <a:pt x="846" y="848"/>
                  <a:pt x="845" y="846"/>
                </a:cubicBezTo>
                <a:cubicBezTo>
                  <a:pt x="844" y="844"/>
                  <a:pt x="843" y="842"/>
                  <a:pt x="842" y="840"/>
                </a:cubicBezTo>
                <a:cubicBezTo>
                  <a:pt x="842" y="838"/>
                  <a:pt x="841" y="836"/>
                  <a:pt x="841" y="833"/>
                </a:cubicBezTo>
                <a:cubicBezTo>
                  <a:pt x="841" y="831"/>
                  <a:pt x="841" y="828"/>
                  <a:pt x="842" y="826"/>
                </a:cubicBezTo>
                <a:cubicBezTo>
                  <a:pt x="838" y="827"/>
                  <a:pt x="835" y="827"/>
                  <a:pt x="832" y="826"/>
                </a:cubicBezTo>
                <a:cubicBezTo>
                  <a:pt x="829" y="826"/>
                  <a:pt x="827" y="824"/>
                  <a:pt x="824" y="822"/>
                </a:cubicBezTo>
                <a:cubicBezTo>
                  <a:pt x="822" y="819"/>
                  <a:pt x="820" y="816"/>
                  <a:pt x="818" y="813"/>
                </a:cubicBezTo>
                <a:cubicBezTo>
                  <a:pt x="817" y="809"/>
                  <a:pt x="817" y="806"/>
                  <a:pt x="817" y="802"/>
                </a:cubicBezTo>
                <a:cubicBezTo>
                  <a:pt x="813" y="802"/>
                  <a:pt x="810" y="801"/>
                  <a:pt x="807" y="800"/>
                </a:cubicBezTo>
                <a:cubicBezTo>
                  <a:pt x="804" y="798"/>
                  <a:pt x="801" y="796"/>
                  <a:pt x="798" y="793"/>
                </a:cubicBezTo>
                <a:cubicBezTo>
                  <a:pt x="794" y="789"/>
                  <a:pt x="791" y="785"/>
                  <a:pt x="790" y="781"/>
                </a:cubicBezTo>
                <a:cubicBezTo>
                  <a:pt x="788" y="777"/>
                  <a:pt x="787" y="773"/>
                  <a:pt x="788" y="768"/>
                </a:cubicBezTo>
                <a:cubicBezTo>
                  <a:pt x="788" y="764"/>
                  <a:pt x="789" y="760"/>
                  <a:pt x="791" y="756"/>
                </a:cubicBezTo>
                <a:cubicBezTo>
                  <a:pt x="793" y="752"/>
                  <a:pt x="796" y="748"/>
                  <a:pt x="799" y="744"/>
                </a:cubicBezTo>
                <a:cubicBezTo>
                  <a:pt x="801" y="742"/>
                  <a:pt x="803" y="740"/>
                  <a:pt x="805" y="739"/>
                </a:cubicBezTo>
                <a:cubicBezTo>
                  <a:pt x="807" y="737"/>
                  <a:pt x="809" y="736"/>
                  <a:pt x="811" y="735"/>
                </a:cubicBezTo>
                <a:lnTo>
                  <a:pt x="830" y="716"/>
                </a:lnTo>
                <a:cubicBezTo>
                  <a:pt x="831" y="715"/>
                  <a:pt x="832" y="715"/>
                  <a:pt x="833" y="715"/>
                </a:cubicBezTo>
                <a:cubicBezTo>
                  <a:pt x="835" y="715"/>
                  <a:pt x="836" y="716"/>
                  <a:pt x="838" y="718"/>
                </a:cubicBezTo>
                <a:close/>
                <a:moveTo>
                  <a:pt x="836" y="753"/>
                </a:moveTo>
                <a:cubicBezTo>
                  <a:pt x="832" y="749"/>
                  <a:pt x="827" y="747"/>
                  <a:pt x="822" y="747"/>
                </a:cubicBezTo>
                <a:cubicBezTo>
                  <a:pt x="817" y="747"/>
                  <a:pt x="813" y="749"/>
                  <a:pt x="808" y="753"/>
                </a:cubicBezTo>
                <a:cubicBezTo>
                  <a:pt x="806" y="756"/>
                  <a:pt x="804" y="758"/>
                  <a:pt x="803" y="761"/>
                </a:cubicBezTo>
                <a:cubicBezTo>
                  <a:pt x="802" y="763"/>
                  <a:pt x="802" y="765"/>
                  <a:pt x="802" y="768"/>
                </a:cubicBezTo>
                <a:cubicBezTo>
                  <a:pt x="802" y="770"/>
                  <a:pt x="803" y="773"/>
                  <a:pt x="804" y="775"/>
                </a:cubicBezTo>
                <a:cubicBezTo>
                  <a:pt x="806" y="777"/>
                  <a:pt x="807" y="779"/>
                  <a:pt x="809" y="781"/>
                </a:cubicBezTo>
                <a:cubicBezTo>
                  <a:pt x="813" y="786"/>
                  <a:pt x="818" y="788"/>
                  <a:pt x="823" y="788"/>
                </a:cubicBezTo>
                <a:cubicBezTo>
                  <a:pt x="828" y="788"/>
                  <a:pt x="832" y="786"/>
                  <a:pt x="837" y="781"/>
                </a:cubicBezTo>
                <a:cubicBezTo>
                  <a:pt x="839" y="779"/>
                  <a:pt x="841" y="777"/>
                  <a:pt x="842" y="774"/>
                </a:cubicBezTo>
                <a:cubicBezTo>
                  <a:pt x="843" y="772"/>
                  <a:pt x="843" y="769"/>
                  <a:pt x="843" y="767"/>
                </a:cubicBezTo>
                <a:cubicBezTo>
                  <a:pt x="843" y="764"/>
                  <a:pt x="842" y="762"/>
                  <a:pt x="841" y="760"/>
                </a:cubicBezTo>
                <a:cubicBezTo>
                  <a:pt x="840" y="757"/>
                  <a:pt x="838" y="755"/>
                  <a:pt x="836" y="753"/>
                </a:cubicBezTo>
                <a:close/>
                <a:moveTo>
                  <a:pt x="893" y="799"/>
                </a:moveTo>
                <a:cubicBezTo>
                  <a:pt x="891" y="796"/>
                  <a:pt x="887" y="795"/>
                  <a:pt x="883" y="796"/>
                </a:cubicBezTo>
                <a:cubicBezTo>
                  <a:pt x="880" y="796"/>
                  <a:pt x="876" y="799"/>
                  <a:pt x="872" y="803"/>
                </a:cubicBezTo>
                <a:lnTo>
                  <a:pt x="855" y="819"/>
                </a:lnTo>
                <a:cubicBezTo>
                  <a:pt x="854" y="821"/>
                  <a:pt x="854" y="824"/>
                  <a:pt x="854" y="826"/>
                </a:cubicBezTo>
                <a:cubicBezTo>
                  <a:pt x="854" y="828"/>
                  <a:pt x="855" y="830"/>
                  <a:pt x="855" y="831"/>
                </a:cubicBezTo>
                <a:cubicBezTo>
                  <a:pt x="855" y="833"/>
                  <a:pt x="856" y="834"/>
                  <a:pt x="857" y="835"/>
                </a:cubicBezTo>
                <a:cubicBezTo>
                  <a:pt x="857" y="837"/>
                  <a:pt x="858" y="838"/>
                  <a:pt x="859" y="839"/>
                </a:cubicBezTo>
                <a:cubicBezTo>
                  <a:pt x="862" y="842"/>
                  <a:pt x="866" y="843"/>
                  <a:pt x="871" y="841"/>
                </a:cubicBezTo>
                <a:cubicBezTo>
                  <a:pt x="876" y="839"/>
                  <a:pt x="881" y="836"/>
                  <a:pt x="887" y="830"/>
                </a:cubicBezTo>
                <a:cubicBezTo>
                  <a:pt x="890" y="827"/>
                  <a:pt x="893" y="823"/>
                  <a:pt x="895" y="820"/>
                </a:cubicBezTo>
                <a:cubicBezTo>
                  <a:pt x="896" y="817"/>
                  <a:pt x="897" y="814"/>
                  <a:pt x="898" y="811"/>
                </a:cubicBezTo>
                <a:cubicBezTo>
                  <a:pt x="898" y="809"/>
                  <a:pt x="898" y="806"/>
                  <a:pt x="897" y="804"/>
                </a:cubicBezTo>
                <a:cubicBezTo>
                  <a:pt x="896" y="802"/>
                  <a:pt x="895" y="800"/>
                  <a:pt x="893" y="799"/>
                </a:cubicBezTo>
                <a:close/>
                <a:moveTo>
                  <a:pt x="944" y="738"/>
                </a:moveTo>
                <a:lnTo>
                  <a:pt x="960" y="770"/>
                </a:lnTo>
                <a:cubicBezTo>
                  <a:pt x="960" y="772"/>
                  <a:pt x="960" y="773"/>
                  <a:pt x="959" y="774"/>
                </a:cubicBezTo>
                <a:cubicBezTo>
                  <a:pt x="958" y="776"/>
                  <a:pt x="957" y="778"/>
                  <a:pt x="954" y="780"/>
                </a:cubicBezTo>
                <a:cubicBezTo>
                  <a:pt x="953" y="782"/>
                  <a:pt x="952" y="783"/>
                  <a:pt x="951" y="783"/>
                </a:cubicBezTo>
                <a:cubicBezTo>
                  <a:pt x="950" y="784"/>
                  <a:pt x="950" y="784"/>
                  <a:pt x="949" y="784"/>
                </a:cubicBezTo>
                <a:cubicBezTo>
                  <a:pt x="948" y="784"/>
                  <a:pt x="948" y="784"/>
                  <a:pt x="947" y="784"/>
                </a:cubicBezTo>
                <a:cubicBezTo>
                  <a:pt x="947" y="783"/>
                  <a:pt x="946" y="783"/>
                  <a:pt x="946" y="782"/>
                </a:cubicBezTo>
                <a:lnTo>
                  <a:pt x="932" y="750"/>
                </a:lnTo>
                <a:cubicBezTo>
                  <a:pt x="931" y="751"/>
                  <a:pt x="931" y="751"/>
                  <a:pt x="930" y="751"/>
                </a:cubicBezTo>
                <a:cubicBezTo>
                  <a:pt x="929" y="751"/>
                  <a:pt x="928" y="750"/>
                  <a:pt x="928" y="750"/>
                </a:cubicBezTo>
                <a:lnTo>
                  <a:pt x="843" y="711"/>
                </a:lnTo>
                <a:cubicBezTo>
                  <a:pt x="842" y="711"/>
                  <a:pt x="841" y="710"/>
                  <a:pt x="840" y="710"/>
                </a:cubicBezTo>
                <a:cubicBezTo>
                  <a:pt x="839" y="709"/>
                  <a:pt x="839" y="708"/>
                  <a:pt x="839" y="708"/>
                </a:cubicBezTo>
                <a:cubicBezTo>
                  <a:pt x="839" y="707"/>
                  <a:pt x="840" y="706"/>
                  <a:pt x="840" y="705"/>
                </a:cubicBezTo>
                <a:cubicBezTo>
                  <a:pt x="841" y="704"/>
                  <a:pt x="842" y="703"/>
                  <a:pt x="844" y="702"/>
                </a:cubicBezTo>
                <a:cubicBezTo>
                  <a:pt x="845" y="700"/>
                  <a:pt x="846" y="699"/>
                  <a:pt x="847" y="698"/>
                </a:cubicBezTo>
                <a:cubicBezTo>
                  <a:pt x="848" y="698"/>
                  <a:pt x="849" y="697"/>
                  <a:pt x="850" y="697"/>
                </a:cubicBezTo>
                <a:cubicBezTo>
                  <a:pt x="850" y="696"/>
                  <a:pt x="851" y="696"/>
                  <a:pt x="851" y="696"/>
                </a:cubicBezTo>
                <a:cubicBezTo>
                  <a:pt x="852" y="697"/>
                  <a:pt x="853" y="697"/>
                  <a:pt x="854" y="697"/>
                </a:cubicBezTo>
                <a:lnTo>
                  <a:pt x="924" y="731"/>
                </a:lnTo>
                <a:lnTo>
                  <a:pt x="924" y="730"/>
                </a:lnTo>
                <a:lnTo>
                  <a:pt x="890" y="661"/>
                </a:lnTo>
                <a:cubicBezTo>
                  <a:pt x="889" y="659"/>
                  <a:pt x="889" y="658"/>
                  <a:pt x="889" y="658"/>
                </a:cubicBezTo>
                <a:cubicBezTo>
                  <a:pt x="889" y="657"/>
                  <a:pt x="890" y="656"/>
                  <a:pt x="890" y="655"/>
                </a:cubicBezTo>
                <a:cubicBezTo>
                  <a:pt x="891" y="654"/>
                  <a:pt x="892" y="653"/>
                  <a:pt x="894" y="652"/>
                </a:cubicBezTo>
                <a:cubicBezTo>
                  <a:pt x="895" y="650"/>
                  <a:pt x="896" y="649"/>
                  <a:pt x="897" y="648"/>
                </a:cubicBezTo>
                <a:cubicBezTo>
                  <a:pt x="898" y="648"/>
                  <a:pt x="899" y="647"/>
                  <a:pt x="900" y="647"/>
                </a:cubicBezTo>
                <a:cubicBezTo>
                  <a:pt x="900" y="647"/>
                  <a:pt x="901" y="647"/>
                  <a:pt x="902" y="648"/>
                </a:cubicBezTo>
                <a:cubicBezTo>
                  <a:pt x="902" y="649"/>
                  <a:pt x="903" y="649"/>
                  <a:pt x="903" y="651"/>
                </a:cubicBezTo>
                <a:lnTo>
                  <a:pt x="944" y="738"/>
                </a:lnTo>
                <a:close/>
                <a:moveTo>
                  <a:pt x="989" y="518"/>
                </a:moveTo>
                <a:cubicBezTo>
                  <a:pt x="990" y="519"/>
                  <a:pt x="990" y="520"/>
                  <a:pt x="991" y="521"/>
                </a:cubicBezTo>
                <a:cubicBezTo>
                  <a:pt x="992" y="522"/>
                  <a:pt x="992" y="522"/>
                  <a:pt x="992" y="523"/>
                </a:cubicBezTo>
                <a:cubicBezTo>
                  <a:pt x="992" y="524"/>
                  <a:pt x="992" y="524"/>
                  <a:pt x="992" y="525"/>
                </a:cubicBezTo>
                <a:cubicBezTo>
                  <a:pt x="992" y="525"/>
                  <a:pt x="992" y="526"/>
                  <a:pt x="992" y="526"/>
                </a:cubicBezTo>
                <a:lnTo>
                  <a:pt x="965" y="552"/>
                </a:lnTo>
                <a:lnTo>
                  <a:pt x="1046" y="633"/>
                </a:lnTo>
                <a:cubicBezTo>
                  <a:pt x="1046" y="633"/>
                  <a:pt x="1047" y="634"/>
                  <a:pt x="1047" y="634"/>
                </a:cubicBezTo>
                <a:cubicBezTo>
                  <a:pt x="1047" y="635"/>
                  <a:pt x="1047" y="635"/>
                  <a:pt x="1046" y="636"/>
                </a:cubicBezTo>
                <a:cubicBezTo>
                  <a:pt x="1046" y="636"/>
                  <a:pt x="1046" y="637"/>
                  <a:pt x="1045" y="638"/>
                </a:cubicBezTo>
                <a:cubicBezTo>
                  <a:pt x="1044" y="639"/>
                  <a:pt x="1043" y="640"/>
                  <a:pt x="1042" y="641"/>
                </a:cubicBezTo>
                <a:cubicBezTo>
                  <a:pt x="1041" y="642"/>
                  <a:pt x="1040" y="643"/>
                  <a:pt x="1039" y="644"/>
                </a:cubicBezTo>
                <a:cubicBezTo>
                  <a:pt x="1038" y="645"/>
                  <a:pt x="1037" y="645"/>
                  <a:pt x="1037" y="646"/>
                </a:cubicBezTo>
                <a:cubicBezTo>
                  <a:pt x="1036" y="646"/>
                  <a:pt x="1035" y="646"/>
                  <a:pt x="1035" y="646"/>
                </a:cubicBezTo>
                <a:cubicBezTo>
                  <a:pt x="1034" y="646"/>
                  <a:pt x="1034" y="646"/>
                  <a:pt x="1034" y="645"/>
                </a:cubicBezTo>
                <a:lnTo>
                  <a:pt x="953" y="565"/>
                </a:lnTo>
                <a:lnTo>
                  <a:pt x="927" y="591"/>
                </a:lnTo>
                <a:cubicBezTo>
                  <a:pt x="927" y="591"/>
                  <a:pt x="926" y="591"/>
                  <a:pt x="926" y="591"/>
                </a:cubicBezTo>
                <a:cubicBezTo>
                  <a:pt x="925" y="592"/>
                  <a:pt x="925" y="592"/>
                  <a:pt x="924" y="591"/>
                </a:cubicBezTo>
                <a:cubicBezTo>
                  <a:pt x="923" y="591"/>
                  <a:pt x="923" y="591"/>
                  <a:pt x="922" y="590"/>
                </a:cubicBezTo>
                <a:cubicBezTo>
                  <a:pt x="921" y="590"/>
                  <a:pt x="920" y="589"/>
                  <a:pt x="919" y="588"/>
                </a:cubicBezTo>
                <a:cubicBezTo>
                  <a:pt x="918" y="587"/>
                  <a:pt x="918" y="586"/>
                  <a:pt x="917" y="585"/>
                </a:cubicBezTo>
                <a:cubicBezTo>
                  <a:pt x="916" y="585"/>
                  <a:pt x="916" y="584"/>
                  <a:pt x="916" y="583"/>
                </a:cubicBezTo>
                <a:cubicBezTo>
                  <a:pt x="916" y="583"/>
                  <a:pt x="916" y="582"/>
                  <a:pt x="916" y="582"/>
                </a:cubicBezTo>
                <a:cubicBezTo>
                  <a:pt x="916" y="581"/>
                  <a:pt x="916" y="581"/>
                  <a:pt x="916" y="580"/>
                </a:cubicBezTo>
                <a:lnTo>
                  <a:pt x="981" y="516"/>
                </a:lnTo>
                <a:cubicBezTo>
                  <a:pt x="981" y="515"/>
                  <a:pt x="982" y="515"/>
                  <a:pt x="982" y="515"/>
                </a:cubicBezTo>
                <a:cubicBezTo>
                  <a:pt x="983" y="515"/>
                  <a:pt x="983" y="515"/>
                  <a:pt x="984" y="515"/>
                </a:cubicBezTo>
                <a:cubicBezTo>
                  <a:pt x="985" y="515"/>
                  <a:pt x="985" y="516"/>
                  <a:pt x="986" y="516"/>
                </a:cubicBezTo>
                <a:cubicBezTo>
                  <a:pt x="987" y="517"/>
                  <a:pt x="988" y="518"/>
                  <a:pt x="989" y="518"/>
                </a:cubicBezTo>
                <a:close/>
                <a:moveTo>
                  <a:pt x="1095" y="584"/>
                </a:moveTo>
                <a:cubicBezTo>
                  <a:pt x="1095" y="585"/>
                  <a:pt x="1095" y="585"/>
                  <a:pt x="1095" y="585"/>
                </a:cubicBezTo>
                <a:cubicBezTo>
                  <a:pt x="1096" y="586"/>
                  <a:pt x="1095" y="586"/>
                  <a:pt x="1095" y="587"/>
                </a:cubicBezTo>
                <a:cubicBezTo>
                  <a:pt x="1095" y="588"/>
                  <a:pt x="1094" y="588"/>
                  <a:pt x="1094" y="589"/>
                </a:cubicBezTo>
                <a:cubicBezTo>
                  <a:pt x="1093" y="590"/>
                  <a:pt x="1092" y="591"/>
                  <a:pt x="1091" y="592"/>
                </a:cubicBezTo>
                <a:cubicBezTo>
                  <a:pt x="1090" y="593"/>
                  <a:pt x="1089" y="594"/>
                  <a:pt x="1088" y="595"/>
                </a:cubicBezTo>
                <a:cubicBezTo>
                  <a:pt x="1087" y="596"/>
                  <a:pt x="1086" y="596"/>
                  <a:pt x="1086" y="596"/>
                </a:cubicBezTo>
                <a:cubicBezTo>
                  <a:pt x="1085" y="597"/>
                  <a:pt x="1085" y="597"/>
                  <a:pt x="1084" y="597"/>
                </a:cubicBezTo>
                <a:cubicBezTo>
                  <a:pt x="1084" y="597"/>
                  <a:pt x="1083" y="596"/>
                  <a:pt x="1083" y="596"/>
                </a:cubicBezTo>
                <a:lnTo>
                  <a:pt x="1018" y="531"/>
                </a:lnTo>
                <a:cubicBezTo>
                  <a:pt x="1018" y="531"/>
                  <a:pt x="1018" y="531"/>
                  <a:pt x="1018" y="530"/>
                </a:cubicBezTo>
                <a:cubicBezTo>
                  <a:pt x="1017" y="530"/>
                  <a:pt x="1018" y="529"/>
                  <a:pt x="1018" y="529"/>
                </a:cubicBezTo>
                <a:cubicBezTo>
                  <a:pt x="1018" y="528"/>
                  <a:pt x="1019" y="527"/>
                  <a:pt x="1019" y="526"/>
                </a:cubicBezTo>
                <a:cubicBezTo>
                  <a:pt x="1020" y="525"/>
                  <a:pt x="1021" y="524"/>
                  <a:pt x="1022" y="523"/>
                </a:cubicBezTo>
                <a:cubicBezTo>
                  <a:pt x="1023" y="522"/>
                  <a:pt x="1024" y="521"/>
                  <a:pt x="1025" y="520"/>
                </a:cubicBezTo>
                <a:cubicBezTo>
                  <a:pt x="1026" y="520"/>
                  <a:pt x="1027" y="519"/>
                  <a:pt x="1027" y="519"/>
                </a:cubicBezTo>
                <a:cubicBezTo>
                  <a:pt x="1028" y="519"/>
                  <a:pt x="1028" y="519"/>
                  <a:pt x="1029" y="519"/>
                </a:cubicBezTo>
                <a:cubicBezTo>
                  <a:pt x="1029" y="519"/>
                  <a:pt x="1030" y="519"/>
                  <a:pt x="1030" y="520"/>
                </a:cubicBezTo>
                <a:lnTo>
                  <a:pt x="1095" y="584"/>
                </a:lnTo>
                <a:close/>
                <a:moveTo>
                  <a:pt x="1010" y="496"/>
                </a:moveTo>
                <a:cubicBezTo>
                  <a:pt x="1012" y="499"/>
                  <a:pt x="1014" y="502"/>
                  <a:pt x="1014" y="504"/>
                </a:cubicBezTo>
                <a:cubicBezTo>
                  <a:pt x="1014" y="506"/>
                  <a:pt x="1012" y="508"/>
                  <a:pt x="1009" y="511"/>
                </a:cubicBezTo>
                <a:cubicBezTo>
                  <a:pt x="1007" y="514"/>
                  <a:pt x="1004" y="515"/>
                  <a:pt x="1002" y="515"/>
                </a:cubicBezTo>
                <a:cubicBezTo>
                  <a:pt x="1000" y="515"/>
                  <a:pt x="998" y="514"/>
                  <a:pt x="995" y="511"/>
                </a:cubicBezTo>
                <a:cubicBezTo>
                  <a:pt x="992" y="508"/>
                  <a:pt x="991" y="506"/>
                  <a:pt x="991" y="504"/>
                </a:cubicBezTo>
                <a:cubicBezTo>
                  <a:pt x="991" y="502"/>
                  <a:pt x="993" y="499"/>
                  <a:pt x="995" y="497"/>
                </a:cubicBezTo>
                <a:cubicBezTo>
                  <a:pt x="998" y="494"/>
                  <a:pt x="1001" y="492"/>
                  <a:pt x="1003" y="492"/>
                </a:cubicBezTo>
                <a:cubicBezTo>
                  <a:pt x="1005" y="492"/>
                  <a:pt x="1007" y="494"/>
                  <a:pt x="1010" y="496"/>
                </a:cubicBezTo>
                <a:close/>
                <a:moveTo>
                  <a:pt x="1213" y="466"/>
                </a:moveTo>
                <a:cubicBezTo>
                  <a:pt x="1213" y="467"/>
                  <a:pt x="1213" y="467"/>
                  <a:pt x="1213" y="467"/>
                </a:cubicBezTo>
                <a:cubicBezTo>
                  <a:pt x="1213" y="468"/>
                  <a:pt x="1213" y="468"/>
                  <a:pt x="1213" y="469"/>
                </a:cubicBezTo>
                <a:cubicBezTo>
                  <a:pt x="1213" y="470"/>
                  <a:pt x="1212" y="470"/>
                  <a:pt x="1212" y="471"/>
                </a:cubicBezTo>
                <a:cubicBezTo>
                  <a:pt x="1211" y="472"/>
                  <a:pt x="1210" y="473"/>
                  <a:pt x="1209" y="474"/>
                </a:cubicBezTo>
                <a:cubicBezTo>
                  <a:pt x="1208" y="476"/>
                  <a:pt x="1207" y="476"/>
                  <a:pt x="1206" y="477"/>
                </a:cubicBezTo>
                <a:cubicBezTo>
                  <a:pt x="1205" y="478"/>
                  <a:pt x="1204" y="478"/>
                  <a:pt x="1204" y="479"/>
                </a:cubicBezTo>
                <a:cubicBezTo>
                  <a:pt x="1203" y="479"/>
                  <a:pt x="1203" y="479"/>
                  <a:pt x="1202" y="479"/>
                </a:cubicBezTo>
                <a:cubicBezTo>
                  <a:pt x="1202" y="479"/>
                  <a:pt x="1201" y="478"/>
                  <a:pt x="1201" y="478"/>
                </a:cubicBezTo>
                <a:lnTo>
                  <a:pt x="1162" y="439"/>
                </a:lnTo>
                <a:cubicBezTo>
                  <a:pt x="1159" y="436"/>
                  <a:pt x="1156" y="434"/>
                  <a:pt x="1153" y="432"/>
                </a:cubicBezTo>
                <a:cubicBezTo>
                  <a:pt x="1151" y="430"/>
                  <a:pt x="1148" y="429"/>
                  <a:pt x="1145" y="429"/>
                </a:cubicBezTo>
                <a:cubicBezTo>
                  <a:pt x="1143" y="428"/>
                  <a:pt x="1140" y="428"/>
                  <a:pt x="1137" y="429"/>
                </a:cubicBezTo>
                <a:cubicBezTo>
                  <a:pt x="1135" y="430"/>
                  <a:pt x="1133" y="431"/>
                  <a:pt x="1130" y="433"/>
                </a:cubicBezTo>
                <a:cubicBezTo>
                  <a:pt x="1128" y="436"/>
                  <a:pt x="1126" y="440"/>
                  <a:pt x="1125" y="445"/>
                </a:cubicBezTo>
                <a:cubicBezTo>
                  <a:pt x="1125" y="450"/>
                  <a:pt x="1125" y="456"/>
                  <a:pt x="1126" y="463"/>
                </a:cubicBezTo>
                <a:lnTo>
                  <a:pt x="1171" y="508"/>
                </a:lnTo>
                <a:cubicBezTo>
                  <a:pt x="1171" y="509"/>
                  <a:pt x="1171" y="509"/>
                  <a:pt x="1171" y="509"/>
                </a:cubicBezTo>
                <a:cubicBezTo>
                  <a:pt x="1171" y="510"/>
                  <a:pt x="1171" y="510"/>
                  <a:pt x="1171" y="511"/>
                </a:cubicBezTo>
                <a:cubicBezTo>
                  <a:pt x="1171" y="512"/>
                  <a:pt x="1170" y="513"/>
                  <a:pt x="1170" y="513"/>
                </a:cubicBezTo>
                <a:cubicBezTo>
                  <a:pt x="1169" y="514"/>
                  <a:pt x="1168" y="515"/>
                  <a:pt x="1167" y="516"/>
                </a:cubicBezTo>
                <a:cubicBezTo>
                  <a:pt x="1166" y="517"/>
                  <a:pt x="1165" y="518"/>
                  <a:pt x="1164" y="519"/>
                </a:cubicBezTo>
                <a:cubicBezTo>
                  <a:pt x="1163" y="520"/>
                  <a:pt x="1162" y="520"/>
                  <a:pt x="1162" y="521"/>
                </a:cubicBezTo>
                <a:cubicBezTo>
                  <a:pt x="1161" y="521"/>
                  <a:pt x="1161" y="521"/>
                  <a:pt x="1160" y="521"/>
                </a:cubicBezTo>
                <a:cubicBezTo>
                  <a:pt x="1160" y="521"/>
                  <a:pt x="1159" y="520"/>
                  <a:pt x="1159" y="520"/>
                </a:cubicBezTo>
                <a:lnTo>
                  <a:pt x="1120" y="481"/>
                </a:lnTo>
                <a:cubicBezTo>
                  <a:pt x="1117" y="478"/>
                  <a:pt x="1114" y="476"/>
                  <a:pt x="1111" y="474"/>
                </a:cubicBezTo>
                <a:cubicBezTo>
                  <a:pt x="1109" y="472"/>
                  <a:pt x="1106" y="471"/>
                  <a:pt x="1103" y="471"/>
                </a:cubicBezTo>
                <a:cubicBezTo>
                  <a:pt x="1100" y="470"/>
                  <a:pt x="1098" y="470"/>
                  <a:pt x="1095" y="471"/>
                </a:cubicBezTo>
                <a:cubicBezTo>
                  <a:pt x="1093" y="472"/>
                  <a:pt x="1091" y="473"/>
                  <a:pt x="1088" y="475"/>
                </a:cubicBezTo>
                <a:cubicBezTo>
                  <a:pt x="1086" y="478"/>
                  <a:pt x="1084" y="482"/>
                  <a:pt x="1083" y="487"/>
                </a:cubicBezTo>
                <a:cubicBezTo>
                  <a:pt x="1083" y="492"/>
                  <a:pt x="1083" y="498"/>
                  <a:pt x="1084" y="505"/>
                </a:cubicBezTo>
                <a:lnTo>
                  <a:pt x="1129" y="550"/>
                </a:lnTo>
                <a:cubicBezTo>
                  <a:pt x="1129" y="551"/>
                  <a:pt x="1129" y="551"/>
                  <a:pt x="1129" y="551"/>
                </a:cubicBezTo>
                <a:cubicBezTo>
                  <a:pt x="1129" y="552"/>
                  <a:pt x="1129" y="552"/>
                  <a:pt x="1129" y="553"/>
                </a:cubicBezTo>
                <a:cubicBezTo>
                  <a:pt x="1129" y="554"/>
                  <a:pt x="1128" y="554"/>
                  <a:pt x="1128" y="555"/>
                </a:cubicBezTo>
                <a:cubicBezTo>
                  <a:pt x="1127" y="556"/>
                  <a:pt x="1126" y="557"/>
                  <a:pt x="1125" y="558"/>
                </a:cubicBezTo>
                <a:cubicBezTo>
                  <a:pt x="1124" y="560"/>
                  <a:pt x="1123" y="560"/>
                  <a:pt x="1122" y="561"/>
                </a:cubicBezTo>
                <a:cubicBezTo>
                  <a:pt x="1121" y="562"/>
                  <a:pt x="1120" y="562"/>
                  <a:pt x="1120" y="563"/>
                </a:cubicBezTo>
                <a:cubicBezTo>
                  <a:pt x="1119" y="563"/>
                  <a:pt x="1119" y="563"/>
                  <a:pt x="1118" y="563"/>
                </a:cubicBezTo>
                <a:cubicBezTo>
                  <a:pt x="1118" y="563"/>
                  <a:pt x="1117" y="562"/>
                  <a:pt x="1117" y="562"/>
                </a:cubicBezTo>
                <a:lnTo>
                  <a:pt x="1052" y="497"/>
                </a:lnTo>
                <a:cubicBezTo>
                  <a:pt x="1052" y="497"/>
                  <a:pt x="1052" y="497"/>
                  <a:pt x="1051" y="496"/>
                </a:cubicBezTo>
                <a:cubicBezTo>
                  <a:pt x="1051" y="496"/>
                  <a:pt x="1051" y="495"/>
                  <a:pt x="1052" y="495"/>
                </a:cubicBezTo>
                <a:cubicBezTo>
                  <a:pt x="1052" y="494"/>
                  <a:pt x="1052" y="493"/>
                  <a:pt x="1053" y="493"/>
                </a:cubicBezTo>
                <a:cubicBezTo>
                  <a:pt x="1053" y="492"/>
                  <a:pt x="1054" y="491"/>
                  <a:pt x="1055" y="490"/>
                </a:cubicBezTo>
                <a:cubicBezTo>
                  <a:pt x="1056" y="489"/>
                  <a:pt x="1057" y="488"/>
                  <a:pt x="1058" y="487"/>
                </a:cubicBezTo>
                <a:cubicBezTo>
                  <a:pt x="1059" y="487"/>
                  <a:pt x="1060" y="486"/>
                  <a:pt x="1060" y="486"/>
                </a:cubicBezTo>
                <a:cubicBezTo>
                  <a:pt x="1061" y="486"/>
                  <a:pt x="1061" y="486"/>
                  <a:pt x="1062" y="486"/>
                </a:cubicBezTo>
                <a:cubicBezTo>
                  <a:pt x="1062" y="486"/>
                  <a:pt x="1063" y="486"/>
                  <a:pt x="1063" y="487"/>
                </a:cubicBezTo>
                <a:lnTo>
                  <a:pt x="1071" y="495"/>
                </a:lnTo>
                <a:cubicBezTo>
                  <a:pt x="1071" y="488"/>
                  <a:pt x="1072" y="481"/>
                  <a:pt x="1073" y="476"/>
                </a:cubicBezTo>
                <a:cubicBezTo>
                  <a:pt x="1075" y="470"/>
                  <a:pt x="1077" y="466"/>
                  <a:pt x="1081" y="463"/>
                </a:cubicBezTo>
                <a:cubicBezTo>
                  <a:pt x="1083" y="460"/>
                  <a:pt x="1086" y="458"/>
                  <a:pt x="1089" y="456"/>
                </a:cubicBezTo>
                <a:cubicBezTo>
                  <a:pt x="1092" y="455"/>
                  <a:pt x="1094" y="454"/>
                  <a:pt x="1097" y="453"/>
                </a:cubicBezTo>
                <a:cubicBezTo>
                  <a:pt x="1100" y="453"/>
                  <a:pt x="1103" y="453"/>
                  <a:pt x="1105" y="453"/>
                </a:cubicBezTo>
                <a:cubicBezTo>
                  <a:pt x="1108" y="453"/>
                  <a:pt x="1111" y="454"/>
                  <a:pt x="1113" y="455"/>
                </a:cubicBezTo>
                <a:cubicBezTo>
                  <a:pt x="1113" y="451"/>
                  <a:pt x="1113" y="447"/>
                  <a:pt x="1114" y="443"/>
                </a:cubicBezTo>
                <a:cubicBezTo>
                  <a:pt x="1114" y="440"/>
                  <a:pt x="1114" y="437"/>
                  <a:pt x="1115" y="434"/>
                </a:cubicBezTo>
                <a:cubicBezTo>
                  <a:pt x="1116" y="431"/>
                  <a:pt x="1117" y="428"/>
                  <a:pt x="1118" y="426"/>
                </a:cubicBezTo>
                <a:cubicBezTo>
                  <a:pt x="1119" y="424"/>
                  <a:pt x="1121" y="422"/>
                  <a:pt x="1123" y="421"/>
                </a:cubicBezTo>
                <a:cubicBezTo>
                  <a:pt x="1127" y="416"/>
                  <a:pt x="1131" y="414"/>
                  <a:pt x="1135" y="412"/>
                </a:cubicBezTo>
                <a:cubicBezTo>
                  <a:pt x="1140" y="411"/>
                  <a:pt x="1144" y="411"/>
                  <a:pt x="1148" y="411"/>
                </a:cubicBezTo>
                <a:cubicBezTo>
                  <a:pt x="1152" y="412"/>
                  <a:pt x="1156" y="414"/>
                  <a:pt x="1160" y="416"/>
                </a:cubicBezTo>
                <a:cubicBezTo>
                  <a:pt x="1164" y="419"/>
                  <a:pt x="1168" y="422"/>
                  <a:pt x="1172" y="425"/>
                </a:cubicBezTo>
                <a:lnTo>
                  <a:pt x="1213" y="466"/>
                </a:lnTo>
                <a:close/>
                <a:moveTo>
                  <a:pt x="1250" y="359"/>
                </a:moveTo>
                <a:cubicBezTo>
                  <a:pt x="1252" y="361"/>
                  <a:pt x="1253" y="362"/>
                  <a:pt x="1253" y="364"/>
                </a:cubicBezTo>
                <a:cubicBezTo>
                  <a:pt x="1252" y="366"/>
                  <a:pt x="1252" y="367"/>
                  <a:pt x="1251" y="368"/>
                </a:cubicBezTo>
                <a:lnTo>
                  <a:pt x="1208" y="411"/>
                </a:lnTo>
                <a:cubicBezTo>
                  <a:pt x="1212" y="415"/>
                  <a:pt x="1215" y="417"/>
                  <a:pt x="1219" y="420"/>
                </a:cubicBezTo>
                <a:cubicBezTo>
                  <a:pt x="1222" y="422"/>
                  <a:pt x="1226" y="423"/>
                  <a:pt x="1230" y="423"/>
                </a:cubicBezTo>
                <a:cubicBezTo>
                  <a:pt x="1234" y="424"/>
                  <a:pt x="1237" y="423"/>
                  <a:pt x="1241" y="422"/>
                </a:cubicBezTo>
                <a:cubicBezTo>
                  <a:pt x="1245" y="420"/>
                  <a:pt x="1249" y="417"/>
                  <a:pt x="1253" y="413"/>
                </a:cubicBezTo>
                <a:cubicBezTo>
                  <a:pt x="1256" y="410"/>
                  <a:pt x="1258" y="407"/>
                  <a:pt x="1260" y="404"/>
                </a:cubicBezTo>
                <a:cubicBezTo>
                  <a:pt x="1262" y="401"/>
                  <a:pt x="1264" y="399"/>
                  <a:pt x="1265" y="396"/>
                </a:cubicBezTo>
                <a:cubicBezTo>
                  <a:pt x="1266" y="394"/>
                  <a:pt x="1267" y="392"/>
                  <a:pt x="1267" y="390"/>
                </a:cubicBezTo>
                <a:cubicBezTo>
                  <a:pt x="1268" y="389"/>
                  <a:pt x="1269" y="388"/>
                  <a:pt x="1269" y="387"/>
                </a:cubicBezTo>
                <a:cubicBezTo>
                  <a:pt x="1269" y="387"/>
                  <a:pt x="1270" y="387"/>
                  <a:pt x="1270" y="386"/>
                </a:cubicBezTo>
                <a:cubicBezTo>
                  <a:pt x="1271" y="386"/>
                  <a:pt x="1271" y="386"/>
                  <a:pt x="1272" y="387"/>
                </a:cubicBezTo>
                <a:cubicBezTo>
                  <a:pt x="1272" y="387"/>
                  <a:pt x="1273" y="387"/>
                  <a:pt x="1273" y="388"/>
                </a:cubicBezTo>
                <a:cubicBezTo>
                  <a:pt x="1274" y="388"/>
                  <a:pt x="1275" y="389"/>
                  <a:pt x="1276" y="390"/>
                </a:cubicBezTo>
                <a:cubicBezTo>
                  <a:pt x="1276" y="390"/>
                  <a:pt x="1277" y="391"/>
                  <a:pt x="1277" y="391"/>
                </a:cubicBezTo>
                <a:cubicBezTo>
                  <a:pt x="1278" y="392"/>
                  <a:pt x="1278" y="392"/>
                  <a:pt x="1278" y="393"/>
                </a:cubicBezTo>
                <a:cubicBezTo>
                  <a:pt x="1279" y="393"/>
                  <a:pt x="1279" y="394"/>
                  <a:pt x="1279" y="394"/>
                </a:cubicBezTo>
                <a:cubicBezTo>
                  <a:pt x="1279" y="395"/>
                  <a:pt x="1279" y="395"/>
                  <a:pt x="1279" y="396"/>
                </a:cubicBezTo>
                <a:cubicBezTo>
                  <a:pt x="1279" y="396"/>
                  <a:pt x="1279" y="397"/>
                  <a:pt x="1278" y="399"/>
                </a:cubicBezTo>
                <a:cubicBezTo>
                  <a:pt x="1277" y="401"/>
                  <a:pt x="1276" y="403"/>
                  <a:pt x="1275" y="406"/>
                </a:cubicBezTo>
                <a:cubicBezTo>
                  <a:pt x="1273" y="409"/>
                  <a:pt x="1271" y="412"/>
                  <a:pt x="1269" y="415"/>
                </a:cubicBezTo>
                <a:cubicBezTo>
                  <a:pt x="1267" y="418"/>
                  <a:pt x="1264" y="421"/>
                  <a:pt x="1261" y="424"/>
                </a:cubicBezTo>
                <a:cubicBezTo>
                  <a:pt x="1256" y="429"/>
                  <a:pt x="1250" y="433"/>
                  <a:pt x="1245" y="436"/>
                </a:cubicBezTo>
                <a:cubicBezTo>
                  <a:pt x="1239" y="438"/>
                  <a:pt x="1234" y="439"/>
                  <a:pt x="1228" y="439"/>
                </a:cubicBezTo>
                <a:cubicBezTo>
                  <a:pt x="1223" y="439"/>
                  <a:pt x="1217" y="438"/>
                  <a:pt x="1211" y="434"/>
                </a:cubicBezTo>
                <a:cubicBezTo>
                  <a:pt x="1205" y="431"/>
                  <a:pt x="1199" y="427"/>
                  <a:pt x="1194" y="421"/>
                </a:cubicBezTo>
                <a:cubicBezTo>
                  <a:pt x="1188" y="416"/>
                  <a:pt x="1184" y="410"/>
                  <a:pt x="1181" y="404"/>
                </a:cubicBezTo>
                <a:cubicBezTo>
                  <a:pt x="1178" y="398"/>
                  <a:pt x="1176" y="392"/>
                  <a:pt x="1176" y="387"/>
                </a:cubicBezTo>
                <a:cubicBezTo>
                  <a:pt x="1175" y="381"/>
                  <a:pt x="1176" y="375"/>
                  <a:pt x="1178" y="370"/>
                </a:cubicBezTo>
                <a:cubicBezTo>
                  <a:pt x="1181" y="364"/>
                  <a:pt x="1184" y="359"/>
                  <a:pt x="1189" y="354"/>
                </a:cubicBezTo>
                <a:cubicBezTo>
                  <a:pt x="1194" y="349"/>
                  <a:pt x="1199" y="346"/>
                  <a:pt x="1204" y="344"/>
                </a:cubicBezTo>
                <a:cubicBezTo>
                  <a:pt x="1209" y="342"/>
                  <a:pt x="1215" y="341"/>
                  <a:pt x="1220" y="342"/>
                </a:cubicBezTo>
                <a:cubicBezTo>
                  <a:pt x="1225" y="342"/>
                  <a:pt x="1230" y="344"/>
                  <a:pt x="1234" y="346"/>
                </a:cubicBezTo>
                <a:cubicBezTo>
                  <a:pt x="1239" y="349"/>
                  <a:pt x="1244" y="352"/>
                  <a:pt x="1248" y="357"/>
                </a:cubicBezTo>
                <a:lnTo>
                  <a:pt x="1250" y="359"/>
                </a:lnTo>
                <a:close/>
                <a:moveTo>
                  <a:pt x="1235" y="367"/>
                </a:moveTo>
                <a:cubicBezTo>
                  <a:pt x="1229" y="361"/>
                  <a:pt x="1222" y="357"/>
                  <a:pt x="1216" y="357"/>
                </a:cubicBezTo>
                <a:cubicBezTo>
                  <a:pt x="1209" y="356"/>
                  <a:pt x="1203" y="358"/>
                  <a:pt x="1197" y="364"/>
                </a:cubicBezTo>
                <a:cubicBezTo>
                  <a:pt x="1195" y="367"/>
                  <a:pt x="1193" y="370"/>
                  <a:pt x="1191" y="374"/>
                </a:cubicBezTo>
                <a:cubicBezTo>
                  <a:pt x="1190" y="377"/>
                  <a:pt x="1190" y="380"/>
                  <a:pt x="1190" y="384"/>
                </a:cubicBezTo>
                <a:cubicBezTo>
                  <a:pt x="1191" y="387"/>
                  <a:pt x="1192" y="390"/>
                  <a:pt x="1193" y="393"/>
                </a:cubicBezTo>
                <a:cubicBezTo>
                  <a:pt x="1195" y="397"/>
                  <a:pt x="1197" y="400"/>
                  <a:pt x="1199" y="402"/>
                </a:cubicBezTo>
                <a:lnTo>
                  <a:pt x="1235" y="367"/>
                </a:lnTo>
                <a:close/>
                <a:moveTo>
                  <a:pt x="1381" y="249"/>
                </a:moveTo>
                <a:cubicBezTo>
                  <a:pt x="1386" y="253"/>
                  <a:pt x="1389" y="258"/>
                  <a:pt x="1391" y="263"/>
                </a:cubicBezTo>
                <a:cubicBezTo>
                  <a:pt x="1392" y="268"/>
                  <a:pt x="1393" y="273"/>
                  <a:pt x="1393" y="278"/>
                </a:cubicBezTo>
                <a:cubicBezTo>
                  <a:pt x="1392" y="284"/>
                  <a:pt x="1391" y="289"/>
                  <a:pt x="1388" y="294"/>
                </a:cubicBezTo>
                <a:cubicBezTo>
                  <a:pt x="1385" y="299"/>
                  <a:pt x="1382" y="304"/>
                  <a:pt x="1377" y="308"/>
                </a:cubicBezTo>
                <a:cubicBezTo>
                  <a:pt x="1374" y="311"/>
                  <a:pt x="1371" y="314"/>
                  <a:pt x="1368" y="316"/>
                </a:cubicBezTo>
                <a:cubicBezTo>
                  <a:pt x="1365" y="318"/>
                  <a:pt x="1362" y="320"/>
                  <a:pt x="1359" y="321"/>
                </a:cubicBezTo>
                <a:cubicBezTo>
                  <a:pt x="1356" y="322"/>
                  <a:pt x="1353" y="323"/>
                  <a:pt x="1351" y="324"/>
                </a:cubicBezTo>
                <a:cubicBezTo>
                  <a:pt x="1349" y="324"/>
                  <a:pt x="1347" y="325"/>
                  <a:pt x="1346" y="325"/>
                </a:cubicBezTo>
                <a:cubicBezTo>
                  <a:pt x="1345" y="325"/>
                  <a:pt x="1344" y="324"/>
                  <a:pt x="1343" y="324"/>
                </a:cubicBezTo>
                <a:cubicBezTo>
                  <a:pt x="1342" y="323"/>
                  <a:pt x="1340" y="322"/>
                  <a:pt x="1339" y="321"/>
                </a:cubicBezTo>
                <a:cubicBezTo>
                  <a:pt x="1338" y="320"/>
                  <a:pt x="1337" y="319"/>
                  <a:pt x="1336" y="318"/>
                </a:cubicBezTo>
                <a:cubicBezTo>
                  <a:pt x="1336" y="317"/>
                  <a:pt x="1335" y="316"/>
                  <a:pt x="1335" y="316"/>
                </a:cubicBezTo>
                <a:cubicBezTo>
                  <a:pt x="1335" y="315"/>
                  <a:pt x="1335" y="315"/>
                  <a:pt x="1335" y="314"/>
                </a:cubicBezTo>
                <a:cubicBezTo>
                  <a:pt x="1335" y="314"/>
                  <a:pt x="1335" y="313"/>
                  <a:pt x="1336" y="313"/>
                </a:cubicBezTo>
                <a:cubicBezTo>
                  <a:pt x="1336" y="312"/>
                  <a:pt x="1338" y="312"/>
                  <a:pt x="1340" y="311"/>
                </a:cubicBezTo>
                <a:cubicBezTo>
                  <a:pt x="1342" y="311"/>
                  <a:pt x="1344" y="310"/>
                  <a:pt x="1347" y="309"/>
                </a:cubicBezTo>
                <a:cubicBezTo>
                  <a:pt x="1350" y="308"/>
                  <a:pt x="1353" y="307"/>
                  <a:pt x="1357" y="305"/>
                </a:cubicBezTo>
                <a:cubicBezTo>
                  <a:pt x="1360" y="303"/>
                  <a:pt x="1364" y="300"/>
                  <a:pt x="1367" y="297"/>
                </a:cubicBezTo>
                <a:cubicBezTo>
                  <a:pt x="1370" y="294"/>
                  <a:pt x="1372" y="291"/>
                  <a:pt x="1374" y="288"/>
                </a:cubicBezTo>
                <a:cubicBezTo>
                  <a:pt x="1375" y="285"/>
                  <a:pt x="1376" y="283"/>
                  <a:pt x="1376" y="280"/>
                </a:cubicBezTo>
                <a:cubicBezTo>
                  <a:pt x="1377" y="277"/>
                  <a:pt x="1376" y="274"/>
                  <a:pt x="1375" y="271"/>
                </a:cubicBezTo>
                <a:cubicBezTo>
                  <a:pt x="1374" y="268"/>
                  <a:pt x="1372" y="266"/>
                  <a:pt x="1370" y="263"/>
                </a:cubicBezTo>
                <a:cubicBezTo>
                  <a:pt x="1367" y="261"/>
                  <a:pt x="1364" y="259"/>
                  <a:pt x="1361" y="258"/>
                </a:cubicBezTo>
                <a:cubicBezTo>
                  <a:pt x="1358" y="258"/>
                  <a:pt x="1355" y="258"/>
                  <a:pt x="1352" y="258"/>
                </a:cubicBezTo>
                <a:cubicBezTo>
                  <a:pt x="1348" y="259"/>
                  <a:pt x="1345" y="260"/>
                  <a:pt x="1341" y="261"/>
                </a:cubicBezTo>
                <a:cubicBezTo>
                  <a:pt x="1337" y="262"/>
                  <a:pt x="1334" y="264"/>
                  <a:pt x="1330" y="265"/>
                </a:cubicBezTo>
                <a:cubicBezTo>
                  <a:pt x="1326" y="266"/>
                  <a:pt x="1322" y="268"/>
                  <a:pt x="1318" y="269"/>
                </a:cubicBezTo>
                <a:cubicBezTo>
                  <a:pt x="1314" y="270"/>
                  <a:pt x="1310" y="270"/>
                  <a:pt x="1306" y="270"/>
                </a:cubicBezTo>
                <a:cubicBezTo>
                  <a:pt x="1302" y="270"/>
                  <a:pt x="1298" y="269"/>
                  <a:pt x="1294" y="268"/>
                </a:cubicBezTo>
                <a:cubicBezTo>
                  <a:pt x="1290" y="266"/>
                  <a:pt x="1286" y="264"/>
                  <a:pt x="1283" y="260"/>
                </a:cubicBezTo>
                <a:cubicBezTo>
                  <a:pt x="1279" y="256"/>
                  <a:pt x="1276" y="252"/>
                  <a:pt x="1274" y="247"/>
                </a:cubicBezTo>
                <a:cubicBezTo>
                  <a:pt x="1273" y="243"/>
                  <a:pt x="1272" y="238"/>
                  <a:pt x="1273" y="234"/>
                </a:cubicBezTo>
                <a:cubicBezTo>
                  <a:pt x="1273" y="229"/>
                  <a:pt x="1275" y="225"/>
                  <a:pt x="1277" y="220"/>
                </a:cubicBezTo>
                <a:cubicBezTo>
                  <a:pt x="1279" y="216"/>
                  <a:pt x="1283" y="211"/>
                  <a:pt x="1287" y="207"/>
                </a:cubicBezTo>
                <a:cubicBezTo>
                  <a:pt x="1289" y="205"/>
                  <a:pt x="1291" y="203"/>
                  <a:pt x="1293" y="202"/>
                </a:cubicBezTo>
                <a:cubicBezTo>
                  <a:pt x="1296" y="200"/>
                  <a:pt x="1298" y="198"/>
                  <a:pt x="1301" y="197"/>
                </a:cubicBezTo>
                <a:cubicBezTo>
                  <a:pt x="1303" y="196"/>
                  <a:pt x="1305" y="195"/>
                  <a:pt x="1308" y="194"/>
                </a:cubicBezTo>
                <a:cubicBezTo>
                  <a:pt x="1310" y="194"/>
                  <a:pt x="1311" y="193"/>
                  <a:pt x="1312" y="193"/>
                </a:cubicBezTo>
                <a:cubicBezTo>
                  <a:pt x="1313" y="193"/>
                  <a:pt x="1314" y="193"/>
                  <a:pt x="1314" y="193"/>
                </a:cubicBezTo>
                <a:cubicBezTo>
                  <a:pt x="1315" y="194"/>
                  <a:pt x="1315" y="194"/>
                  <a:pt x="1316" y="194"/>
                </a:cubicBezTo>
                <a:cubicBezTo>
                  <a:pt x="1316" y="194"/>
                  <a:pt x="1317" y="195"/>
                  <a:pt x="1317" y="195"/>
                </a:cubicBezTo>
                <a:cubicBezTo>
                  <a:pt x="1318" y="196"/>
                  <a:pt x="1319" y="197"/>
                  <a:pt x="1320" y="198"/>
                </a:cubicBezTo>
                <a:cubicBezTo>
                  <a:pt x="1320" y="198"/>
                  <a:pt x="1321" y="199"/>
                  <a:pt x="1322" y="200"/>
                </a:cubicBezTo>
                <a:cubicBezTo>
                  <a:pt x="1322" y="201"/>
                  <a:pt x="1323" y="201"/>
                  <a:pt x="1323" y="202"/>
                </a:cubicBezTo>
                <a:cubicBezTo>
                  <a:pt x="1323" y="203"/>
                  <a:pt x="1324" y="203"/>
                  <a:pt x="1323" y="204"/>
                </a:cubicBezTo>
                <a:cubicBezTo>
                  <a:pt x="1323" y="204"/>
                  <a:pt x="1323" y="204"/>
                  <a:pt x="1323" y="205"/>
                </a:cubicBezTo>
                <a:cubicBezTo>
                  <a:pt x="1322" y="205"/>
                  <a:pt x="1321" y="206"/>
                  <a:pt x="1319" y="206"/>
                </a:cubicBezTo>
                <a:cubicBezTo>
                  <a:pt x="1318" y="207"/>
                  <a:pt x="1316" y="207"/>
                  <a:pt x="1313" y="208"/>
                </a:cubicBezTo>
                <a:cubicBezTo>
                  <a:pt x="1311" y="209"/>
                  <a:pt x="1308" y="210"/>
                  <a:pt x="1305" y="212"/>
                </a:cubicBezTo>
                <a:cubicBezTo>
                  <a:pt x="1302" y="213"/>
                  <a:pt x="1299" y="215"/>
                  <a:pt x="1296" y="218"/>
                </a:cubicBezTo>
                <a:cubicBezTo>
                  <a:pt x="1294" y="221"/>
                  <a:pt x="1292" y="223"/>
                  <a:pt x="1291" y="226"/>
                </a:cubicBezTo>
                <a:cubicBezTo>
                  <a:pt x="1289" y="228"/>
                  <a:pt x="1289" y="231"/>
                  <a:pt x="1289" y="233"/>
                </a:cubicBezTo>
                <a:cubicBezTo>
                  <a:pt x="1289" y="236"/>
                  <a:pt x="1289" y="238"/>
                  <a:pt x="1290" y="240"/>
                </a:cubicBezTo>
                <a:cubicBezTo>
                  <a:pt x="1291" y="242"/>
                  <a:pt x="1292" y="244"/>
                  <a:pt x="1294" y="246"/>
                </a:cubicBezTo>
                <a:cubicBezTo>
                  <a:pt x="1297" y="249"/>
                  <a:pt x="1300" y="250"/>
                  <a:pt x="1303" y="251"/>
                </a:cubicBezTo>
                <a:cubicBezTo>
                  <a:pt x="1306" y="252"/>
                  <a:pt x="1309" y="252"/>
                  <a:pt x="1312" y="251"/>
                </a:cubicBezTo>
                <a:cubicBezTo>
                  <a:pt x="1316" y="251"/>
                  <a:pt x="1319" y="250"/>
                  <a:pt x="1323" y="248"/>
                </a:cubicBezTo>
                <a:cubicBezTo>
                  <a:pt x="1327" y="247"/>
                  <a:pt x="1331" y="246"/>
                  <a:pt x="1334" y="244"/>
                </a:cubicBezTo>
                <a:cubicBezTo>
                  <a:pt x="1338" y="243"/>
                  <a:pt x="1342" y="242"/>
                  <a:pt x="1346" y="241"/>
                </a:cubicBezTo>
                <a:cubicBezTo>
                  <a:pt x="1350" y="239"/>
                  <a:pt x="1354" y="239"/>
                  <a:pt x="1358" y="239"/>
                </a:cubicBezTo>
                <a:cubicBezTo>
                  <a:pt x="1362" y="239"/>
                  <a:pt x="1366" y="240"/>
                  <a:pt x="1370" y="241"/>
                </a:cubicBezTo>
                <a:cubicBezTo>
                  <a:pt x="1374" y="243"/>
                  <a:pt x="1378" y="245"/>
                  <a:pt x="1381" y="249"/>
                </a:cubicBezTo>
                <a:close/>
                <a:moveTo>
                  <a:pt x="1478" y="201"/>
                </a:moveTo>
                <a:cubicBezTo>
                  <a:pt x="1478" y="201"/>
                  <a:pt x="1479" y="202"/>
                  <a:pt x="1479" y="202"/>
                </a:cubicBezTo>
                <a:cubicBezTo>
                  <a:pt x="1479" y="203"/>
                  <a:pt x="1479" y="203"/>
                  <a:pt x="1478" y="204"/>
                </a:cubicBezTo>
                <a:cubicBezTo>
                  <a:pt x="1478" y="204"/>
                  <a:pt x="1478" y="205"/>
                  <a:pt x="1477" y="206"/>
                </a:cubicBezTo>
                <a:cubicBezTo>
                  <a:pt x="1476" y="207"/>
                  <a:pt x="1475" y="208"/>
                  <a:pt x="1474" y="209"/>
                </a:cubicBezTo>
                <a:cubicBezTo>
                  <a:pt x="1473" y="210"/>
                  <a:pt x="1472" y="211"/>
                  <a:pt x="1471" y="212"/>
                </a:cubicBezTo>
                <a:cubicBezTo>
                  <a:pt x="1470" y="213"/>
                  <a:pt x="1470" y="213"/>
                  <a:pt x="1469" y="213"/>
                </a:cubicBezTo>
                <a:cubicBezTo>
                  <a:pt x="1468" y="213"/>
                  <a:pt x="1468" y="214"/>
                  <a:pt x="1467" y="213"/>
                </a:cubicBezTo>
                <a:cubicBezTo>
                  <a:pt x="1467" y="213"/>
                  <a:pt x="1467" y="213"/>
                  <a:pt x="1466" y="213"/>
                </a:cubicBezTo>
                <a:lnTo>
                  <a:pt x="1428" y="175"/>
                </a:lnTo>
                <a:cubicBezTo>
                  <a:pt x="1425" y="171"/>
                  <a:pt x="1421" y="169"/>
                  <a:pt x="1419" y="167"/>
                </a:cubicBezTo>
                <a:cubicBezTo>
                  <a:pt x="1416" y="165"/>
                  <a:pt x="1413" y="164"/>
                  <a:pt x="1410" y="164"/>
                </a:cubicBezTo>
                <a:cubicBezTo>
                  <a:pt x="1407" y="163"/>
                  <a:pt x="1405" y="163"/>
                  <a:pt x="1402" y="164"/>
                </a:cubicBezTo>
                <a:cubicBezTo>
                  <a:pt x="1400" y="165"/>
                  <a:pt x="1397" y="167"/>
                  <a:pt x="1395" y="169"/>
                </a:cubicBezTo>
                <a:cubicBezTo>
                  <a:pt x="1392" y="172"/>
                  <a:pt x="1390" y="176"/>
                  <a:pt x="1389" y="181"/>
                </a:cubicBezTo>
                <a:cubicBezTo>
                  <a:pt x="1388" y="186"/>
                  <a:pt x="1388" y="192"/>
                  <a:pt x="1389" y="200"/>
                </a:cubicBezTo>
                <a:lnTo>
                  <a:pt x="1434" y="245"/>
                </a:lnTo>
                <a:cubicBezTo>
                  <a:pt x="1435" y="245"/>
                  <a:pt x="1435" y="246"/>
                  <a:pt x="1435" y="246"/>
                </a:cubicBezTo>
                <a:cubicBezTo>
                  <a:pt x="1435" y="246"/>
                  <a:pt x="1435" y="247"/>
                  <a:pt x="1435" y="248"/>
                </a:cubicBezTo>
                <a:cubicBezTo>
                  <a:pt x="1434" y="248"/>
                  <a:pt x="1434" y="249"/>
                  <a:pt x="1433" y="250"/>
                </a:cubicBezTo>
                <a:cubicBezTo>
                  <a:pt x="1433" y="251"/>
                  <a:pt x="1432" y="252"/>
                  <a:pt x="1430" y="253"/>
                </a:cubicBezTo>
                <a:cubicBezTo>
                  <a:pt x="1429" y="254"/>
                  <a:pt x="1428" y="255"/>
                  <a:pt x="1427" y="256"/>
                </a:cubicBezTo>
                <a:cubicBezTo>
                  <a:pt x="1427" y="256"/>
                  <a:pt x="1426" y="257"/>
                  <a:pt x="1425" y="257"/>
                </a:cubicBezTo>
                <a:cubicBezTo>
                  <a:pt x="1425" y="257"/>
                  <a:pt x="1424" y="257"/>
                  <a:pt x="1424" y="257"/>
                </a:cubicBezTo>
                <a:cubicBezTo>
                  <a:pt x="1423" y="257"/>
                  <a:pt x="1423" y="257"/>
                  <a:pt x="1422" y="257"/>
                </a:cubicBezTo>
                <a:lnTo>
                  <a:pt x="1326" y="161"/>
                </a:lnTo>
                <a:cubicBezTo>
                  <a:pt x="1326" y="160"/>
                  <a:pt x="1326" y="160"/>
                  <a:pt x="1326" y="159"/>
                </a:cubicBezTo>
                <a:cubicBezTo>
                  <a:pt x="1325" y="159"/>
                  <a:pt x="1326" y="158"/>
                  <a:pt x="1326" y="158"/>
                </a:cubicBezTo>
                <a:cubicBezTo>
                  <a:pt x="1326" y="157"/>
                  <a:pt x="1327" y="156"/>
                  <a:pt x="1327" y="155"/>
                </a:cubicBezTo>
                <a:cubicBezTo>
                  <a:pt x="1328" y="155"/>
                  <a:pt x="1329" y="154"/>
                  <a:pt x="1330" y="152"/>
                </a:cubicBezTo>
                <a:cubicBezTo>
                  <a:pt x="1331" y="151"/>
                  <a:pt x="1332" y="150"/>
                  <a:pt x="1333" y="150"/>
                </a:cubicBezTo>
                <a:cubicBezTo>
                  <a:pt x="1334" y="149"/>
                  <a:pt x="1335" y="149"/>
                  <a:pt x="1335" y="148"/>
                </a:cubicBezTo>
                <a:cubicBezTo>
                  <a:pt x="1336" y="148"/>
                  <a:pt x="1336" y="148"/>
                  <a:pt x="1337" y="148"/>
                </a:cubicBezTo>
                <a:cubicBezTo>
                  <a:pt x="1337" y="148"/>
                  <a:pt x="1338" y="148"/>
                  <a:pt x="1338" y="149"/>
                </a:cubicBezTo>
                <a:lnTo>
                  <a:pt x="1377" y="188"/>
                </a:lnTo>
                <a:cubicBezTo>
                  <a:pt x="1377" y="181"/>
                  <a:pt x="1377" y="174"/>
                  <a:pt x="1379" y="169"/>
                </a:cubicBezTo>
                <a:cubicBezTo>
                  <a:pt x="1381" y="164"/>
                  <a:pt x="1383" y="160"/>
                  <a:pt x="1387" y="156"/>
                </a:cubicBezTo>
                <a:cubicBezTo>
                  <a:pt x="1391" y="152"/>
                  <a:pt x="1396" y="149"/>
                  <a:pt x="1400" y="148"/>
                </a:cubicBezTo>
                <a:cubicBezTo>
                  <a:pt x="1404" y="146"/>
                  <a:pt x="1409" y="146"/>
                  <a:pt x="1413" y="146"/>
                </a:cubicBezTo>
                <a:cubicBezTo>
                  <a:pt x="1417" y="147"/>
                  <a:pt x="1421" y="148"/>
                  <a:pt x="1426" y="151"/>
                </a:cubicBezTo>
                <a:cubicBezTo>
                  <a:pt x="1430" y="153"/>
                  <a:pt x="1434" y="157"/>
                  <a:pt x="1439" y="162"/>
                </a:cubicBezTo>
                <a:lnTo>
                  <a:pt x="1478" y="201"/>
                </a:lnTo>
                <a:close/>
                <a:moveTo>
                  <a:pt x="1513" y="166"/>
                </a:moveTo>
                <a:cubicBezTo>
                  <a:pt x="1514" y="166"/>
                  <a:pt x="1514" y="166"/>
                  <a:pt x="1514" y="167"/>
                </a:cubicBezTo>
                <a:cubicBezTo>
                  <a:pt x="1514" y="167"/>
                  <a:pt x="1514" y="168"/>
                  <a:pt x="1514" y="168"/>
                </a:cubicBezTo>
                <a:cubicBezTo>
                  <a:pt x="1514" y="169"/>
                  <a:pt x="1513" y="170"/>
                  <a:pt x="1512" y="171"/>
                </a:cubicBezTo>
                <a:cubicBezTo>
                  <a:pt x="1512" y="172"/>
                  <a:pt x="1511" y="173"/>
                  <a:pt x="1510" y="174"/>
                </a:cubicBezTo>
                <a:cubicBezTo>
                  <a:pt x="1508" y="175"/>
                  <a:pt x="1507" y="176"/>
                  <a:pt x="1507" y="176"/>
                </a:cubicBezTo>
                <a:cubicBezTo>
                  <a:pt x="1506" y="177"/>
                  <a:pt x="1505" y="178"/>
                  <a:pt x="1504" y="178"/>
                </a:cubicBezTo>
                <a:cubicBezTo>
                  <a:pt x="1504" y="178"/>
                  <a:pt x="1503" y="178"/>
                  <a:pt x="1503" y="178"/>
                </a:cubicBezTo>
                <a:cubicBezTo>
                  <a:pt x="1502" y="178"/>
                  <a:pt x="1502" y="178"/>
                  <a:pt x="1502" y="177"/>
                </a:cubicBezTo>
                <a:lnTo>
                  <a:pt x="1437" y="113"/>
                </a:lnTo>
                <a:cubicBezTo>
                  <a:pt x="1437" y="112"/>
                  <a:pt x="1436" y="112"/>
                  <a:pt x="1436" y="112"/>
                </a:cubicBezTo>
                <a:cubicBezTo>
                  <a:pt x="1436" y="111"/>
                  <a:pt x="1436" y="111"/>
                  <a:pt x="1436" y="110"/>
                </a:cubicBezTo>
                <a:cubicBezTo>
                  <a:pt x="1437" y="109"/>
                  <a:pt x="1437" y="109"/>
                  <a:pt x="1438" y="108"/>
                </a:cubicBezTo>
                <a:cubicBezTo>
                  <a:pt x="1438" y="107"/>
                  <a:pt x="1439" y="106"/>
                  <a:pt x="1441" y="105"/>
                </a:cubicBezTo>
                <a:cubicBezTo>
                  <a:pt x="1442" y="103"/>
                  <a:pt x="1443" y="103"/>
                  <a:pt x="1444" y="102"/>
                </a:cubicBezTo>
                <a:cubicBezTo>
                  <a:pt x="1444" y="101"/>
                  <a:pt x="1445" y="101"/>
                  <a:pt x="1446" y="100"/>
                </a:cubicBezTo>
                <a:cubicBezTo>
                  <a:pt x="1446" y="100"/>
                  <a:pt x="1447" y="100"/>
                  <a:pt x="1448" y="100"/>
                </a:cubicBezTo>
                <a:cubicBezTo>
                  <a:pt x="1448" y="100"/>
                  <a:pt x="1448" y="101"/>
                  <a:pt x="1449" y="101"/>
                </a:cubicBezTo>
                <a:lnTo>
                  <a:pt x="1513" y="166"/>
                </a:lnTo>
                <a:close/>
                <a:moveTo>
                  <a:pt x="1428" y="78"/>
                </a:moveTo>
                <a:cubicBezTo>
                  <a:pt x="1431" y="80"/>
                  <a:pt x="1432" y="83"/>
                  <a:pt x="1432" y="85"/>
                </a:cubicBezTo>
                <a:cubicBezTo>
                  <a:pt x="1432" y="87"/>
                  <a:pt x="1431" y="89"/>
                  <a:pt x="1428" y="92"/>
                </a:cubicBezTo>
                <a:cubicBezTo>
                  <a:pt x="1425" y="95"/>
                  <a:pt x="1423" y="96"/>
                  <a:pt x="1421" y="97"/>
                </a:cubicBezTo>
                <a:cubicBezTo>
                  <a:pt x="1419" y="97"/>
                  <a:pt x="1416" y="95"/>
                  <a:pt x="1414" y="93"/>
                </a:cubicBezTo>
                <a:cubicBezTo>
                  <a:pt x="1411" y="90"/>
                  <a:pt x="1410" y="87"/>
                  <a:pt x="1410" y="85"/>
                </a:cubicBezTo>
                <a:cubicBezTo>
                  <a:pt x="1410" y="83"/>
                  <a:pt x="1411" y="81"/>
                  <a:pt x="1414" y="78"/>
                </a:cubicBezTo>
                <a:cubicBezTo>
                  <a:pt x="1417" y="75"/>
                  <a:pt x="1419" y="74"/>
                  <a:pt x="1421" y="74"/>
                </a:cubicBezTo>
                <a:cubicBezTo>
                  <a:pt x="1423" y="74"/>
                  <a:pt x="1426" y="75"/>
                  <a:pt x="1428" y="78"/>
                </a:cubicBezTo>
                <a:close/>
                <a:moveTo>
                  <a:pt x="1480" y="17"/>
                </a:moveTo>
                <a:cubicBezTo>
                  <a:pt x="1481" y="18"/>
                  <a:pt x="1481" y="19"/>
                  <a:pt x="1482" y="19"/>
                </a:cubicBezTo>
                <a:cubicBezTo>
                  <a:pt x="1482" y="20"/>
                  <a:pt x="1482" y="20"/>
                  <a:pt x="1483" y="21"/>
                </a:cubicBezTo>
                <a:cubicBezTo>
                  <a:pt x="1483" y="21"/>
                  <a:pt x="1483" y="22"/>
                  <a:pt x="1483" y="22"/>
                </a:cubicBezTo>
                <a:cubicBezTo>
                  <a:pt x="1483" y="22"/>
                  <a:pt x="1483" y="23"/>
                  <a:pt x="1482" y="23"/>
                </a:cubicBezTo>
                <a:cubicBezTo>
                  <a:pt x="1482" y="23"/>
                  <a:pt x="1482" y="24"/>
                  <a:pt x="1481" y="24"/>
                </a:cubicBezTo>
                <a:cubicBezTo>
                  <a:pt x="1480" y="24"/>
                  <a:pt x="1479" y="24"/>
                  <a:pt x="1478" y="25"/>
                </a:cubicBezTo>
                <a:cubicBezTo>
                  <a:pt x="1477" y="25"/>
                  <a:pt x="1476" y="26"/>
                  <a:pt x="1475" y="27"/>
                </a:cubicBezTo>
                <a:cubicBezTo>
                  <a:pt x="1474" y="28"/>
                  <a:pt x="1473" y="29"/>
                  <a:pt x="1471" y="30"/>
                </a:cubicBezTo>
                <a:cubicBezTo>
                  <a:pt x="1469" y="32"/>
                  <a:pt x="1468" y="33"/>
                  <a:pt x="1468" y="35"/>
                </a:cubicBezTo>
                <a:cubicBezTo>
                  <a:pt x="1467" y="37"/>
                  <a:pt x="1467" y="39"/>
                  <a:pt x="1467" y="41"/>
                </a:cubicBezTo>
                <a:cubicBezTo>
                  <a:pt x="1468" y="43"/>
                  <a:pt x="1469" y="45"/>
                  <a:pt x="1470" y="47"/>
                </a:cubicBezTo>
                <a:cubicBezTo>
                  <a:pt x="1472" y="50"/>
                  <a:pt x="1474" y="52"/>
                  <a:pt x="1477" y="55"/>
                </a:cubicBezTo>
                <a:lnTo>
                  <a:pt x="1484" y="62"/>
                </a:lnTo>
                <a:lnTo>
                  <a:pt x="1498" y="48"/>
                </a:lnTo>
                <a:cubicBezTo>
                  <a:pt x="1499" y="47"/>
                  <a:pt x="1499" y="47"/>
                  <a:pt x="1500" y="47"/>
                </a:cubicBezTo>
                <a:cubicBezTo>
                  <a:pt x="1500" y="47"/>
                  <a:pt x="1501" y="47"/>
                  <a:pt x="1501" y="47"/>
                </a:cubicBezTo>
                <a:cubicBezTo>
                  <a:pt x="1502" y="47"/>
                  <a:pt x="1503" y="47"/>
                  <a:pt x="1503" y="48"/>
                </a:cubicBezTo>
                <a:cubicBezTo>
                  <a:pt x="1504" y="48"/>
                  <a:pt x="1505" y="49"/>
                  <a:pt x="1506" y="50"/>
                </a:cubicBezTo>
                <a:cubicBezTo>
                  <a:pt x="1507" y="52"/>
                  <a:pt x="1508" y="53"/>
                  <a:pt x="1509" y="54"/>
                </a:cubicBezTo>
                <a:cubicBezTo>
                  <a:pt x="1509" y="56"/>
                  <a:pt x="1509" y="57"/>
                  <a:pt x="1508" y="57"/>
                </a:cubicBezTo>
                <a:lnTo>
                  <a:pt x="1494" y="72"/>
                </a:lnTo>
                <a:lnTo>
                  <a:pt x="1550" y="128"/>
                </a:lnTo>
                <a:cubicBezTo>
                  <a:pt x="1551" y="129"/>
                  <a:pt x="1551" y="129"/>
                  <a:pt x="1551" y="130"/>
                </a:cubicBezTo>
                <a:cubicBezTo>
                  <a:pt x="1551" y="130"/>
                  <a:pt x="1551" y="131"/>
                  <a:pt x="1551" y="131"/>
                </a:cubicBezTo>
                <a:cubicBezTo>
                  <a:pt x="1551" y="132"/>
                  <a:pt x="1550" y="133"/>
                  <a:pt x="1549" y="134"/>
                </a:cubicBezTo>
                <a:cubicBezTo>
                  <a:pt x="1549" y="134"/>
                  <a:pt x="1548" y="135"/>
                  <a:pt x="1547" y="137"/>
                </a:cubicBezTo>
                <a:cubicBezTo>
                  <a:pt x="1546" y="138"/>
                  <a:pt x="1545" y="139"/>
                  <a:pt x="1544" y="139"/>
                </a:cubicBezTo>
                <a:cubicBezTo>
                  <a:pt x="1543" y="140"/>
                  <a:pt x="1542" y="141"/>
                  <a:pt x="1541" y="141"/>
                </a:cubicBezTo>
                <a:cubicBezTo>
                  <a:pt x="1541" y="141"/>
                  <a:pt x="1540" y="141"/>
                  <a:pt x="1540" y="141"/>
                </a:cubicBezTo>
                <a:cubicBezTo>
                  <a:pt x="1539" y="141"/>
                  <a:pt x="1539" y="141"/>
                  <a:pt x="1539" y="140"/>
                </a:cubicBezTo>
                <a:lnTo>
                  <a:pt x="1482" y="84"/>
                </a:lnTo>
                <a:lnTo>
                  <a:pt x="1473" y="93"/>
                </a:lnTo>
                <a:cubicBezTo>
                  <a:pt x="1472" y="94"/>
                  <a:pt x="1471" y="94"/>
                  <a:pt x="1470" y="93"/>
                </a:cubicBezTo>
                <a:cubicBezTo>
                  <a:pt x="1469" y="93"/>
                  <a:pt x="1467" y="92"/>
                  <a:pt x="1466" y="90"/>
                </a:cubicBezTo>
                <a:cubicBezTo>
                  <a:pt x="1465" y="89"/>
                  <a:pt x="1464" y="89"/>
                  <a:pt x="1463" y="88"/>
                </a:cubicBezTo>
                <a:cubicBezTo>
                  <a:pt x="1463" y="87"/>
                  <a:pt x="1463" y="86"/>
                  <a:pt x="1462" y="86"/>
                </a:cubicBezTo>
                <a:cubicBezTo>
                  <a:pt x="1462" y="85"/>
                  <a:pt x="1462" y="85"/>
                  <a:pt x="1462" y="84"/>
                </a:cubicBezTo>
                <a:cubicBezTo>
                  <a:pt x="1462" y="84"/>
                  <a:pt x="1463" y="83"/>
                  <a:pt x="1463" y="83"/>
                </a:cubicBezTo>
                <a:lnTo>
                  <a:pt x="1472" y="74"/>
                </a:lnTo>
                <a:lnTo>
                  <a:pt x="1465" y="67"/>
                </a:lnTo>
                <a:cubicBezTo>
                  <a:pt x="1461" y="63"/>
                  <a:pt x="1457" y="58"/>
                  <a:pt x="1455" y="54"/>
                </a:cubicBezTo>
                <a:cubicBezTo>
                  <a:pt x="1453" y="50"/>
                  <a:pt x="1451" y="46"/>
                  <a:pt x="1451" y="43"/>
                </a:cubicBezTo>
                <a:cubicBezTo>
                  <a:pt x="1451" y="39"/>
                  <a:pt x="1451" y="35"/>
                  <a:pt x="1453" y="32"/>
                </a:cubicBezTo>
                <a:cubicBezTo>
                  <a:pt x="1454" y="28"/>
                  <a:pt x="1457" y="24"/>
                  <a:pt x="1461" y="21"/>
                </a:cubicBezTo>
                <a:cubicBezTo>
                  <a:pt x="1462" y="19"/>
                  <a:pt x="1464" y="18"/>
                  <a:pt x="1466" y="16"/>
                </a:cubicBezTo>
                <a:cubicBezTo>
                  <a:pt x="1468" y="15"/>
                  <a:pt x="1469" y="14"/>
                  <a:pt x="1471" y="14"/>
                </a:cubicBezTo>
                <a:cubicBezTo>
                  <a:pt x="1472" y="13"/>
                  <a:pt x="1473" y="13"/>
                  <a:pt x="1473" y="13"/>
                </a:cubicBezTo>
                <a:cubicBezTo>
                  <a:pt x="1474" y="13"/>
                  <a:pt x="1475" y="13"/>
                  <a:pt x="1475" y="13"/>
                </a:cubicBezTo>
                <a:cubicBezTo>
                  <a:pt x="1476" y="14"/>
                  <a:pt x="1476" y="14"/>
                  <a:pt x="1477" y="15"/>
                </a:cubicBezTo>
                <a:cubicBezTo>
                  <a:pt x="1478" y="15"/>
                  <a:pt x="1479" y="16"/>
                  <a:pt x="1480" y="17"/>
                </a:cubicBezTo>
                <a:close/>
                <a:moveTo>
                  <a:pt x="1610" y="60"/>
                </a:moveTo>
                <a:cubicBezTo>
                  <a:pt x="1611" y="61"/>
                  <a:pt x="1612" y="62"/>
                  <a:pt x="1613" y="63"/>
                </a:cubicBezTo>
                <a:cubicBezTo>
                  <a:pt x="1613" y="64"/>
                  <a:pt x="1614" y="65"/>
                  <a:pt x="1614" y="66"/>
                </a:cubicBezTo>
                <a:cubicBezTo>
                  <a:pt x="1614" y="67"/>
                  <a:pt x="1613" y="68"/>
                  <a:pt x="1613" y="69"/>
                </a:cubicBezTo>
                <a:cubicBezTo>
                  <a:pt x="1612" y="70"/>
                  <a:pt x="1612" y="71"/>
                  <a:pt x="1611" y="72"/>
                </a:cubicBezTo>
                <a:cubicBezTo>
                  <a:pt x="1610" y="74"/>
                  <a:pt x="1609" y="75"/>
                  <a:pt x="1609" y="76"/>
                </a:cubicBezTo>
                <a:cubicBezTo>
                  <a:pt x="1608" y="77"/>
                  <a:pt x="1607" y="78"/>
                  <a:pt x="1605" y="80"/>
                </a:cubicBezTo>
                <a:cubicBezTo>
                  <a:pt x="1602" y="83"/>
                  <a:pt x="1599" y="85"/>
                  <a:pt x="1595" y="87"/>
                </a:cubicBezTo>
                <a:cubicBezTo>
                  <a:pt x="1592" y="88"/>
                  <a:pt x="1589" y="89"/>
                  <a:pt x="1586" y="89"/>
                </a:cubicBezTo>
                <a:cubicBezTo>
                  <a:pt x="1582" y="88"/>
                  <a:pt x="1579" y="87"/>
                  <a:pt x="1575" y="85"/>
                </a:cubicBezTo>
                <a:cubicBezTo>
                  <a:pt x="1572" y="83"/>
                  <a:pt x="1568" y="80"/>
                  <a:pt x="1565" y="77"/>
                </a:cubicBezTo>
                <a:lnTo>
                  <a:pt x="1527" y="39"/>
                </a:lnTo>
                <a:lnTo>
                  <a:pt x="1518" y="48"/>
                </a:lnTo>
                <a:cubicBezTo>
                  <a:pt x="1517" y="49"/>
                  <a:pt x="1516" y="49"/>
                  <a:pt x="1515" y="48"/>
                </a:cubicBezTo>
                <a:cubicBezTo>
                  <a:pt x="1514" y="48"/>
                  <a:pt x="1512" y="47"/>
                  <a:pt x="1511" y="45"/>
                </a:cubicBezTo>
                <a:cubicBezTo>
                  <a:pt x="1510" y="44"/>
                  <a:pt x="1509" y="44"/>
                  <a:pt x="1508" y="43"/>
                </a:cubicBezTo>
                <a:cubicBezTo>
                  <a:pt x="1508" y="42"/>
                  <a:pt x="1508" y="41"/>
                  <a:pt x="1507" y="41"/>
                </a:cubicBezTo>
                <a:cubicBezTo>
                  <a:pt x="1507" y="40"/>
                  <a:pt x="1507" y="40"/>
                  <a:pt x="1507" y="39"/>
                </a:cubicBezTo>
                <a:cubicBezTo>
                  <a:pt x="1507" y="39"/>
                  <a:pt x="1508" y="38"/>
                  <a:pt x="1508" y="38"/>
                </a:cubicBezTo>
                <a:lnTo>
                  <a:pt x="1517" y="29"/>
                </a:lnTo>
                <a:lnTo>
                  <a:pt x="1502" y="14"/>
                </a:lnTo>
                <a:cubicBezTo>
                  <a:pt x="1501" y="13"/>
                  <a:pt x="1501" y="13"/>
                  <a:pt x="1501" y="12"/>
                </a:cubicBezTo>
                <a:cubicBezTo>
                  <a:pt x="1501" y="12"/>
                  <a:pt x="1501" y="11"/>
                  <a:pt x="1501" y="11"/>
                </a:cubicBezTo>
                <a:cubicBezTo>
                  <a:pt x="1501" y="10"/>
                  <a:pt x="1502" y="9"/>
                  <a:pt x="1503" y="8"/>
                </a:cubicBezTo>
                <a:cubicBezTo>
                  <a:pt x="1503" y="8"/>
                  <a:pt x="1504" y="6"/>
                  <a:pt x="1505" y="5"/>
                </a:cubicBezTo>
                <a:cubicBezTo>
                  <a:pt x="1506" y="4"/>
                  <a:pt x="1507" y="3"/>
                  <a:pt x="1508" y="3"/>
                </a:cubicBezTo>
                <a:cubicBezTo>
                  <a:pt x="1509" y="2"/>
                  <a:pt x="1510" y="1"/>
                  <a:pt x="1511" y="1"/>
                </a:cubicBezTo>
                <a:cubicBezTo>
                  <a:pt x="1511" y="1"/>
                  <a:pt x="1512" y="1"/>
                  <a:pt x="1512" y="1"/>
                </a:cubicBezTo>
                <a:cubicBezTo>
                  <a:pt x="1513" y="1"/>
                  <a:pt x="1513" y="1"/>
                  <a:pt x="1513" y="2"/>
                </a:cubicBezTo>
                <a:lnTo>
                  <a:pt x="1529" y="17"/>
                </a:lnTo>
                <a:lnTo>
                  <a:pt x="1545" y="0"/>
                </a:lnTo>
                <a:cubicBezTo>
                  <a:pt x="1546" y="0"/>
                  <a:pt x="1546" y="0"/>
                  <a:pt x="1547" y="0"/>
                </a:cubicBezTo>
                <a:cubicBezTo>
                  <a:pt x="1547" y="0"/>
                  <a:pt x="1548" y="0"/>
                  <a:pt x="1548" y="0"/>
                </a:cubicBezTo>
                <a:cubicBezTo>
                  <a:pt x="1549" y="0"/>
                  <a:pt x="1550" y="0"/>
                  <a:pt x="1550" y="1"/>
                </a:cubicBezTo>
                <a:cubicBezTo>
                  <a:pt x="1551" y="1"/>
                  <a:pt x="1552" y="2"/>
                  <a:pt x="1553" y="3"/>
                </a:cubicBezTo>
                <a:cubicBezTo>
                  <a:pt x="1554" y="5"/>
                  <a:pt x="1556" y="6"/>
                  <a:pt x="1556" y="7"/>
                </a:cubicBezTo>
                <a:cubicBezTo>
                  <a:pt x="1556" y="9"/>
                  <a:pt x="1556" y="10"/>
                  <a:pt x="1555" y="10"/>
                </a:cubicBezTo>
                <a:lnTo>
                  <a:pt x="1539" y="27"/>
                </a:lnTo>
                <a:lnTo>
                  <a:pt x="1575" y="63"/>
                </a:lnTo>
                <a:cubicBezTo>
                  <a:pt x="1579" y="67"/>
                  <a:pt x="1583" y="70"/>
                  <a:pt x="1587" y="71"/>
                </a:cubicBezTo>
                <a:cubicBezTo>
                  <a:pt x="1590" y="72"/>
                  <a:pt x="1594" y="71"/>
                  <a:pt x="1597" y="67"/>
                </a:cubicBezTo>
                <a:cubicBezTo>
                  <a:pt x="1598" y="66"/>
                  <a:pt x="1599" y="65"/>
                  <a:pt x="1600" y="64"/>
                </a:cubicBezTo>
                <a:cubicBezTo>
                  <a:pt x="1601" y="63"/>
                  <a:pt x="1601" y="62"/>
                  <a:pt x="1602" y="61"/>
                </a:cubicBezTo>
                <a:cubicBezTo>
                  <a:pt x="1602" y="60"/>
                  <a:pt x="1602" y="59"/>
                  <a:pt x="1603" y="59"/>
                </a:cubicBezTo>
                <a:cubicBezTo>
                  <a:pt x="1603" y="58"/>
                  <a:pt x="1603" y="58"/>
                  <a:pt x="1604" y="57"/>
                </a:cubicBezTo>
                <a:cubicBezTo>
                  <a:pt x="1604" y="57"/>
                  <a:pt x="1604" y="57"/>
                  <a:pt x="1604" y="57"/>
                </a:cubicBezTo>
                <a:cubicBezTo>
                  <a:pt x="1605" y="57"/>
                  <a:pt x="1605" y="57"/>
                  <a:pt x="1606" y="57"/>
                </a:cubicBezTo>
                <a:cubicBezTo>
                  <a:pt x="1606" y="57"/>
                  <a:pt x="1607" y="57"/>
                  <a:pt x="1607" y="58"/>
                </a:cubicBezTo>
                <a:cubicBezTo>
                  <a:pt x="1608" y="58"/>
                  <a:pt x="1609" y="59"/>
                  <a:pt x="1610" y="60"/>
                </a:cubicBezTo>
                <a:close/>
              </a:path>
            </a:pathLst>
          </a:custGeom>
          <a:solidFill>
            <a:srgbClr val="000000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098" name="Freeform 42"/>
          <p:cNvSpPr>
            <a:spLocks noEditPoints="1"/>
          </p:cNvSpPr>
          <p:nvPr/>
        </p:nvSpPr>
        <p:spPr bwMode="auto">
          <a:xfrm>
            <a:off x="3413385" y="3985506"/>
            <a:ext cx="939800" cy="927100"/>
          </a:xfrm>
          <a:custGeom>
            <a:avLst/>
            <a:gdLst/>
            <a:ahLst/>
            <a:cxnLst>
              <a:cxn ang="0">
                <a:pos x="51" y="1335"/>
              </a:cxn>
              <a:cxn ang="0">
                <a:pos x="91" y="1388"/>
              </a:cxn>
              <a:cxn ang="0">
                <a:pos x="158" y="1409"/>
              </a:cxn>
              <a:cxn ang="0">
                <a:pos x="210" y="1294"/>
              </a:cxn>
              <a:cxn ang="0">
                <a:pos x="237" y="1318"/>
              </a:cxn>
              <a:cxn ang="0">
                <a:pos x="163" y="1269"/>
              </a:cxn>
              <a:cxn ang="0">
                <a:pos x="308" y="1243"/>
              </a:cxn>
              <a:cxn ang="0">
                <a:pos x="233" y="1196"/>
              </a:cxn>
              <a:cxn ang="0">
                <a:pos x="244" y="1255"/>
              </a:cxn>
              <a:cxn ang="0">
                <a:pos x="369" y="1195"/>
              </a:cxn>
              <a:cxn ang="0">
                <a:pos x="263" y="1168"/>
              </a:cxn>
              <a:cxn ang="0">
                <a:pos x="304" y="1129"/>
              </a:cxn>
              <a:cxn ang="0">
                <a:pos x="363" y="1187"/>
              </a:cxn>
              <a:cxn ang="0">
                <a:pos x="393" y="1170"/>
              </a:cxn>
              <a:cxn ang="0">
                <a:pos x="325" y="1106"/>
              </a:cxn>
              <a:cxn ang="0">
                <a:pos x="359" y="1084"/>
              </a:cxn>
              <a:cxn ang="0">
                <a:pos x="380" y="1050"/>
              </a:cxn>
              <a:cxn ang="0">
                <a:pos x="511" y="1037"/>
              </a:cxn>
              <a:cxn ang="0">
                <a:pos x="430" y="998"/>
              </a:cxn>
              <a:cxn ang="0">
                <a:pos x="433" y="1028"/>
              </a:cxn>
              <a:cxn ang="0">
                <a:pos x="599" y="939"/>
              </a:cxn>
              <a:cxn ang="0">
                <a:pos x="555" y="986"/>
              </a:cxn>
              <a:cxn ang="0">
                <a:pos x="482" y="924"/>
              </a:cxn>
              <a:cxn ang="0">
                <a:pos x="531" y="881"/>
              </a:cxn>
              <a:cxn ang="0">
                <a:pos x="578" y="918"/>
              </a:cxn>
              <a:cxn ang="0">
                <a:pos x="630" y="923"/>
              </a:cxn>
              <a:cxn ang="0">
                <a:pos x="641" y="905"/>
              </a:cxn>
              <a:cxn ang="0">
                <a:pos x="749" y="778"/>
              </a:cxn>
              <a:cxn ang="0">
                <a:pos x="736" y="880"/>
              </a:cxn>
              <a:cxn ang="0">
                <a:pos x="675" y="753"/>
              </a:cxn>
              <a:cxn ang="0">
                <a:pos x="720" y="822"/>
              </a:cxn>
              <a:cxn ang="0">
                <a:pos x="826" y="788"/>
              </a:cxn>
              <a:cxn ang="0">
                <a:pos x="732" y="699"/>
              </a:cxn>
              <a:cxn ang="0">
                <a:pos x="772" y="680"/>
              </a:cxn>
              <a:cxn ang="0">
                <a:pos x="880" y="686"/>
              </a:cxn>
              <a:cxn ang="0">
                <a:pos x="784" y="588"/>
              </a:cxn>
              <a:cxn ang="0">
                <a:pos x="828" y="603"/>
              </a:cxn>
              <a:cxn ang="0">
                <a:pos x="890" y="544"/>
              </a:cxn>
              <a:cxn ang="0">
                <a:pos x="956" y="520"/>
              </a:cxn>
              <a:cxn ang="0">
                <a:pos x="993" y="425"/>
              </a:cxn>
              <a:cxn ang="0">
                <a:pos x="1045" y="494"/>
              </a:cxn>
              <a:cxn ang="0">
                <a:pos x="1112" y="452"/>
              </a:cxn>
              <a:cxn ang="0">
                <a:pos x="1047" y="400"/>
              </a:cxn>
              <a:cxn ang="0">
                <a:pos x="1052" y="379"/>
              </a:cxn>
              <a:cxn ang="0">
                <a:pos x="1090" y="414"/>
              </a:cxn>
              <a:cxn ang="0">
                <a:pos x="1181" y="437"/>
              </a:cxn>
              <a:cxn ang="0">
                <a:pos x="1107" y="326"/>
              </a:cxn>
              <a:cxn ang="0">
                <a:pos x="1118" y="356"/>
              </a:cxn>
              <a:cxn ang="0">
                <a:pos x="1262" y="289"/>
              </a:cxn>
              <a:cxn ang="0">
                <a:pos x="1202" y="247"/>
              </a:cxn>
              <a:cxn ang="0">
                <a:pos x="1185" y="242"/>
              </a:cxn>
              <a:cxn ang="0">
                <a:pos x="1251" y="281"/>
              </a:cxn>
              <a:cxn ang="0">
                <a:pos x="1248" y="220"/>
              </a:cxn>
              <a:cxn ang="0">
                <a:pos x="1282" y="174"/>
              </a:cxn>
              <a:cxn ang="0">
                <a:pos x="1332" y="207"/>
              </a:cxn>
              <a:cxn ang="0">
                <a:pos x="1305" y="125"/>
              </a:cxn>
              <a:cxn ang="0">
                <a:pos x="1428" y="125"/>
              </a:cxn>
              <a:cxn ang="0">
                <a:pos x="1327" y="108"/>
              </a:cxn>
              <a:cxn ang="0">
                <a:pos x="1364" y="66"/>
              </a:cxn>
              <a:cxn ang="0">
                <a:pos x="1423" y="122"/>
              </a:cxn>
              <a:cxn ang="0">
                <a:pos x="1375" y="64"/>
              </a:cxn>
              <a:cxn ang="0">
                <a:pos x="1429" y="1"/>
              </a:cxn>
            </a:cxnLst>
            <a:rect l="0" t="0" r="r" b="b"/>
            <a:pathLst>
              <a:path w="1492" h="1474">
                <a:moveTo>
                  <a:pt x="137" y="1420"/>
                </a:moveTo>
                <a:cubicBezTo>
                  <a:pt x="138" y="1421"/>
                  <a:pt x="139" y="1421"/>
                  <a:pt x="139" y="1422"/>
                </a:cubicBezTo>
                <a:cubicBezTo>
                  <a:pt x="140" y="1423"/>
                  <a:pt x="140" y="1424"/>
                  <a:pt x="140" y="1424"/>
                </a:cubicBezTo>
                <a:cubicBezTo>
                  <a:pt x="140" y="1425"/>
                  <a:pt x="140" y="1426"/>
                  <a:pt x="140" y="1426"/>
                </a:cubicBezTo>
                <a:cubicBezTo>
                  <a:pt x="140" y="1427"/>
                  <a:pt x="140" y="1427"/>
                  <a:pt x="140" y="1427"/>
                </a:cubicBezTo>
                <a:lnTo>
                  <a:pt x="95" y="1472"/>
                </a:lnTo>
                <a:cubicBezTo>
                  <a:pt x="94" y="1473"/>
                  <a:pt x="92" y="1474"/>
                  <a:pt x="91" y="1474"/>
                </a:cubicBezTo>
                <a:cubicBezTo>
                  <a:pt x="89" y="1474"/>
                  <a:pt x="87" y="1473"/>
                  <a:pt x="85" y="1472"/>
                </a:cubicBezTo>
                <a:lnTo>
                  <a:pt x="2" y="1389"/>
                </a:lnTo>
                <a:cubicBezTo>
                  <a:pt x="1" y="1387"/>
                  <a:pt x="0" y="1385"/>
                  <a:pt x="0" y="1383"/>
                </a:cubicBezTo>
                <a:cubicBezTo>
                  <a:pt x="0" y="1382"/>
                  <a:pt x="1" y="1380"/>
                  <a:pt x="2" y="1379"/>
                </a:cubicBezTo>
                <a:lnTo>
                  <a:pt x="46" y="1335"/>
                </a:lnTo>
                <a:cubicBezTo>
                  <a:pt x="46" y="1335"/>
                  <a:pt x="47" y="1334"/>
                  <a:pt x="47" y="1334"/>
                </a:cubicBezTo>
                <a:cubicBezTo>
                  <a:pt x="48" y="1334"/>
                  <a:pt x="49" y="1334"/>
                  <a:pt x="49" y="1334"/>
                </a:cubicBezTo>
                <a:cubicBezTo>
                  <a:pt x="50" y="1335"/>
                  <a:pt x="50" y="1335"/>
                  <a:pt x="51" y="1335"/>
                </a:cubicBezTo>
                <a:cubicBezTo>
                  <a:pt x="52" y="1336"/>
                  <a:pt x="53" y="1337"/>
                  <a:pt x="54" y="1338"/>
                </a:cubicBezTo>
                <a:cubicBezTo>
                  <a:pt x="55" y="1339"/>
                  <a:pt x="55" y="1339"/>
                  <a:pt x="56" y="1340"/>
                </a:cubicBezTo>
                <a:cubicBezTo>
                  <a:pt x="56" y="1341"/>
                  <a:pt x="57" y="1342"/>
                  <a:pt x="57" y="1342"/>
                </a:cubicBezTo>
                <a:cubicBezTo>
                  <a:pt x="57" y="1343"/>
                  <a:pt x="57" y="1343"/>
                  <a:pt x="57" y="1344"/>
                </a:cubicBezTo>
                <a:cubicBezTo>
                  <a:pt x="57" y="1344"/>
                  <a:pt x="57" y="1345"/>
                  <a:pt x="56" y="1345"/>
                </a:cubicBezTo>
                <a:lnTo>
                  <a:pt x="20" y="1382"/>
                </a:lnTo>
                <a:lnTo>
                  <a:pt x="49" y="1411"/>
                </a:lnTo>
                <a:lnTo>
                  <a:pt x="80" y="1380"/>
                </a:lnTo>
                <a:cubicBezTo>
                  <a:pt x="81" y="1379"/>
                  <a:pt x="81" y="1379"/>
                  <a:pt x="82" y="1379"/>
                </a:cubicBezTo>
                <a:cubicBezTo>
                  <a:pt x="82" y="1379"/>
                  <a:pt x="83" y="1379"/>
                  <a:pt x="83" y="1379"/>
                </a:cubicBezTo>
                <a:cubicBezTo>
                  <a:pt x="84" y="1379"/>
                  <a:pt x="85" y="1379"/>
                  <a:pt x="85" y="1380"/>
                </a:cubicBezTo>
                <a:cubicBezTo>
                  <a:pt x="86" y="1381"/>
                  <a:pt x="87" y="1381"/>
                  <a:pt x="88" y="1382"/>
                </a:cubicBezTo>
                <a:cubicBezTo>
                  <a:pt x="89" y="1383"/>
                  <a:pt x="90" y="1384"/>
                  <a:pt x="90" y="1385"/>
                </a:cubicBezTo>
                <a:cubicBezTo>
                  <a:pt x="91" y="1385"/>
                  <a:pt x="91" y="1386"/>
                  <a:pt x="91" y="1387"/>
                </a:cubicBezTo>
                <a:cubicBezTo>
                  <a:pt x="91" y="1387"/>
                  <a:pt x="91" y="1388"/>
                  <a:pt x="91" y="1388"/>
                </a:cubicBezTo>
                <a:cubicBezTo>
                  <a:pt x="91" y="1389"/>
                  <a:pt x="91" y="1389"/>
                  <a:pt x="90" y="1389"/>
                </a:cubicBezTo>
                <a:lnTo>
                  <a:pt x="59" y="1421"/>
                </a:lnTo>
                <a:lnTo>
                  <a:pt x="92" y="1454"/>
                </a:lnTo>
                <a:lnTo>
                  <a:pt x="129" y="1417"/>
                </a:lnTo>
                <a:cubicBezTo>
                  <a:pt x="130" y="1417"/>
                  <a:pt x="130" y="1416"/>
                  <a:pt x="131" y="1416"/>
                </a:cubicBezTo>
                <a:cubicBezTo>
                  <a:pt x="131" y="1416"/>
                  <a:pt x="132" y="1416"/>
                  <a:pt x="132" y="1416"/>
                </a:cubicBezTo>
                <a:cubicBezTo>
                  <a:pt x="133" y="1417"/>
                  <a:pt x="134" y="1417"/>
                  <a:pt x="134" y="1417"/>
                </a:cubicBezTo>
                <a:cubicBezTo>
                  <a:pt x="135" y="1418"/>
                  <a:pt x="136" y="1419"/>
                  <a:pt x="137" y="1420"/>
                </a:cubicBezTo>
                <a:close/>
                <a:moveTo>
                  <a:pt x="167" y="1396"/>
                </a:moveTo>
                <a:cubicBezTo>
                  <a:pt x="167" y="1397"/>
                  <a:pt x="168" y="1397"/>
                  <a:pt x="168" y="1398"/>
                </a:cubicBezTo>
                <a:cubicBezTo>
                  <a:pt x="168" y="1398"/>
                  <a:pt x="168" y="1399"/>
                  <a:pt x="167" y="1399"/>
                </a:cubicBezTo>
                <a:cubicBezTo>
                  <a:pt x="167" y="1400"/>
                  <a:pt x="167" y="1401"/>
                  <a:pt x="166" y="1401"/>
                </a:cubicBezTo>
                <a:cubicBezTo>
                  <a:pt x="165" y="1402"/>
                  <a:pt x="164" y="1403"/>
                  <a:pt x="163" y="1405"/>
                </a:cubicBezTo>
                <a:cubicBezTo>
                  <a:pt x="162" y="1406"/>
                  <a:pt x="161" y="1407"/>
                  <a:pt x="160" y="1407"/>
                </a:cubicBezTo>
                <a:cubicBezTo>
                  <a:pt x="159" y="1408"/>
                  <a:pt x="159" y="1408"/>
                  <a:pt x="158" y="1409"/>
                </a:cubicBezTo>
                <a:cubicBezTo>
                  <a:pt x="157" y="1409"/>
                  <a:pt x="157" y="1409"/>
                  <a:pt x="156" y="1409"/>
                </a:cubicBezTo>
                <a:cubicBezTo>
                  <a:pt x="156" y="1409"/>
                  <a:pt x="155" y="1409"/>
                  <a:pt x="155" y="1408"/>
                </a:cubicBezTo>
                <a:lnTo>
                  <a:pt x="59" y="1312"/>
                </a:lnTo>
                <a:cubicBezTo>
                  <a:pt x="59" y="1312"/>
                  <a:pt x="58" y="1311"/>
                  <a:pt x="58" y="1311"/>
                </a:cubicBezTo>
                <a:cubicBezTo>
                  <a:pt x="58" y="1311"/>
                  <a:pt x="58" y="1310"/>
                  <a:pt x="59" y="1309"/>
                </a:cubicBezTo>
                <a:cubicBezTo>
                  <a:pt x="59" y="1309"/>
                  <a:pt x="59" y="1308"/>
                  <a:pt x="60" y="1307"/>
                </a:cubicBezTo>
                <a:cubicBezTo>
                  <a:pt x="61" y="1306"/>
                  <a:pt x="62" y="1305"/>
                  <a:pt x="63" y="1304"/>
                </a:cubicBezTo>
                <a:cubicBezTo>
                  <a:pt x="64" y="1303"/>
                  <a:pt x="65" y="1302"/>
                  <a:pt x="66" y="1301"/>
                </a:cubicBezTo>
                <a:cubicBezTo>
                  <a:pt x="67" y="1301"/>
                  <a:pt x="67" y="1300"/>
                  <a:pt x="68" y="1300"/>
                </a:cubicBezTo>
                <a:cubicBezTo>
                  <a:pt x="69" y="1300"/>
                  <a:pt x="69" y="1300"/>
                  <a:pt x="70" y="1300"/>
                </a:cubicBezTo>
                <a:cubicBezTo>
                  <a:pt x="70" y="1300"/>
                  <a:pt x="71" y="1300"/>
                  <a:pt x="71" y="1300"/>
                </a:cubicBezTo>
                <a:lnTo>
                  <a:pt x="167" y="1396"/>
                </a:lnTo>
                <a:close/>
                <a:moveTo>
                  <a:pt x="209" y="1284"/>
                </a:moveTo>
                <a:cubicBezTo>
                  <a:pt x="211" y="1286"/>
                  <a:pt x="212" y="1288"/>
                  <a:pt x="212" y="1289"/>
                </a:cubicBezTo>
                <a:cubicBezTo>
                  <a:pt x="211" y="1291"/>
                  <a:pt x="211" y="1293"/>
                  <a:pt x="210" y="1294"/>
                </a:cubicBezTo>
                <a:lnTo>
                  <a:pt x="167" y="1336"/>
                </a:lnTo>
                <a:cubicBezTo>
                  <a:pt x="171" y="1340"/>
                  <a:pt x="174" y="1343"/>
                  <a:pt x="178" y="1345"/>
                </a:cubicBezTo>
                <a:cubicBezTo>
                  <a:pt x="181" y="1347"/>
                  <a:pt x="185" y="1348"/>
                  <a:pt x="189" y="1349"/>
                </a:cubicBezTo>
                <a:cubicBezTo>
                  <a:pt x="193" y="1349"/>
                  <a:pt x="196" y="1349"/>
                  <a:pt x="200" y="1347"/>
                </a:cubicBezTo>
                <a:cubicBezTo>
                  <a:pt x="204" y="1345"/>
                  <a:pt x="208" y="1343"/>
                  <a:pt x="212" y="1339"/>
                </a:cubicBezTo>
                <a:cubicBezTo>
                  <a:pt x="215" y="1336"/>
                  <a:pt x="217" y="1333"/>
                  <a:pt x="219" y="1330"/>
                </a:cubicBezTo>
                <a:cubicBezTo>
                  <a:pt x="221" y="1327"/>
                  <a:pt x="223" y="1324"/>
                  <a:pt x="224" y="1322"/>
                </a:cubicBezTo>
                <a:cubicBezTo>
                  <a:pt x="225" y="1319"/>
                  <a:pt x="226" y="1317"/>
                  <a:pt x="226" y="1316"/>
                </a:cubicBezTo>
                <a:cubicBezTo>
                  <a:pt x="227" y="1314"/>
                  <a:pt x="228" y="1313"/>
                  <a:pt x="228" y="1312"/>
                </a:cubicBezTo>
                <a:cubicBezTo>
                  <a:pt x="228" y="1312"/>
                  <a:pt x="229" y="1312"/>
                  <a:pt x="229" y="1312"/>
                </a:cubicBezTo>
                <a:cubicBezTo>
                  <a:pt x="230" y="1312"/>
                  <a:pt x="230" y="1312"/>
                  <a:pt x="231" y="1312"/>
                </a:cubicBezTo>
                <a:cubicBezTo>
                  <a:pt x="231" y="1312"/>
                  <a:pt x="232" y="1312"/>
                  <a:pt x="232" y="1313"/>
                </a:cubicBezTo>
                <a:cubicBezTo>
                  <a:pt x="233" y="1314"/>
                  <a:pt x="234" y="1314"/>
                  <a:pt x="235" y="1315"/>
                </a:cubicBezTo>
                <a:cubicBezTo>
                  <a:pt x="235" y="1316"/>
                  <a:pt x="236" y="1316"/>
                  <a:pt x="236" y="1317"/>
                </a:cubicBezTo>
                <a:cubicBezTo>
                  <a:pt x="237" y="1317"/>
                  <a:pt x="237" y="1318"/>
                  <a:pt x="237" y="1318"/>
                </a:cubicBezTo>
                <a:cubicBezTo>
                  <a:pt x="238" y="1319"/>
                  <a:pt x="238" y="1319"/>
                  <a:pt x="238" y="1320"/>
                </a:cubicBezTo>
                <a:cubicBezTo>
                  <a:pt x="238" y="1320"/>
                  <a:pt x="238" y="1320"/>
                  <a:pt x="238" y="1321"/>
                </a:cubicBezTo>
                <a:cubicBezTo>
                  <a:pt x="238" y="1322"/>
                  <a:pt x="238" y="1323"/>
                  <a:pt x="237" y="1325"/>
                </a:cubicBezTo>
                <a:cubicBezTo>
                  <a:pt x="236" y="1327"/>
                  <a:pt x="235" y="1329"/>
                  <a:pt x="234" y="1331"/>
                </a:cubicBezTo>
                <a:cubicBezTo>
                  <a:pt x="232" y="1334"/>
                  <a:pt x="230" y="1337"/>
                  <a:pt x="228" y="1340"/>
                </a:cubicBezTo>
                <a:cubicBezTo>
                  <a:pt x="226" y="1343"/>
                  <a:pt x="223" y="1346"/>
                  <a:pt x="220" y="1349"/>
                </a:cubicBezTo>
                <a:cubicBezTo>
                  <a:pt x="215" y="1355"/>
                  <a:pt x="209" y="1359"/>
                  <a:pt x="204" y="1361"/>
                </a:cubicBezTo>
                <a:cubicBezTo>
                  <a:pt x="199" y="1364"/>
                  <a:pt x="193" y="1365"/>
                  <a:pt x="187" y="1365"/>
                </a:cubicBezTo>
                <a:cubicBezTo>
                  <a:pt x="182" y="1364"/>
                  <a:pt x="176" y="1363"/>
                  <a:pt x="170" y="1360"/>
                </a:cubicBezTo>
                <a:cubicBezTo>
                  <a:pt x="164" y="1357"/>
                  <a:pt x="159" y="1352"/>
                  <a:pt x="153" y="1347"/>
                </a:cubicBezTo>
                <a:cubicBezTo>
                  <a:pt x="147" y="1341"/>
                  <a:pt x="143" y="1335"/>
                  <a:pt x="140" y="1329"/>
                </a:cubicBezTo>
                <a:cubicBezTo>
                  <a:pt x="137" y="1324"/>
                  <a:pt x="135" y="1318"/>
                  <a:pt x="135" y="1312"/>
                </a:cubicBezTo>
                <a:cubicBezTo>
                  <a:pt x="134" y="1306"/>
                  <a:pt x="135" y="1301"/>
                  <a:pt x="137" y="1295"/>
                </a:cubicBezTo>
                <a:cubicBezTo>
                  <a:pt x="140" y="1290"/>
                  <a:pt x="143" y="1284"/>
                  <a:pt x="148" y="1280"/>
                </a:cubicBezTo>
                <a:cubicBezTo>
                  <a:pt x="153" y="1275"/>
                  <a:pt x="158" y="1271"/>
                  <a:pt x="163" y="1269"/>
                </a:cubicBezTo>
                <a:cubicBezTo>
                  <a:pt x="168" y="1267"/>
                  <a:pt x="174" y="1266"/>
                  <a:pt x="179" y="1267"/>
                </a:cubicBezTo>
                <a:cubicBezTo>
                  <a:pt x="184" y="1267"/>
                  <a:pt x="189" y="1269"/>
                  <a:pt x="193" y="1272"/>
                </a:cubicBezTo>
                <a:cubicBezTo>
                  <a:pt x="198" y="1274"/>
                  <a:pt x="203" y="1278"/>
                  <a:pt x="207" y="1282"/>
                </a:cubicBezTo>
                <a:lnTo>
                  <a:pt x="209" y="1284"/>
                </a:lnTo>
                <a:close/>
                <a:moveTo>
                  <a:pt x="194" y="1292"/>
                </a:moveTo>
                <a:cubicBezTo>
                  <a:pt x="188" y="1286"/>
                  <a:pt x="181" y="1283"/>
                  <a:pt x="175" y="1282"/>
                </a:cubicBezTo>
                <a:cubicBezTo>
                  <a:pt x="168" y="1281"/>
                  <a:pt x="162" y="1284"/>
                  <a:pt x="157" y="1290"/>
                </a:cubicBezTo>
                <a:cubicBezTo>
                  <a:pt x="154" y="1293"/>
                  <a:pt x="152" y="1296"/>
                  <a:pt x="150" y="1299"/>
                </a:cubicBezTo>
                <a:cubicBezTo>
                  <a:pt x="149" y="1302"/>
                  <a:pt x="149" y="1306"/>
                  <a:pt x="149" y="1309"/>
                </a:cubicBezTo>
                <a:cubicBezTo>
                  <a:pt x="150" y="1312"/>
                  <a:pt x="151" y="1315"/>
                  <a:pt x="152" y="1319"/>
                </a:cubicBezTo>
                <a:cubicBezTo>
                  <a:pt x="154" y="1322"/>
                  <a:pt x="156" y="1325"/>
                  <a:pt x="158" y="1328"/>
                </a:cubicBezTo>
                <a:lnTo>
                  <a:pt x="194" y="1292"/>
                </a:lnTo>
                <a:close/>
                <a:moveTo>
                  <a:pt x="305" y="1239"/>
                </a:moveTo>
                <a:cubicBezTo>
                  <a:pt x="306" y="1240"/>
                  <a:pt x="306" y="1240"/>
                  <a:pt x="307" y="1241"/>
                </a:cubicBezTo>
                <a:cubicBezTo>
                  <a:pt x="307" y="1242"/>
                  <a:pt x="308" y="1242"/>
                  <a:pt x="308" y="1243"/>
                </a:cubicBezTo>
                <a:cubicBezTo>
                  <a:pt x="308" y="1243"/>
                  <a:pt x="309" y="1244"/>
                  <a:pt x="309" y="1244"/>
                </a:cubicBezTo>
                <a:cubicBezTo>
                  <a:pt x="309" y="1245"/>
                  <a:pt x="309" y="1246"/>
                  <a:pt x="309" y="1247"/>
                </a:cubicBezTo>
                <a:cubicBezTo>
                  <a:pt x="309" y="1248"/>
                  <a:pt x="309" y="1250"/>
                  <a:pt x="308" y="1252"/>
                </a:cubicBezTo>
                <a:cubicBezTo>
                  <a:pt x="308" y="1254"/>
                  <a:pt x="307" y="1257"/>
                  <a:pt x="306" y="1259"/>
                </a:cubicBezTo>
                <a:cubicBezTo>
                  <a:pt x="305" y="1262"/>
                  <a:pt x="303" y="1264"/>
                  <a:pt x="302" y="1267"/>
                </a:cubicBezTo>
                <a:cubicBezTo>
                  <a:pt x="300" y="1269"/>
                  <a:pt x="298" y="1272"/>
                  <a:pt x="296" y="1274"/>
                </a:cubicBezTo>
                <a:cubicBezTo>
                  <a:pt x="291" y="1279"/>
                  <a:pt x="286" y="1282"/>
                  <a:pt x="281" y="1284"/>
                </a:cubicBezTo>
                <a:cubicBezTo>
                  <a:pt x="276" y="1286"/>
                  <a:pt x="271" y="1287"/>
                  <a:pt x="265" y="1286"/>
                </a:cubicBezTo>
                <a:cubicBezTo>
                  <a:pt x="260" y="1286"/>
                  <a:pt x="254" y="1284"/>
                  <a:pt x="249" y="1281"/>
                </a:cubicBezTo>
                <a:cubicBezTo>
                  <a:pt x="243" y="1278"/>
                  <a:pt x="238" y="1274"/>
                  <a:pt x="232" y="1268"/>
                </a:cubicBezTo>
                <a:cubicBezTo>
                  <a:pt x="226" y="1262"/>
                  <a:pt x="221" y="1255"/>
                  <a:pt x="218" y="1249"/>
                </a:cubicBezTo>
                <a:cubicBezTo>
                  <a:pt x="215" y="1243"/>
                  <a:pt x="213" y="1237"/>
                  <a:pt x="213" y="1232"/>
                </a:cubicBezTo>
                <a:cubicBezTo>
                  <a:pt x="213" y="1226"/>
                  <a:pt x="214" y="1221"/>
                  <a:pt x="216" y="1216"/>
                </a:cubicBezTo>
                <a:cubicBezTo>
                  <a:pt x="219" y="1211"/>
                  <a:pt x="222" y="1206"/>
                  <a:pt x="226" y="1202"/>
                </a:cubicBezTo>
                <a:cubicBezTo>
                  <a:pt x="228" y="1200"/>
                  <a:pt x="230" y="1198"/>
                  <a:pt x="233" y="1196"/>
                </a:cubicBezTo>
                <a:cubicBezTo>
                  <a:pt x="235" y="1195"/>
                  <a:pt x="237" y="1193"/>
                  <a:pt x="239" y="1192"/>
                </a:cubicBezTo>
                <a:cubicBezTo>
                  <a:pt x="242" y="1191"/>
                  <a:pt x="244" y="1191"/>
                  <a:pt x="246" y="1190"/>
                </a:cubicBezTo>
                <a:cubicBezTo>
                  <a:pt x="248" y="1190"/>
                  <a:pt x="250" y="1190"/>
                  <a:pt x="251" y="1190"/>
                </a:cubicBezTo>
                <a:cubicBezTo>
                  <a:pt x="252" y="1190"/>
                  <a:pt x="253" y="1190"/>
                  <a:pt x="253" y="1190"/>
                </a:cubicBezTo>
                <a:cubicBezTo>
                  <a:pt x="254" y="1190"/>
                  <a:pt x="255" y="1190"/>
                  <a:pt x="255" y="1190"/>
                </a:cubicBezTo>
                <a:cubicBezTo>
                  <a:pt x="256" y="1191"/>
                  <a:pt x="256" y="1191"/>
                  <a:pt x="257" y="1192"/>
                </a:cubicBezTo>
                <a:cubicBezTo>
                  <a:pt x="258" y="1192"/>
                  <a:pt x="258" y="1193"/>
                  <a:pt x="259" y="1194"/>
                </a:cubicBezTo>
                <a:cubicBezTo>
                  <a:pt x="261" y="1196"/>
                  <a:pt x="262" y="1197"/>
                  <a:pt x="262" y="1198"/>
                </a:cubicBezTo>
                <a:cubicBezTo>
                  <a:pt x="263" y="1199"/>
                  <a:pt x="263" y="1200"/>
                  <a:pt x="262" y="1201"/>
                </a:cubicBezTo>
                <a:cubicBezTo>
                  <a:pt x="261" y="1202"/>
                  <a:pt x="260" y="1202"/>
                  <a:pt x="258" y="1202"/>
                </a:cubicBezTo>
                <a:cubicBezTo>
                  <a:pt x="257" y="1202"/>
                  <a:pt x="255" y="1203"/>
                  <a:pt x="252" y="1203"/>
                </a:cubicBezTo>
                <a:cubicBezTo>
                  <a:pt x="250" y="1204"/>
                  <a:pt x="247" y="1204"/>
                  <a:pt x="244" y="1206"/>
                </a:cubicBezTo>
                <a:cubicBezTo>
                  <a:pt x="241" y="1207"/>
                  <a:pt x="239" y="1209"/>
                  <a:pt x="236" y="1212"/>
                </a:cubicBezTo>
                <a:cubicBezTo>
                  <a:pt x="230" y="1217"/>
                  <a:pt x="228" y="1224"/>
                  <a:pt x="229" y="1231"/>
                </a:cubicBezTo>
                <a:cubicBezTo>
                  <a:pt x="231" y="1239"/>
                  <a:pt x="236" y="1247"/>
                  <a:pt x="244" y="1255"/>
                </a:cubicBezTo>
                <a:cubicBezTo>
                  <a:pt x="248" y="1259"/>
                  <a:pt x="252" y="1262"/>
                  <a:pt x="256" y="1265"/>
                </a:cubicBezTo>
                <a:cubicBezTo>
                  <a:pt x="260" y="1267"/>
                  <a:pt x="264" y="1269"/>
                  <a:pt x="267" y="1269"/>
                </a:cubicBezTo>
                <a:cubicBezTo>
                  <a:pt x="271" y="1270"/>
                  <a:pt x="274" y="1269"/>
                  <a:pt x="278" y="1268"/>
                </a:cubicBezTo>
                <a:cubicBezTo>
                  <a:pt x="281" y="1267"/>
                  <a:pt x="284" y="1265"/>
                  <a:pt x="287" y="1262"/>
                </a:cubicBezTo>
                <a:cubicBezTo>
                  <a:pt x="290" y="1259"/>
                  <a:pt x="292" y="1257"/>
                  <a:pt x="293" y="1254"/>
                </a:cubicBezTo>
                <a:cubicBezTo>
                  <a:pt x="294" y="1251"/>
                  <a:pt x="295" y="1248"/>
                  <a:pt x="295" y="1246"/>
                </a:cubicBezTo>
                <a:cubicBezTo>
                  <a:pt x="296" y="1243"/>
                  <a:pt x="296" y="1241"/>
                  <a:pt x="296" y="1239"/>
                </a:cubicBezTo>
                <a:cubicBezTo>
                  <a:pt x="296" y="1237"/>
                  <a:pt x="297" y="1236"/>
                  <a:pt x="297" y="1235"/>
                </a:cubicBezTo>
                <a:cubicBezTo>
                  <a:pt x="298" y="1235"/>
                  <a:pt x="298" y="1235"/>
                  <a:pt x="299" y="1235"/>
                </a:cubicBezTo>
                <a:cubicBezTo>
                  <a:pt x="299" y="1235"/>
                  <a:pt x="300" y="1235"/>
                  <a:pt x="300" y="1235"/>
                </a:cubicBezTo>
                <a:cubicBezTo>
                  <a:pt x="301" y="1235"/>
                  <a:pt x="301" y="1236"/>
                  <a:pt x="302" y="1236"/>
                </a:cubicBezTo>
                <a:cubicBezTo>
                  <a:pt x="303" y="1237"/>
                  <a:pt x="304" y="1238"/>
                  <a:pt x="305" y="1239"/>
                </a:cubicBezTo>
                <a:close/>
                <a:moveTo>
                  <a:pt x="365" y="1189"/>
                </a:moveTo>
                <a:cubicBezTo>
                  <a:pt x="366" y="1190"/>
                  <a:pt x="367" y="1191"/>
                  <a:pt x="368" y="1192"/>
                </a:cubicBezTo>
                <a:cubicBezTo>
                  <a:pt x="369" y="1193"/>
                  <a:pt x="369" y="1194"/>
                  <a:pt x="369" y="1195"/>
                </a:cubicBezTo>
                <a:cubicBezTo>
                  <a:pt x="369" y="1196"/>
                  <a:pt x="369" y="1197"/>
                  <a:pt x="368" y="1198"/>
                </a:cubicBezTo>
                <a:cubicBezTo>
                  <a:pt x="368" y="1199"/>
                  <a:pt x="367" y="1200"/>
                  <a:pt x="366" y="1201"/>
                </a:cubicBezTo>
                <a:cubicBezTo>
                  <a:pt x="366" y="1203"/>
                  <a:pt x="365" y="1204"/>
                  <a:pt x="364" y="1205"/>
                </a:cubicBezTo>
                <a:cubicBezTo>
                  <a:pt x="363" y="1206"/>
                  <a:pt x="362" y="1207"/>
                  <a:pt x="361" y="1209"/>
                </a:cubicBezTo>
                <a:cubicBezTo>
                  <a:pt x="357" y="1212"/>
                  <a:pt x="354" y="1214"/>
                  <a:pt x="351" y="1216"/>
                </a:cubicBezTo>
                <a:cubicBezTo>
                  <a:pt x="348" y="1217"/>
                  <a:pt x="344" y="1218"/>
                  <a:pt x="341" y="1218"/>
                </a:cubicBezTo>
                <a:cubicBezTo>
                  <a:pt x="338" y="1217"/>
                  <a:pt x="334" y="1216"/>
                  <a:pt x="331" y="1214"/>
                </a:cubicBezTo>
                <a:cubicBezTo>
                  <a:pt x="327" y="1212"/>
                  <a:pt x="324" y="1209"/>
                  <a:pt x="320" y="1206"/>
                </a:cubicBezTo>
                <a:lnTo>
                  <a:pt x="282" y="1168"/>
                </a:lnTo>
                <a:lnTo>
                  <a:pt x="273" y="1177"/>
                </a:lnTo>
                <a:cubicBezTo>
                  <a:pt x="272" y="1178"/>
                  <a:pt x="272" y="1178"/>
                  <a:pt x="270" y="1177"/>
                </a:cubicBezTo>
                <a:cubicBezTo>
                  <a:pt x="269" y="1177"/>
                  <a:pt x="268" y="1176"/>
                  <a:pt x="266" y="1174"/>
                </a:cubicBezTo>
                <a:cubicBezTo>
                  <a:pt x="265" y="1173"/>
                  <a:pt x="264" y="1173"/>
                  <a:pt x="264" y="1172"/>
                </a:cubicBezTo>
                <a:cubicBezTo>
                  <a:pt x="263" y="1171"/>
                  <a:pt x="263" y="1170"/>
                  <a:pt x="263" y="1170"/>
                </a:cubicBezTo>
                <a:cubicBezTo>
                  <a:pt x="263" y="1169"/>
                  <a:pt x="262" y="1169"/>
                  <a:pt x="263" y="1168"/>
                </a:cubicBezTo>
                <a:cubicBezTo>
                  <a:pt x="263" y="1168"/>
                  <a:pt x="263" y="1167"/>
                  <a:pt x="263" y="1167"/>
                </a:cubicBezTo>
                <a:lnTo>
                  <a:pt x="272" y="1158"/>
                </a:lnTo>
                <a:lnTo>
                  <a:pt x="257" y="1143"/>
                </a:lnTo>
                <a:cubicBezTo>
                  <a:pt x="257" y="1142"/>
                  <a:pt x="256" y="1142"/>
                  <a:pt x="256" y="1141"/>
                </a:cubicBezTo>
                <a:cubicBezTo>
                  <a:pt x="256" y="1141"/>
                  <a:pt x="256" y="1140"/>
                  <a:pt x="257" y="1140"/>
                </a:cubicBezTo>
                <a:cubicBezTo>
                  <a:pt x="257" y="1139"/>
                  <a:pt x="257" y="1138"/>
                  <a:pt x="258" y="1137"/>
                </a:cubicBezTo>
                <a:cubicBezTo>
                  <a:pt x="259" y="1136"/>
                  <a:pt x="259" y="1135"/>
                  <a:pt x="261" y="1134"/>
                </a:cubicBezTo>
                <a:cubicBezTo>
                  <a:pt x="262" y="1133"/>
                  <a:pt x="263" y="1132"/>
                  <a:pt x="264" y="1132"/>
                </a:cubicBezTo>
                <a:cubicBezTo>
                  <a:pt x="265" y="1131"/>
                  <a:pt x="265" y="1130"/>
                  <a:pt x="266" y="1130"/>
                </a:cubicBezTo>
                <a:cubicBezTo>
                  <a:pt x="267" y="1130"/>
                  <a:pt x="267" y="1130"/>
                  <a:pt x="268" y="1130"/>
                </a:cubicBezTo>
                <a:cubicBezTo>
                  <a:pt x="268" y="1130"/>
                  <a:pt x="269" y="1130"/>
                  <a:pt x="269" y="1131"/>
                </a:cubicBezTo>
                <a:lnTo>
                  <a:pt x="284" y="1146"/>
                </a:lnTo>
                <a:lnTo>
                  <a:pt x="301" y="1129"/>
                </a:lnTo>
                <a:cubicBezTo>
                  <a:pt x="301" y="1129"/>
                  <a:pt x="302" y="1129"/>
                  <a:pt x="302" y="1129"/>
                </a:cubicBezTo>
                <a:cubicBezTo>
                  <a:pt x="303" y="1129"/>
                  <a:pt x="303" y="1129"/>
                  <a:pt x="304" y="1129"/>
                </a:cubicBezTo>
                <a:cubicBezTo>
                  <a:pt x="304" y="1129"/>
                  <a:pt x="305" y="1129"/>
                  <a:pt x="306" y="1130"/>
                </a:cubicBezTo>
                <a:cubicBezTo>
                  <a:pt x="306" y="1130"/>
                  <a:pt x="307" y="1131"/>
                  <a:pt x="308" y="1132"/>
                </a:cubicBezTo>
                <a:cubicBezTo>
                  <a:pt x="310" y="1134"/>
                  <a:pt x="311" y="1135"/>
                  <a:pt x="311" y="1136"/>
                </a:cubicBezTo>
                <a:cubicBezTo>
                  <a:pt x="312" y="1138"/>
                  <a:pt x="311" y="1139"/>
                  <a:pt x="311" y="1139"/>
                </a:cubicBezTo>
                <a:lnTo>
                  <a:pt x="294" y="1156"/>
                </a:lnTo>
                <a:lnTo>
                  <a:pt x="330" y="1192"/>
                </a:lnTo>
                <a:cubicBezTo>
                  <a:pt x="335" y="1196"/>
                  <a:pt x="339" y="1199"/>
                  <a:pt x="342" y="1200"/>
                </a:cubicBezTo>
                <a:cubicBezTo>
                  <a:pt x="346" y="1201"/>
                  <a:pt x="349" y="1200"/>
                  <a:pt x="353" y="1196"/>
                </a:cubicBezTo>
                <a:cubicBezTo>
                  <a:pt x="354" y="1195"/>
                  <a:pt x="355" y="1194"/>
                  <a:pt x="355" y="1193"/>
                </a:cubicBezTo>
                <a:cubicBezTo>
                  <a:pt x="356" y="1192"/>
                  <a:pt x="356" y="1191"/>
                  <a:pt x="357" y="1190"/>
                </a:cubicBezTo>
                <a:cubicBezTo>
                  <a:pt x="357" y="1189"/>
                  <a:pt x="358" y="1188"/>
                  <a:pt x="358" y="1188"/>
                </a:cubicBezTo>
                <a:cubicBezTo>
                  <a:pt x="358" y="1187"/>
                  <a:pt x="359" y="1187"/>
                  <a:pt x="359" y="1186"/>
                </a:cubicBezTo>
                <a:cubicBezTo>
                  <a:pt x="359" y="1186"/>
                  <a:pt x="359" y="1186"/>
                  <a:pt x="360" y="1186"/>
                </a:cubicBezTo>
                <a:cubicBezTo>
                  <a:pt x="360" y="1186"/>
                  <a:pt x="361" y="1186"/>
                  <a:pt x="361" y="1186"/>
                </a:cubicBezTo>
                <a:cubicBezTo>
                  <a:pt x="361" y="1186"/>
                  <a:pt x="362" y="1186"/>
                  <a:pt x="363" y="1187"/>
                </a:cubicBezTo>
                <a:cubicBezTo>
                  <a:pt x="363" y="1187"/>
                  <a:pt x="364" y="1188"/>
                  <a:pt x="365" y="1189"/>
                </a:cubicBezTo>
                <a:close/>
                <a:moveTo>
                  <a:pt x="359" y="1084"/>
                </a:moveTo>
                <a:cubicBezTo>
                  <a:pt x="360" y="1085"/>
                  <a:pt x="361" y="1086"/>
                  <a:pt x="361" y="1086"/>
                </a:cubicBezTo>
                <a:cubicBezTo>
                  <a:pt x="362" y="1087"/>
                  <a:pt x="362" y="1088"/>
                  <a:pt x="363" y="1088"/>
                </a:cubicBezTo>
                <a:cubicBezTo>
                  <a:pt x="363" y="1089"/>
                  <a:pt x="363" y="1090"/>
                  <a:pt x="363" y="1090"/>
                </a:cubicBezTo>
                <a:cubicBezTo>
                  <a:pt x="363" y="1090"/>
                  <a:pt x="363" y="1091"/>
                  <a:pt x="363" y="1091"/>
                </a:cubicBezTo>
                <a:cubicBezTo>
                  <a:pt x="362" y="1092"/>
                  <a:pt x="362" y="1092"/>
                  <a:pt x="361" y="1092"/>
                </a:cubicBezTo>
                <a:cubicBezTo>
                  <a:pt x="360" y="1093"/>
                  <a:pt x="359" y="1093"/>
                  <a:pt x="358" y="1093"/>
                </a:cubicBezTo>
                <a:cubicBezTo>
                  <a:pt x="357" y="1094"/>
                  <a:pt x="356" y="1095"/>
                  <a:pt x="355" y="1095"/>
                </a:cubicBezTo>
                <a:cubicBezTo>
                  <a:pt x="354" y="1096"/>
                  <a:pt x="353" y="1097"/>
                  <a:pt x="352" y="1098"/>
                </a:cubicBezTo>
                <a:cubicBezTo>
                  <a:pt x="351" y="1099"/>
                  <a:pt x="350" y="1100"/>
                  <a:pt x="349" y="1102"/>
                </a:cubicBezTo>
                <a:cubicBezTo>
                  <a:pt x="349" y="1104"/>
                  <a:pt x="348" y="1106"/>
                  <a:pt x="348" y="1108"/>
                </a:cubicBezTo>
                <a:cubicBezTo>
                  <a:pt x="348" y="1110"/>
                  <a:pt x="348" y="1113"/>
                  <a:pt x="349" y="1116"/>
                </a:cubicBezTo>
                <a:cubicBezTo>
                  <a:pt x="349" y="1120"/>
                  <a:pt x="350" y="1123"/>
                  <a:pt x="351" y="1128"/>
                </a:cubicBezTo>
                <a:lnTo>
                  <a:pt x="393" y="1170"/>
                </a:lnTo>
                <a:cubicBezTo>
                  <a:pt x="394" y="1170"/>
                  <a:pt x="394" y="1171"/>
                  <a:pt x="394" y="1171"/>
                </a:cubicBezTo>
                <a:cubicBezTo>
                  <a:pt x="394" y="1172"/>
                  <a:pt x="394" y="1172"/>
                  <a:pt x="394" y="1173"/>
                </a:cubicBezTo>
                <a:cubicBezTo>
                  <a:pt x="393" y="1174"/>
                  <a:pt x="393" y="1174"/>
                  <a:pt x="392" y="1175"/>
                </a:cubicBezTo>
                <a:cubicBezTo>
                  <a:pt x="392" y="1176"/>
                  <a:pt x="391" y="1177"/>
                  <a:pt x="389" y="1178"/>
                </a:cubicBezTo>
                <a:cubicBezTo>
                  <a:pt x="388" y="1179"/>
                  <a:pt x="387" y="1180"/>
                  <a:pt x="386" y="1181"/>
                </a:cubicBezTo>
                <a:cubicBezTo>
                  <a:pt x="386" y="1182"/>
                  <a:pt x="385" y="1182"/>
                  <a:pt x="384" y="1182"/>
                </a:cubicBezTo>
                <a:cubicBezTo>
                  <a:pt x="384" y="1183"/>
                  <a:pt x="383" y="1183"/>
                  <a:pt x="383" y="1183"/>
                </a:cubicBezTo>
                <a:cubicBezTo>
                  <a:pt x="382" y="1183"/>
                  <a:pt x="382" y="1182"/>
                  <a:pt x="381" y="1182"/>
                </a:cubicBezTo>
                <a:lnTo>
                  <a:pt x="317" y="1117"/>
                </a:lnTo>
                <a:cubicBezTo>
                  <a:pt x="316" y="1117"/>
                  <a:pt x="316" y="1117"/>
                  <a:pt x="316" y="1116"/>
                </a:cubicBezTo>
                <a:cubicBezTo>
                  <a:pt x="316" y="1116"/>
                  <a:pt x="316" y="1115"/>
                  <a:pt x="316" y="1115"/>
                </a:cubicBezTo>
                <a:cubicBezTo>
                  <a:pt x="316" y="1114"/>
                  <a:pt x="317" y="1113"/>
                  <a:pt x="317" y="1112"/>
                </a:cubicBezTo>
                <a:cubicBezTo>
                  <a:pt x="318" y="1112"/>
                  <a:pt x="319" y="1111"/>
                  <a:pt x="320" y="1110"/>
                </a:cubicBezTo>
                <a:cubicBezTo>
                  <a:pt x="321" y="1109"/>
                  <a:pt x="322" y="1108"/>
                  <a:pt x="323" y="1107"/>
                </a:cubicBezTo>
                <a:cubicBezTo>
                  <a:pt x="323" y="1107"/>
                  <a:pt x="324" y="1106"/>
                  <a:pt x="325" y="1106"/>
                </a:cubicBezTo>
                <a:cubicBezTo>
                  <a:pt x="325" y="1106"/>
                  <a:pt x="326" y="1106"/>
                  <a:pt x="326" y="1106"/>
                </a:cubicBezTo>
                <a:cubicBezTo>
                  <a:pt x="327" y="1106"/>
                  <a:pt x="327" y="1106"/>
                  <a:pt x="327" y="1107"/>
                </a:cubicBezTo>
                <a:lnTo>
                  <a:pt x="337" y="1116"/>
                </a:lnTo>
                <a:cubicBezTo>
                  <a:pt x="336" y="1112"/>
                  <a:pt x="336" y="1108"/>
                  <a:pt x="335" y="1105"/>
                </a:cubicBezTo>
                <a:cubicBezTo>
                  <a:pt x="335" y="1102"/>
                  <a:pt x="336" y="1099"/>
                  <a:pt x="336" y="1096"/>
                </a:cubicBezTo>
                <a:cubicBezTo>
                  <a:pt x="337" y="1094"/>
                  <a:pt x="337" y="1092"/>
                  <a:pt x="338" y="1090"/>
                </a:cubicBezTo>
                <a:cubicBezTo>
                  <a:pt x="339" y="1089"/>
                  <a:pt x="340" y="1087"/>
                  <a:pt x="342" y="1086"/>
                </a:cubicBezTo>
                <a:cubicBezTo>
                  <a:pt x="342" y="1085"/>
                  <a:pt x="343" y="1084"/>
                  <a:pt x="344" y="1084"/>
                </a:cubicBezTo>
                <a:cubicBezTo>
                  <a:pt x="345" y="1083"/>
                  <a:pt x="346" y="1082"/>
                  <a:pt x="347" y="1082"/>
                </a:cubicBezTo>
                <a:cubicBezTo>
                  <a:pt x="348" y="1081"/>
                  <a:pt x="349" y="1080"/>
                  <a:pt x="350" y="1080"/>
                </a:cubicBezTo>
                <a:cubicBezTo>
                  <a:pt x="351" y="1079"/>
                  <a:pt x="352" y="1079"/>
                  <a:pt x="352" y="1079"/>
                </a:cubicBezTo>
                <a:cubicBezTo>
                  <a:pt x="353" y="1079"/>
                  <a:pt x="353" y="1079"/>
                  <a:pt x="353" y="1079"/>
                </a:cubicBezTo>
                <a:cubicBezTo>
                  <a:pt x="354" y="1079"/>
                  <a:pt x="354" y="1080"/>
                  <a:pt x="354" y="1080"/>
                </a:cubicBezTo>
                <a:cubicBezTo>
                  <a:pt x="355" y="1080"/>
                  <a:pt x="355" y="1081"/>
                  <a:pt x="356" y="1081"/>
                </a:cubicBezTo>
                <a:cubicBezTo>
                  <a:pt x="357" y="1082"/>
                  <a:pt x="358" y="1083"/>
                  <a:pt x="359" y="1084"/>
                </a:cubicBezTo>
                <a:close/>
                <a:moveTo>
                  <a:pt x="450" y="1114"/>
                </a:moveTo>
                <a:cubicBezTo>
                  <a:pt x="450" y="1114"/>
                  <a:pt x="450" y="1114"/>
                  <a:pt x="450" y="1115"/>
                </a:cubicBezTo>
                <a:cubicBezTo>
                  <a:pt x="451" y="1115"/>
                  <a:pt x="450" y="1116"/>
                  <a:pt x="450" y="1116"/>
                </a:cubicBezTo>
                <a:cubicBezTo>
                  <a:pt x="450" y="1117"/>
                  <a:pt x="450" y="1118"/>
                  <a:pt x="449" y="1119"/>
                </a:cubicBezTo>
                <a:cubicBezTo>
                  <a:pt x="448" y="1119"/>
                  <a:pt x="447" y="1121"/>
                  <a:pt x="446" y="1122"/>
                </a:cubicBezTo>
                <a:cubicBezTo>
                  <a:pt x="445" y="1123"/>
                  <a:pt x="444" y="1124"/>
                  <a:pt x="443" y="1124"/>
                </a:cubicBezTo>
                <a:cubicBezTo>
                  <a:pt x="442" y="1125"/>
                  <a:pt x="441" y="1126"/>
                  <a:pt x="441" y="1126"/>
                </a:cubicBezTo>
                <a:cubicBezTo>
                  <a:pt x="440" y="1126"/>
                  <a:pt x="440" y="1126"/>
                  <a:pt x="439" y="1126"/>
                </a:cubicBezTo>
                <a:cubicBezTo>
                  <a:pt x="439" y="1126"/>
                  <a:pt x="438" y="1126"/>
                  <a:pt x="438" y="1125"/>
                </a:cubicBezTo>
                <a:lnTo>
                  <a:pt x="373" y="1061"/>
                </a:lnTo>
                <a:cubicBezTo>
                  <a:pt x="373" y="1060"/>
                  <a:pt x="373" y="1060"/>
                  <a:pt x="373" y="1060"/>
                </a:cubicBezTo>
                <a:cubicBezTo>
                  <a:pt x="372" y="1059"/>
                  <a:pt x="373" y="1059"/>
                  <a:pt x="373" y="1058"/>
                </a:cubicBezTo>
                <a:cubicBezTo>
                  <a:pt x="373" y="1057"/>
                  <a:pt x="374" y="1057"/>
                  <a:pt x="374" y="1056"/>
                </a:cubicBezTo>
                <a:cubicBezTo>
                  <a:pt x="375" y="1055"/>
                  <a:pt x="376" y="1054"/>
                  <a:pt x="377" y="1053"/>
                </a:cubicBezTo>
                <a:cubicBezTo>
                  <a:pt x="378" y="1051"/>
                  <a:pt x="379" y="1050"/>
                  <a:pt x="380" y="1050"/>
                </a:cubicBezTo>
                <a:cubicBezTo>
                  <a:pt x="381" y="1049"/>
                  <a:pt x="382" y="1049"/>
                  <a:pt x="382" y="1048"/>
                </a:cubicBezTo>
                <a:cubicBezTo>
                  <a:pt x="383" y="1048"/>
                  <a:pt x="383" y="1048"/>
                  <a:pt x="384" y="1048"/>
                </a:cubicBezTo>
                <a:cubicBezTo>
                  <a:pt x="384" y="1048"/>
                  <a:pt x="385" y="1049"/>
                  <a:pt x="385" y="1049"/>
                </a:cubicBezTo>
                <a:lnTo>
                  <a:pt x="450" y="1114"/>
                </a:lnTo>
                <a:close/>
                <a:moveTo>
                  <a:pt x="365" y="1026"/>
                </a:moveTo>
                <a:cubicBezTo>
                  <a:pt x="367" y="1028"/>
                  <a:pt x="369" y="1031"/>
                  <a:pt x="369" y="1033"/>
                </a:cubicBezTo>
                <a:cubicBezTo>
                  <a:pt x="369" y="1035"/>
                  <a:pt x="367" y="1037"/>
                  <a:pt x="364" y="1040"/>
                </a:cubicBezTo>
                <a:cubicBezTo>
                  <a:pt x="362" y="1043"/>
                  <a:pt x="359" y="1044"/>
                  <a:pt x="357" y="1045"/>
                </a:cubicBezTo>
                <a:cubicBezTo>
                  <a:pt x="355" y="1045"/>
                  <a:pt x="353" y="1043"/>
                  <a:pt x="350" y="1040"/>
                </a:cubicBezTo>
                <a:cubicBezTo>
                  <a:pt x="347" y="1038"/>
                  <a:pt x="346" y="1035"/>
                  <a:pt x="346" y="1033"/>
                </a:cubicBezTo>
                <a:cubicBezTo>
                  <a:pt x="346" y="1031"/>
                  <a:pt x="348" y="1029"/>
                  <a:pt x="350" y="1026"/>
                </a:cubicBezTo>
                <a:cubicBezTo>
                  <a:pt x="353" y="1023"/>
                  <a:pt x="356" y="1022"/>
                  <a:pt x="358" y="1022"/>
                </a:cubicBezTo>
                <a:cubicBezTo>
                  <a:pt x="360" y="1022"/>
                  <a:pt x="362" y="1023"/>
                  <a:pt x="365" y="1026"/>
                </a:cubicBezTo>
                <a:close/>
                <a:moveTo>
                  <a:pt x="508" y="1035"/>
                </a:moveTo>
                <a:cubicBezTo>
                  <a:pt x="509" y="1036"/>
                  <a:pt x="510" y="1037"/>
                  <a:pt x="511" y="1037"/>
                </a:cubicBezTo>
                <a:cubicBezTo>
                  <a:pt x="511" y="1038"/>
                  <a:pt x="511" y="1039"/>
                  <a:pt x="512" y="1039"/>
                </a:cubicBezTo>
                <a:cubicBezTo>
                  <a:pt x="512" y="1040"/>
                  <a:pt x="512" y="1040"/>
                  <a:pt x="512" y="1041"/>
                </a:cubicBezTo>
                <a:cubicBezTo>
                  <a:pt x="513" y="1041"/>
                  <a:pt x="513" y="1042"/>
                  <a:pt x="513" y="1043"/>
                </a:cubicBezTo>
                <a:cubicBezTo>
                  <a:pt x="513" y="1044"/>
                  <a:pt x="512" y="1046"/>
                  <a:pt x="512" y="1048"/>
                </a:cubicBezTo>
                <a:cubicBezTo>
                  <a:pt x="511" y="1051"/>
                  <a:pt x="510" y="1053"/>
                  <a:pt x="509" y="1056"/>
                </a:cubicBezTo>
                <a:cubicBezTo>
                  <a:pt x="508" y="1058"/>
                  <a:pt x="507" y="1061"/>
                  <a:pt x="505" y="1063"/>
                </a:cubicBezTo>
                <a:cubicBezTo>
                  <a:pt x="504" y="1066"/>
                  <a:pt x="502" y="1068"/>
                  <a:pt x="499" y="1070"/>
                </a:cubicBezTo>
                <a:cubicBezTo>
                  <a:pt x="495" y="1075"/>
                  <a:pt x="490" y="1078"/>
                  <a:pt x="485" y="1080"/>
                </a:cubicBezTo>
                <a:cubicBezTo>
                  <a:pt x="480" y="1082"/>
                  <a:pt x="474" y="1083"/>
                  <a:pt x="469" y="1083"/>
                </a:cubicBezTo>
                <a:cubicBezTo>
                  <a:pt x="464" y="1082"/>
                  <a:pt x="458" y="1080"/>
                  <a:pt x="453" y="1077"/>
                </a:cubicBezTo>
                <a:cubicBezTo>
                  <a:pt x="447" y="1074"/>
                  <a:pt x="441" y="1070"/>
                  <a:pt x="436" y="1064"/>
                </a:cubicBezTo>
                <a:cubicBezTo>
                  <a:pt x="429" y="1058"/>
                  <a:pt x="425" y="1052"/>
                  <a:pt x="422" y="1046"/>
                </a:cubicBezTo>
                <a:cubicBezTo>
                  <a:pt x="419" y="1040"/>
                  <a:pt x="417" y="1034"/>
                  <a:pt x="417" y="1028"/>
                </a:cubicBezTo>
                <a:cubicBezTo>
                  <a:pt x="417" y="1022"/>
                  <a:pt x="418" y="1017"/>
                  <a:pt x="420" y="1012"/>
                </a:cubicBezTo>
                <a:cubicBezTo>
                  <a:pt x="422" y="1007"/>
                  <a:pt x="425" y="1002"/>
                  <a:pt x="430" y="998"/>
                </a:cubicBezTo>
                <a:cubicBezTo>
                  <a:pt x="432" y="996"/>
                  <a:pt x="434" y="994"/>
                  <a:pt x="436" y="993"/>
                </a:cubicBezTo>
                <a:cubicBezTo>
                  <a:pt x="439" y="991"/>
                  <a:pt x="441" y="990"/>
                  <a:pt x="443" y="989"/>
                </a:cubicBezTo>
                <a:cubicBezTo>
                  <a:pt x="445" y="988"/>
                  <a:pt x="448" y="987"/>
                  <a:pt x="450" y="987"/>
                </a:cubicBezTo>
                <a:cubicBezTo>
                  <a:pt x="452" y="986"/>
                  <a:pt x="453" y="986"/>
                  <a:pt x="454" y="986"/>
                </a:cubicBezTo>
                <a:cubicBezTo>
                  <a:pt x="456" y="986"/>
                  <a:pt x="456" y="986"/>
                  <a:pt x="457" y="986"/>
                </a:cubicBezTo>
                <a:cubicBezTo>
                  <a:pt x="458" y="986"/>
                  <a:pt x="458" y="986"/>
                  <a:pt x="459" y="987"/>
                </a:cubicBezTo>
                <a:cubicBezTo>
                  <a:pt x="459" y="987"/>
                  <a:pt x="460" y="987"/>
                  <a:pt x="461" y="988"/>
                </a:cubicBezTo>
                <a:cubicBezTo>
                  <a:pt x="461" y="988"/>
                  <a:pt x="462" y="989"/>
                  <a:pt x="463" y="990"/>
                </a:cubicBezTo>
                <a:cubicBezTo>
                  <a:pt x="465" y="992"/>
                  <a:pt x="466" y="993"/>
                  <a:pt x="466" y="995"/>
                </a:cubicBezTo>
                <a:cubicBezTo>
                  <a:pt x="466" y="996"/>
                  <a:pt x="466" y="997"/>
                  <a:pt x="466" y="997"/>
                </a:cubicBezTo>
                <a:cubicBezTo>
                  <a:pt x="465" y="998"/>
                  <a:pt x="464" y="998"/>
                  <a:pt x="462" y="999"/>
                </a:cubicBezTo>
                <a:cubicBezTo>
                  <a:pt x="460" y="999"/>
                  <a:pt x="458" y="999"/>
                  <a:pt x="456" y="1000"/>
                </a:cubicBezTo>
                <a:cubicBezTo>
                  <a:pt x="453" y="1000"/>
                  <a:pt x="451" y="1001"/>
                  <a:pt x="448" y="1002"/>
                </a:cubicBezTo>
                <a:cubicBezTo>
                  <a:pt x="445" y="1003"/>
                  <a:pt x="442" y="1005"/>
                  <a:pt x="440" y="1008"/>
                </a:cubicBezTo>
                <a:cubicBezTo>
                  <a:pt x="434" y="1014"/>
                  <a:pt x="432" y="1020"/>
                  <a:pt x="433" y="1028"/>
                </a:cubicBezTo>
                <a:cubicBezTo>
                  <a:pt x="434" y="1035"/>
                  <a:pt x="439" y="1043"/>
                  <a:pt x="448" y="1051"/>
                </a:cubicBezTo>
                <a:cubicBezTo>
                  <a:pt x="452" y="1056"/>
                  <a:pt x="456" y="1059"/>
                  <a:pt x="460" y="1061"/>
                </a:cubicBezTo>
                <a:cubicBezTo>
                  <a:pt x="464" y="1064"/>
                  <a:pt x="467" y="1065"/>
                  <a:pt x="471" y="1066"/>
                </a:cubicBezTo>
                <a:cubicBezTo>
                  <a:pt x="475" y="1066"/>
                  <a:pt x="478" y="1066"/>
                  <a:pt x="481" y="1065"/>
                </a:cubicBezTo>
                <a:cubicBezTo>
                  <a:pt x="485" y="1063"/>
                  <a:pt x="488" y="1061"/>
                  <a:pt x="491" y="1059"/>
                </a:cubicBezTo>
                <a:cubicBezTo>
                  <a:pt x="493" y="1056"/>
                  <a:pt x="495" y="1053"/>
                  <a:pt x="496" y="1050"/>
                </a:cubicBezTo>
                <a:cubicBezTo>
                  <a:pt x="498" y="1047"/>
                  <a:pt x="498" y="1044"/>
                  <a:pt x="499" y="1042"/>
                </a:cubicBezTo>
                <a:cubicBezTo>
                  <a:pt x="499" y="1039"/>
                  <a:pt x="500" y="1037"/>
                  <a:pt x="500" y="1035"/>
                </a:cubicBezTo>
                <a:cubicBezTo>
                  <a:pt x="500" y="1033"/>
                  <a:pt x="501" y="1032"/>
                  <a:pt x="501" y="1032"/>
                </a:cubicBezTo>
                <a:cubicBezTo>
                  <a:pt x="501" y="1031"/>
                  <a:pt x="502" y="1031"/>
                  <a:pt x="502" y="1031"/>
                </a:cubicBezTo>
                <a:cubicBezTo>
                  <a:pt x="503" y="1031"/>
                  <a:pt x="503" y="1031"/>
                  <a:pt x="504" y="1031"/>
                </a:cubicBezTo>
                <a:cubicBezTo>
                  <a:pt x="504" y="1032"/>
                  <a:pt x="505" y="1032"/>
                  <a:pt x="506" y="1033"/>
                </a:cubicBezTo>
                <a:cubicBezTo>
                  <a:pt x="507" y="1033"/>
                  <a:pt x="508" y="1034"/>
                  <a:pt x="508" y="1035"/>
                </a:cubicBezTo>
                <a:close/>
                <a:moveTo>
                  <a:pt x="589" y="925"/>
                </a:moveTo>
                <a:cubicBezTo>
                  <a:pt x="594" y="930"/>
                  <a:pt x="597" y="934"/>
                  <a:pt x="599" y="939"/>
                </a:cubicBezTo>
                <a:cubicBezTo>
                  <a:pt x="600" y="944"/>
                  <a:pt x="601" y="950"/>
                  <a:pt x="601" y="955"/>
                </a:cubicBezTo>
                <a:cubicBezTo>
                  <a:pt x="600" y="960"/>
                  <a:pt x="599" y="965"/>
                  <a:pt x="596" y="970"/>
                </a:cubicBezTo>
                <a:cubicBezTo>
                  <a:pt x="593" y="975"/>
                  <a:pt x="590" y="980"/>
                  <a:pt x="585" y="984"/>
                </a:cubicBezTo>
                <a:cubicBezTo>
                  <a:pt x="582" y="988"/>
                  <a:pt x="579" y="990"/>
                  <a:pt x="576" y="992"/>
                </a:cubicBezTo>
                <a:cubicBezTo>
                  <a:pt x="573" y="994"/>
                  <a:pt x="570" y="996"/>
                  <a:pt x="567" y="997"/>
                </a:cubicBezTo>
                <a:cubicBezTo>
                  <a:pt x="564" y="999"/>
                  <a:pt x="561" y="1000"/>
                  <a:pt x="559" y="1000"/>
                </a:cubicBezTo>
                <a:cubicBezTo>
                  <a:pt x="557" y="1001"/>
                  <a:pt x="555" y="1001"/>
                  <a:pt x="554" y="1001"/>
                </a:cubicBezTo>
                <a:cubicBezTo>
                  <a:pt x="553" y="1001"/>
                  <a:pt x="552" y="1001"/>
                  <a:pt x="551" y="1000"/>
                </a:cubicBezTo>
                <a:cubicBezTo>
                  <a:pt x="550" y="1000"/>
                  <a:pt x="548" y="999"/>
                  <a:pt x="547" y="997"/>
                </a:cubicBezTo>
                <a:cubicBezTo>
                  <a:pt x="546" y="996"/>
                  <a:pt x="545" y="995"/>
                  <a:pt x="544" y="994"/>
                </a:cubicBezTo>
                <a:cubicBezTo>
                  <a:pt x="544" y="993"/>
                  <a:pt x="543" y="993"/>
                  <a:pt x="543" y="992"/>
                </a:cubicBezTo>
                <a:cubicBezTo>
                  <a:pt x="543" y="992"/>
                  <a:pt x="543" y="991"/>
                  <a:pt x="543" y="991"/>
                </a:cubicBezTo>
                <a:cubicBezTo>
                  <a:pt x="543" y="990"/>
                  <a:pt x="543" y="990"/>
                  <a:pt x="544" y="989"/>
                </a:cubicBezTo>
                <a:cubicBezTo>
                  <a:pt x="544" y="989"/>
                  <a:pt x="546" y="988"/>
                  <a:pt x="548" y="988"/>
                </a:cubicBezTo>
                <a:cubicBezTo>
                  <a:pt x="550" y="987"/>
                  <a:pt x="552" y="987"/>
                  <a:pt x="555" y="986"/>
                </a:cubicBezTo>
                <a:cubicBezTo>
                  <a:pt x="558" y="985"/>
                  <a:pt x="561" y="983"/>
                  <a:pt x="565" y="981"/>
                </a:cubicBezTo>
                <a:cubicBezTo>
                  <a:pt x="568" y="980"/>
                  <a:pt x="572" y="977"/>
                  <a:pt x="575" y="973"/>
                </a:cubicBezTo>
                <a:cubicBezTo>
                  <a:pt x="578" y="971"/>
                  <a:pt x="580" y="968"/>
                  <a:pt x="582" y="965"/>
                </a:cubicBezTo>
                <a:cubicBezTo>
                  <a:pt x="583" y="962"/>
                  <a:pt x="584" y="959"/>
                  <a:pt x="584" y="956"/>
                </a:cubicBezTo>
                <a:cubicBezTo>
                  <a:pt x="584" y="953"/>
                  <a:pt x="584" y="950"/>
                  <a:pt x="583" y="947"/>
                </a:cubicBezTo>
                <a:cubicBezTo>
                  <a:pt x="582" y="945"/>
                  <a:pt x="580" y="942"/>
                  <a:pt x="578" y="940"/>
                </a:cubicBezTo>
                <a:cubicBezTo>
                  <a:pt x="575" y="937"/>
                  <a:pt x="572" y="935"/>
                  <a:pt x="569" y="935"/>
                </a:cubicBezTo>
                <a:cubicBezTo>
                  <a:pt x="566" y="934"/>
                  <a:pt x="563" y="934"/>
                  <a:pt x="560" y="935"/>
                </a:cubicBezTo>
                <a:cubicBezTo>
                  <a:pt x="556" y="935"/>
                  <a:pt x="553" y="936"/>
                  <a:pt x="549" y="937"/>
                </a:cubicBezTo>
                <a:cubicBezTo>
                  <a:pt x="545" y="939"/>
                  <a:pt x="542" y="940"/>
                  <a:pt x="538" y="941"/>
                </a:cubicBezTo>
                <a:cubicBezTo>
                  <a:pt x="534" y="943"/>
                  <a:pt x="530" y="944"/>
                  <a:pt x="526" y="945"/>
                </a:cubicBezTo>
                <a:cubicBezTo>
                  <a:pt x="522" y="946"/>
                  <a:pt x="518" y="947"/>
                  <a:pt x="514" y="947"/>
                </a:cubicBezTo>
                <a:cubicBezTo>
                  <a:pt x="510" y="947"/>
                  <a:pt x="506" y="946"/>
                  <a:pt x="502" y="944"/>
                </a:cubicBezTo>
                <a:cubicBezTo>
                  <a:pt x="498" y="943"/>
                  <a:pt x="494" y="940"/>
                  <a:pt x="491" y="936"/>
                </a:cubicBezTo>
                <a:cubicBezTo>
                  <a:pt x="487" y="932"/>
                  <a:pt x="484" y="928"/>
                  <a:pt x="482" y="924"/>
                </a:cubicBezTo>
                <a:cubicBezTo>
                  <a:pt x="481" y="919"/>
                  <a:pt x="480" y="915"/>
                  <a:pt x="481" y="910"/>
                </a:cubicBezTo>
                <a:cubicBezTo>
                  <a:pt x="481" y="906"/>
                  <a:pt x="482" y="901"/>
                  <a:pt x="485" y="897"/>
                </a:cubicBezTo>
                <a:cubicBezTo>
                  <a:pt x="487" y="892"/>
                  <a:pt x="490" y="888"/>
                  <a:pt x="495" y="884"/>
                </a:cubicBezTo>
                <a:cubicBezTo>
                  <a:pt x="497" y="882"/>
                  <a:pt x="499" y="880"/>
                  <a:pt x="501" y="878"/>
                </a:cubicBezTo>
                <a:cubicBezTo>
                  <a:pt x="504" y="876"/>
                  <a:pt x="506" y="875"/>
                  <a:pt x="509" y="874"/>
                </a:cubicBezTo>
                <a:cubicBezTo>
                  <a:pt x="511" y="872"/>
                  <a:pt x="513" y="871"/>
                  <a:pt x="516" y="871"/>
                </a:cubicBezTo>
                <a:cubicBezTo>
                  <a:pt x="518" y="870"/>
                  <a:pt x="519" y="870"/>
                  <a:pt x="520" y="870"/>
                </a:cubicBezTo>
                <a:cubicBezTo>
                  <a:pt x="521" y="870"/>
                  <a:pt x="522" y="870"/>
                  <a:pt x="522" y="870"/>
                </a:cubicBezTo>
                <a:cubicBezTo>
                  <a:pt x="523" y="870"/>
                  <a:pt x="523" y="870"/>
                  <a:pt x="523" y="871"/>
                </a:cubicBezTo>
                <a:cubicBezTo>
                  <a:pt x="524" y="871"/>
                  <a:pt x="525" y="871"/>
                  <a:pt x="525" y="872"/>
                </a:cubicBezTo>
                <a:cubicBezTo>
                  <a:pt x="526" y="872"/>
                  <a:pt x="527" y="873"/>
                  <a:pt x="527" y="874"/>
                </a:cubicBezTo>
                <a:cubicBezTo>
                  <a:pt x="528" y="875"/>
                  <a:pt x="529" y="876"/>
                  <a:pt x="530" y="876"/>
                </a:cubicBezTo>
                <a:cubicBezTo>
                  <a:pt x="530" y="877"/>
                  <a:pt x="531" y="878"/>
                  <a:pt x="531" y="878"/>
                </a:cubicBezTo>
                <a:cubicBezTo>
                  <a:pt x="531" y="879"/>
                  <a:pt x="531" y="880"/>
                  <a:pt x="531" y="880"/>
                </a:cubicBezTo>
                <a:cubicBezTo>
                  <a:pt x="531" y="880"/>
                  <a:pt x="531" y="881"/>
                  <a:pt x="531" y="881"/>
                </a:cubicBezTo>
                <a:cubicBezTo>
                  <a:pt x="530" y="882"/>
                  <a:pt x="529" y="882"/>
                  <a:pt x="527" y="883"/>
                </a:cubicBezTo>
                <a:cubicBezTo>
                  <a:pt x="526" y="883"/>
                  <a:pt x="523" y="884"/>
                  <a:pt x="521" y="885"/>
                </a:cubicBezTo>
                <a:cubicBezTo>
                  <a:pt x="518" y="885"/>
                  <a:pt x="516" y="886"/>
                  <a:pt x="513" y="888"/>
                </a:cubicBezTo>
                <a:cubicBezTo>
                  <a:pt x="510" y="890"/>
                  <a:pt x="507" y="892"/>
                  <a:pt x="504" y="894"/>
                </a:cubicBezTo>
                <a:cubicBezTo>
                  <a:pt x="502" y="897"/>
                  <a:pt x="500" y="900"/>
                  <a:pt x="499" y="902"/>
                </a:cubicBezTo>
                <a:cubicBezTo>
                  <a:pt x="497" y="905"/>
                  <a:pt x="497" y="907"/>
                  <a:pt x="497" y="910"/>
                </a:cubicBezTo>
                <a:cubicBezTo>
                  <a:pt x="497" y="912"/>
                  <a:pt x="497" y="914"/>
                  <a:pt x="498" y="917"/>
                </a:cubicBezTo>
                <a:cubicBezTo>
                  <a:pt x="499" y="919"/>
                  <a:pt x="500" y="921"/>
                  <a:pt x="502" y="923"/>
                </a:cubicBezTo>
                <a:cubicBezTo>
                  <a:pt x="505" y="925"/>
                  <a:pt x="507" y="927"/>
                  <a:pt x="511" y="928"/>
                </a:cubicBezTo>
                <a:cubicBezTo>
                  <a:pt x="514" y="928"/>
                  <a:pt x="517" y="928"/>
                  <a:pt x="520" y="928"/>
                </a:cubicBezTo>
                <a:cubicBezTo>
                  <a:pt x="524" y="927"/>
                  <a:pt x="527" y="926"/>
                  <a:pt x="531" y="925"/>
                </a:cubicBezTo>
                <a:cubicBezTo>
                  <a:pt x="535" y="924"/>
                  <a:pt x="539" y="922"/>
                  <a:pt x="542" y="921"/>
                </a:cubicBezTo>
                <a:cubicBezTo>
                  <a:pt x="546" y="919"/>
                  <a:pt x="550" y="918"/>
                  <a:pt x="554" y="917"/>
                </a:cubicBezTo>
                <a:cubicBezTo>
                  <a:pt x="558" y="916"/>
                  <a:pt x="562" y="915"/>
                  <a:pt x="566" y="915"/>
                </a:cubicBezTo>
                <a:cubicBezTo>
                  <a:pt x="570" y="915"/>
                  <a:pt x="574" y="916"/>
                  <a:pt x="578" y="918"/>
                </a:cubicBezTo>
                <a:cubicBezTo>
                  <a:pt x="582" y="919"/>
                  <a:pt x="586" y="922"/>
                  <a:pt x="589" y="925"/>
                </a:cubicBezTo>
                <a:close/>
                <a:moveTo>
                  <a:pt x="686" y="878"/>
                </a:moveTo>
                <a:cubicBezTo>
                  <a:pt x="686" y="878"/>
                  <a:pt x="686" y="878"/>
                  <a:pt x="686" y="879"/>
                </a:cubicBezTo>
                <a:cubicBezTo>
                  <a:pt x="686" y="879"/>
                  <a:pt x="686" y="880"/>
                  <a:pt x="686" y="880"/>
                </a:cubicBezTo>
                <a:cubicBezTo>
                  <a:pt x="686" y="881"/>
                  <a:pt x="685" y="882"/>
                  <a:pt x="685" y="883"/>
                </a:cubicBezTo>
                <a:cubicBezTo>
                  <a:pt x="684" y="883"/>
                  <a:pt x="683" y="884"/>
                  <a:pt x="682" y="885"/>
                </a:cubicBezTo>
                <a:cubicBezTo>
                  <a:pt x="681" y="886"/>
                  <a:pt x="680" y="887"/>
                  <a:pt x="680" y="888"/>
                </a:cubicBezTo>
                <a:cubicBezTo>
                  <a:pt x="679" y="888"/>
                  <a:pt x="678" y="889"/>
                  <a:pt x="678" y="889"/>
                </a:cubicBezTo>
                <a:cubicBezTo>
                  <a:pt x="677" y="889"/>
                  <a:pt x="676" y="889"/>
                  <a:pt x="676" y="889"/>
                </a:cubicBezTo>
                <a:cubicBezTo>
                  <a:pt x="676" y="889"/>
                  <a:pt x="675" y="889"/>
                  <a:pt x="675" y="888"/>
                </a:cubicBezTo>
                <a:lnTo>
                  <a:pt x="666" y="880"/>
                </a:lnTo>
                <a:cubicBezTo>
                  <a:pt x="667" y="888"/>
                  <a:pt x="666" y="894"/>
                  <a:pt x="664" y="900"/>
                </a:cubicBezTo>
                <a:cubicBezTo>
                  <a:pt x="663" y="905"/>
                  <a:pt x="660" y="910"/>
                  <a:pt x="656" y="913"/>
                </a:cubicBezTo>
                <a:cubicBezTo>
                  <a:pt x="652" y="918"/>
                  <a:pt x="648" y="921"/>
                  <a:pt x="643" y="922"/>
                </a:cubicBezTo>
                <a:cubicBezTo>
                  <a:pt x="639" y="924"/>
                  <a:pt x="634" y="924"/>
                  <a:pt x="630" y="923"/>
                </a:cubicBezTo>
                <a:cubicBezTo>
                  <a:pt x="626" y="923"/>
                  <a:pt x="622" y="921"/>
                  <a:pt x="618" y="919"/>
                </a:cubicBezTo>
                <a:cubicBezTo>
                  <a:pt x="614" y="916"/>
                  <a:pt x="609" y="913"/>
                  <a:pt x="604" y="908"/>
                </a:cubicBezTo>
                <a:lnTo>
                  <a:pt x="565" y="869"/>
                </a:lnTo>
                <a:cubicBezTo>
                  <a:pt x="565" y="868"/>
                  <a:pt x="565" y="868"/>
                  <a:pt x="565" y="868"/>
                </a:cubicBezTo>
                <a:cubicBezTo>
                  <a:pt x="564" y="867"/>
                  <a:pt x="565" y="867"/>
                  <a:pt x="565" y="866"/>
                </a:cubicBezTo>
                <a:cubicBezTo>
                  <a:pt x="565" y="865"/>
                  <a:pt x="566" y="864"/>
                  <a:pt x="566" y="864"/>
                </a:cubicBezTo>
                <a:cubicBezTo>
                  <a:pt x="567" y="863"/>
                  <a:pt x="568" y="862"/>
                  <a:pt x="569" y="861"/>
                </a:cubicBezTo>
                <a:cubicBezTo>
                  <a:pt x="570" y="859"/>
                  <a:pt x="571" y="859"/>
                  <a:pt x="572" y="858"/>
                </a:cubicBezTo>
                <a:cubicBezTo>
                  <a:pt x="573" y="857"/>
                  <a:pt x="574" y="857"/>
                  <a:pt x="574" y="856"/>
                </a:cubicBezTo>
                <a:cubicBezTo>
                  <a:pt x="575" y="856"/>
                  <a:pt x="575" y="856"/>
                  <a:pt x="576" y="856"/>
                </a:cubicBezTo>
                <a:cubicBezTo>
                  <a:pt x="576" y="856"/>
                  <a:pt x="577" y="856"/>
                  <a:pt x="577" y="857"/>
                </a:cubicBezTo>
                <a:lnTo>
                  <a:pt x="615" y="894"/>
                </a:lnTo>
                <a:cubicBezTo>
                  <a:pt x="619" y="898"/>
                  <a:pt x="622" y="901"/>
                  <a:pt x="625" y="903"/>
                </a:cubicBezTo>
                <a:cubicBezTo>
                  <a:pt x="628" y="904"/>
                  <a:pt x="630" y="906"/>
                  <a:pt x="633" y="906"/>
                </a:cubicBezTo>
                <a:cubicBezTo>
                  <a:pt x="636" y="907"/>
                  <a:pt x="638" y="906"/>
                  <a:pt x="641" y="905"/>
                </a:cubicBezTo>
                <a:cubicBezTo>
                  <a:pt x="644" y="905"/>
                  <a:pt x="646" y="903"/>
                  <a:pt x="648" y="901"/>
                </a:cubicBezTo>
                <a:cubicBezTo>
                  <a:pt x="651" y="898"/>
                  <a:pt x="653" y="894"/>
                  <a:pt x="654" y="889"/>
                </a:cubicBezTo>
                <a:cubicBezTo>
                  <a:pt x="655" y="884"/>
                  <a:pt x="655" y="878"/>
                  <a:pt x="654" y="870"/>
                </a:cubicBezTo>
                <a:lnTo>
                  <a:pt x="609" y="825"/>
                </a:lnTo>
                <a:cubicBezTo>
                  <a:pt x="609" y="825"/>
                  <a:pt x="608" y="824"/>
                  <a:pt x="608" y="824"/>
                </a:cubicBezTo>
                <a:cubicBezTo>
                  <a:pt x="608" y="823"/>
                  <a:pt x="608" y="823"/>
                  <a:pt x="609" y="822"/>
                </a:cubicBezTo>
                <a:cubicBezTo>
                  <a:pt x="609" y="821"/>
                  <a:pt x="609" y="821"/>
                  <a:pt x="610" y="820"/>
                </a:cubicBezTo>
                <a:cubicBezTo>
                  <a:pt x="611" y="819"/>
                  <a:pt x="612" y="818"/>
                  <a:pt x="613" y="817"/>
                </a:cubicBezTo>
                <a:cubicBezTo>
                  <a:pt x="614" y="816"/>
                  <a:pt x="615" y="815"/>
                  <a:pt x="616" y="814"/>
                </a:cubicBezTo>
                <a:cubicBezTo>
                  <a:pt x="617" y="813"/>
                  <a:pt x="617" y="813"/>
                  <a:pt x="618" y="813"/>
                </a:cubicBezTo>
                <a:cubicBezTo>
                  <a:pt x="619" y="812"/>
                  <a:pt x="619" y="812"/>
                  <a:pt x="620" y="812"/>
                </a:cubicBezTo>
                <a:cubicBezTo>
                  <a:pt x="620" y="812"/>
                  <a:pt x="621" y="813"/>
                  <a:pt x="621" y="813"/>
                </a:cubicBezTo>
                <a:lnTo>
                  <a:pt x="686" y="878"/>
                </a:lnTo>
                <a:close/>
                <a:moveTo>
                  <a:pt x="736" y="761"/>
                </a:moveTo>
                <a:cubicBezTo>
                  <a:pt x="741" y="767"/>
                  <a:pt x="746" y="772"/>
                  <a:pt x="749" y="778"/>
                </a:cubicBezTo>
                <a:cubicBezTo>
                  <a:pt x="752" y="784"/>
                  <a:pt x="754" y="789"/>
                  <a:pt x="755" y="795"/>
                </a:cubicBezTo>
                <a:cubicBezTo>
                  <a:pt x="756" y="800"/>
                  <a:pt x="755" y="806"/>
                  <a:pt x="754" y="811"/>
                </a:cubicBezTo>
                <a:cubicBezTo>
                  <a:pt x="752" y="816"/>
                  <a:pt x="749" y="821"/>
                  <a:pt x="744" y="826"/>
                </a:cubicBezTo>
                <a:cubicBezTo>
                  <a:pt x="742" y="827"/>
                  <a:pt x="740" y="829"/>
                  <a:pt x="738" y="830"/>
                </a:cubicBezTo>
                <a:cubicBezTo>
                  <a:pt x="736" y="832"/>
                  <a:pt x="734" y="833"/>
                  <a:pt x="732" y="833"/>
                </a:cubicBezTo>
                <a:cubicBezTo>
                  <a:pt x="729" y="834"/>
                  <a:pt x="727" y="835"/>
                  <a:pt x="724" y="835"/>
                </a:cubicBezTo>
                <a:cubicBezTo>
                  <a:pt x="721" y="835"/>
                  <a:pt x="718" y="835"/>
                  <a:pt x="715" y="835"/>
                </a:cubicBezTo>
                <a:lnTo>
                  <a:pt x="747" y="868"/>
                </a:lnTo>
                <a:cubicBezTo>
                  <a:pt x="747" y="868"/>
                  <a:pt x="748" y="868"/>
                  <a:pt x="748" y="869"/>
                </a:cubicBezTo>
                <a:cubicBezTo>
                  <a:pt x="748" y="869"/>
                  <a:pt x="748" y="870"/>
                  <a:pt x="747" y="871"/>
                </a:cubicBezTo>
                <a:cubicBezTo>
                  <a:pt x="747" y="871"/>
                  <a:pt x="747" y="872"/>
                  <a:pt x="746" y="873"/>
                </a:cubicBezTo>
                <a:cubicBezTo>
                  <a:pt x="745" y="874"/>
                  <a:pt x="744" y="875"/>
                  <a:pt x="743" y="876"/>
                </a:cubicBezTo>
                <a:cubicBezTo>
                  <a:pt x="742" y="877"/>
                  <a:pt x="741" y="878"/>
                  <a:pt x="740" y="879"/>
                </a:cubicBezTo>
                <a:cubicBezTo>
                  <a:pt x="739" y="879"/>
                  <a:pt x="739" y="880"/>
                  <a:pt x="738" y="880"/>
                </a:cubicBezTo>
                <a:cubicBezTo>
                  <a:pt x="737" y="880"/>
                  <a:pt x="737" y="880"/>
                  <a:pt x="736" y="880"/>
                </a:cubicBezTo>
                <a:cubicBezTo>
                  <a:pt x="736" y="880"/>
                  <a:pt x="735" y="880"/>
                  <a:pt x="735" y="879"/>
                </a:cubicBezTo>
                <a:lnTo>
                  <a:pt x="645" y="789"/>
                </a:lnTo>
                <a:cubicBezTo>
                  <a:pt x="644" y="789"/>
                  <a:pt x="644" y="788"/>
                  <a:pt x="644" y="788"/>
                </a:cubicBezTo>
                <a:cubicBezTo>
                  <a:pt x="644" y="788"/>
                  <a:pt x="644" y="787"/>
                  <a:pt x="644" y="786"/>
                </a:cubicBezTo>
                <a:cubicBezTo>
                  <a:pt x="644" y="786"/>
                  <a:pt x="645" y="785"/>
                  <a:pt x="645" y="784"/>
                </a:cubicBezTo>
                <a:cubicBezTo>
                  <a:pt x="646" y="784"/>
                  <a:pt x="647" y="783"/>
                  <a:pt x="648" y="782"/>
                </a:cubicBezTo>
                <a:cubicBezTo>
                  <a:pt x="649" y="781"/>
                  <a:pt x="650" y="780"/>
                  <a:pt x="650" y="779"/>
                </a:cubicBezTo>
                <a:cubicBezTo>
                  <a:pt x="651" y="779"/>
                  <a:pt x="652" y="778"/>
                  <a:pt x="652" y="778"/>
                </a:cubicBezTo>
                <a:cubicBezTo>
                  <a:pt x="653" y="778"/>
                  <a:pt x="654" y="778"/>
                  <a:pt x="654" y="778"/>
                </a:cubicBezTo>
                <a:cubicBezTo>
                  <a:pt x="654" y="778"/>
                  <a:pt x="655" y="778"/>
                  <a:pt x="655" y="779"/>
                </a:cubicBezTo>
                <a:lnTo>
                  <a:pt x="664" y="787"/>
                </a:lnTo>
                <a:cubicBezTo>
                  <a:pt x="664" y="784"/>
                  <a:pt x="664" y="780"/>
                  <a:pt x="664" y="777"/>
                </a:cubicBezTo>
                <a:cubicBezTo>
                  <a:pt x="665" y="773"/>
                  <a:pt x="665" y="770"/>
                  <a:pt x="666" y="767"/>
                </a:cubicBezTo>
                <a:cubicBezTo>
                  <a:pt x="667" y="765"/>
                  <a:pt x="668" y="762"/>
                  <a:pt x="670" y="759"/>
                </a:cubicBezTo>
                <a:cubicBezTo>
                  <a:pt x="671" y="757"/>
                  <a:pt x="673" y="755"/>
                  <a:pt x="675" y="753"/>
                </a:cubicBezTo>
                <a:cubicBezTo>
                  <a:pt x="680" y="748"/>
                  <a:pt x="685" y="745"/>
                  <a:pt x="690" y="743"/>
                </a:cubicBezTo>
                <a:cubicBezTo>
                  <a:pt x="695" y="742"/>
                  <a:pt x="700" y="742"/>
                  <a:pt x="705" y="743"/>
                </a:cubicBezTo>
                <a:cubicBezTo>
                  <a:pt x="710" y="744"/>
                  <a:pt x="716" y="746"/>
                  <a:pt x="721" y="749"/>
                </a:cubicBezTo>
                <a:cubicBezTo>
                  <a:pt x="726" y="752"/>
                  <a:pt x="731" y="756"/>
                  <a:pt x="736" y="761"/>
                </a:cubicBezTo>
                <a:close/>
                <a:moveTo>
                  <a:pt x="725" y="775"/>
                </a:moveTo>
                <a:cubicBezTo>
                  <a:pt x="721" y="771"/>
                  <a:pt x="718" y="768"/>
                  <a:pt x="714" y="766"/>
                </a:cubicBezTo>
                <a:cubicBezTo>
                  <a:pt x="711" y="763"/>
                  <a:pt x="707" y="761"/>
                  <a:pt x="703" y="760"/>
                </a:cubicBezTo>
                <a:cubicBezTo>
                  <a:pt x="700" y="759"/>
                  <a:pt x="696" y="759"/>
                  <a:pt x="693" y="759"/>
                </a:cubicBezTo>
                <a:cubicBezTo>
                  <a:pt x="689" y="760"/>
                  <a:pt x="686" y="762"/>
                  <a:pt x="683" y="765"/>
                </a:cubicBezTo>
                <a:cubicBezTo>
                  <a:pt x="681" y="767"/>
                  <a:pt x="680" y="768"/>
                  <a:pt x="679" y="770"/>
                </a:cubicBezTo>
                <a:cubicBezTo>
                  <a:pt x="678" y="772"/>
                  <a:pt x="677" y="774"/>
                  <a:pt x="677" y="777"/>
                </a:cubicBezTo>
                <a:cubicBezTo>
                  <a:pt x="676" y="779"/>
                  <a:pt x="676" y="782"/>
                  <a:pt x="676" y="786"/>
                </a:cubicBezTo>
                <a:cubicBezTo>
                  <a:pt x="676" y="789"/>
                  <a:pt x="676" y="793"/>
                  <a:pt x="676" y="797"/>
                </a:cubicBezTo>
                <a:lnTo>
                  <a:pt x="702" y="823"/>
                </a:lnTo>
                <a:cubicBezTo>
                  <a:pt x="709" y="823"/>
                  <a:pt x="715" y="823"/>
                  <a:pt x="720" y="822"/>
                </a:cubicBezTo>
                <a:cubicBezTo>
                  <a:pt x="725" y="822"/>
                  <a:pt x="730" y="820"/>
                  <a:pt x="733" y="816"/>
                </a:cubicBezTo>
                <a:cubicBezTo>
                  <a:pt x="736" y="813"/>
                  <a:pt x="738" y="810"/>
                  <a:pt x="738" y="807"/>
                </a:cubicBezTo>
                <a:cubicBezTo>
                  <a:pt x="739" y="803"/>
                  <a:pt x="739" y="799"/>
                  <a:pt x="738" y="796"/>
                </a:cubicBezTo>
                <a:cubicBezTo>
                  <a:pt x="737" y="792"/>
                  <a:pt x="735" y="788"/>
                  <a:pt x="733" y="785"/>
                </a:cubicBezTo>
                <a:cubicBezTo>
                  <a:pt x="730" y="781"/>
                  <a:pt x="728" y="778"/>
                  <a:pt x="725" y="775"/>
                </a:cubicBezTo>
                <a:close/>
                <a:moveTo>
                  <a:pt x="815" y="682"/>
                </a:moveTo>
                <a:cubicBezTo>
                  <a:pt x="820" y="688"/>
                  <a:pt x="825" y="693"/>
                  <a:pt x="828" y="699"/>
                </a:cubicBezTo>
                <a:cubicBezTo>
                  <a:pt x="831" y="705"/>
                  <a:pt x="833" y="710"/>
                  <a:pt x="834" y="716"/>
                </a:cubicBezTo>
                <a:cubicBezTo>
                  <a:pt x="835" y="721"/>
                  <a:pt x="834" y="727"/>
                  <a:pt x="833" y="732"/>
                </a:cubicBezTo>
                <a:cubicBezTo>
                  <a:pt x="831" y="737"/>
                  <a:pt x="828" y="742"/>
                  <a:pt x="823" y="746"/>
                </a:cubicBezTo>
                <a:cubicBezTo>
                  <a:pt x="821" y="748"/>
                  <a:pt x="819" y="750"/>
                  <a:pt x="817" y="751"/>
                </a:cubicBezTo>
                <a:cubicBezTo>
                  <a:pt x="815" y="752"/>
                  <a:pt x="813" y="753"/>
                  <a:pt x="811" y="754"/>
                </a:cubicBezTo>
                <a:cubicBezTo>
                  <a:pt x="808" y="755"/>
                  <a:pt x="806" y="755"/>
                  <a:pt x="803" y="756"/>
                </a:cubicBezTo>
                <a:cubicBezTo>
                  <a:pt x="800" y="756"/>
                  <a:pt x="797" y="756"/>
                  <a:pt x="794" y="756"/>
                </a:cubicBezTo>
                <a:lnTo>
                  <a:pt x="826" y="788"/>
                </a:lnTo>
                <a:cubicBezTo>
                  <a:pt x="827" y="789"/>
                  <a:pt x="827" y="789"/>
                  <a:pt x="827" y="790"/>
                </a:cubicBezTo>
                <a:cubicBezTo>
                  <a:pt x="827" y="790"/>
                  <a:pt x="827" y="791"/>
                  <a:pt x="827" y="791"/>
                </a:cubicBezTo>
                <a:cubicBezTo>
                  <a:pt x="826" y="792"/>
                  <a:pt x="826" y="793"/>
                  <a:pt x="825" y="794"/>
                </a:cubicBezTo>
                <a:cubicBezTo>
                  <a:pt x="825" y="794"/>
                  <a:pt x="824" y="795"/>
                  <a:pt x="822" y="797"/>
                </a:cubicBezTo>
                <a:cubicBezTo>
                  <a:pt x="821" y="798"/>
                  <a:pt x="820" y="799"/>
                  <a:pt x="819" y="799"/>
                </a:cubicBezTo>
                <a:cubicBezTo>
                  <a:pt x="819" y="800"/>
                  <a:pt x="818" y="801"/>
                  <a:pt x="817" y="801"/>
                </a:cubicBezTo>
                <a:cubicBezTo>
                  <a:pt x="817" y="801"/>
                  <a:pt x="816" y="801"/>
                  <a:pt x="816" y="801"/>
                </a:cubicBezTo>
                <a:cubicBezTo>
                  <a:pt x="815" y="801"/>
                  <a:pt x="815" y="801"/>
                  <a:pt x="814" y="800"/>
                </a:cubicBezTo>
                <a:lnTo>
                  <a:pt x="724" y="710"/>
                </a:lnTo>
                <a:cubicBezTo>
                  <a:pt x="724" y="710"/>
                  <a:pt x="723" y="709"/>
                  <a:pt x="723" y="709"/>
                </a:cubicBezTo>
                <a:cubicBezTo>
                  <a:pt x="723" y="708"/>
                  <a:pt x="723" y="708"/>
                  <a:pt x="723" y="707"/>
                </a:cubicBezTo>
                <a:cubicBezTo>
                  <a:pt x="724" y="707"/>
                  <a:pt x="724" y="706"/>
                  <a:pt x="725" y="705"/>
                </a:cubicBezTo>
                <a:cubicBezTo>
                  <a:pt x="725" y="704"/>
                  <a:pt x="726" y="704"/>
                  <a:pt x="727" y="703"/>
                </a:cubicBezTo>
                <a:cubicBezTo>
                  <a:pt x="728" y="702"/>
                  <a:pt x="729" y="701"/>
                  <a:pt x="730" y="700"/>
                </a:cubicBezTo>
                <a:cubicBezTo>
                  <a:pt x="730" y="700"/>
                  <a:pt x="731" y="699"/>
                  <a:pt x="732" y="699"/>
                </a:cubicBezTo>
                <a:cubicBezTo>
                  <a:pt x="732" y="699"/>
                  <a:pt x="733" y="699"/>
                  <a:pt x="733" y="699"/>
                </a:cubicBezTo>
                <a:cubicBezTo>
                  <a:pt x="734" y="699"/>
                  <a:pt x="734" y="699"/>
                  <a:pt x="734" y="700"/>
                </a:cubicBezTo>
                <a:lnTo>
                  <a:pt x="743" y="708"/>
                </a:lnTo>
                <a:cubicBezTo>
                  <a:pt x="743" y="704"/>
                  <a:pt x="743" y="701"/>
                  <a:pt x="744" y="697"/>
                </a:cubicBezTo>
                <a:cubicBezTo>
                  <a:pt x="744" y="694"/>
                  <a:pt x="744" y="691"/>
                  <a:pt x="745" y="688"/>
                </a:cubicBezTo>
                <a:cubicBezTo>
                  <a:pt x="746" y="685"/>
                  <a:pt x="747" y="683"/>
                  <a:pt x="749" y="680"/>
                </a:cubicBezTo>
                <a:cubicBezTo>
                  <a:pt x="750" y="678"/>
                  <a:pt x="752" y="676"/>
                  <a:pt x="754" y="673"/>
                </a:cubicBezTo>
                <a:cubicBezTo>
                  <a:pt x="759" y="669"/>
                  <a:pt x="764" y="666"/>
                  <a:pt x="769" y="664"/>
                </a:cubicBezTo>
                <a:cubicBezTo>
                  <a:pt x="774" y="663"/>
                  <a:pt x="779" y="662"/>
                  <a:pt x="784" y="664"/>
                </a:cubicBezTo>
                <a:cubicBezTo>
                  <a:pt x="790" y="665"/>
                  <a:pt x="795" y="667"/>
                  <a:pt x="800" y="670"/>
                </a:cubicBezTo>
                <a:cubicBezTo>
                  <a:pt x="805" y="673"/>
                  <a:pt x="810" y="677"/>
                  <a:pt x="815" y="682"/>
                </a:cubicBezTo>
                <a:close/>
                <a:moveTo>
                  <a:pt x="804" y="696"/>
                </a:moveTo>
                <a:cubicBezTo>
                  <a:pt x="801" y="692"/>
                  <a:pt x="797" y="689"/>
                  <a:pt x="794" y="687"/>
                </a:cubicBezTo>
                <a:cubicBezTo>
                  <a:pt x="790" y="684"/>
                  <a:pt x="786" y="682"/>
                  <a:pt x="783" y="681"/>
                </a:cubicBezTo>
                <a:cubicBezTo>
                  <a:pt x="779" y="680"/>
                  <a:pt x="776" y="680"/>
                  <a:pt x="772" y="680"/>
                </a:cubicBezTo>
                <a:cubicBezTo>
                  <a:pt x="768" y="681"/>
                  <a:pt x="765" y="683"/>
                  <a:pt x="762" y="686"/>
                </a:cubicBezTo>
                <a:cubicBezTo>
                  <a:pt x="761" y="687"/>
                  <a:pt x="759" y="689"/>
                  <a:pt x="758" y="691"/>
                </a:cubicBezTo>
                <a:cubicBezTo>
                  <a:pt x="757" y="693"/>
                  <a:pt x="756" y="695"/>
                  <a:pt x="756" y="698"/>
                </a:cubicBezTo>
                <a:cubicBezTo>
                  <a:pt x="755" y="700"/>
                  <a:pt x="755" y="703"/>
                  <a:pt x="755" y="706"/>
                </a:cubicBezTo>
                <a:cubicBezTo>
                  <a:pt x="755" y="710"/>
                  <a:pt x="755" y="714"/>
                  <a:pt x="755" y="718"/>
                </a:cubicBezTo>
                <a:lnTo>
                  <a:pt x="781" y="743"/>
                </a:lnTo>
                <a:cubicBezTo>
                  <a:pt x="788" y="744"/>
                  <a:pt x="795" y="744"/>
                  <a:pt x="800" y="743"/>
                </a:cubicBezTo>
                <a:cubicBezTo>
                  <a:pt x="805" y="742"/>
                  <a:pt x="809" y="740"/>
                  <a:pt x="812" y="737"/>
                </a:cubicBezTo>
                <a:cubicBezTo>
                  <a:pt x="815" y="734"/>
                  <a:pt x="817" y="731"/>
                  <a:pt x="818" y="727"/>
                </a:cubicBezTo>
                <a:cubicBezTo>
                  <a:pt x="818" y="724"/>
                  <a:pt x="818" y="720"/>
                  <a:pt x="817" y="716"/>
                </a:cubicBezTo>
                <a:cubicBezTo>
                  <a:pt x="816" y="713"/>
                  <a:pt x="814" y="709"/>
                  <a:pt x="812" y="705"/>
                </a:cubicBezTo>
                <a:cubicBezTo>
                  <a:pt x="810" y="702"/>
                  <a:pt x="807" y="699"/>
                  <a:pt x="804" y="696"/>
                </a:cubicBezTo>
                <a:close/>
                <a:moveTo>
                  <a:pt x="880" y="684"/>
                </a:moveTo>
                <a:cubicBezTo>
                  <a:pt x="880" y="684"/>
                  <a:pt x="880" y="684"/>
                  <a:pt x="880" y="685"/>
                </a:cubicBezTo>
                <a:cubicBezTo>
                  <a:pt x="880" y="685"/>
                  <a:pt x="880" y="686"/>
                  <a:pt x="880" y="686"/>
                </a:cubicBezTo>
                <a:cubicBezTo>
                  <a:pt x="880" y="687"/>
                  <a:pt x="879" y="688"/>
                  <a:pt x="879" y="689"/>
                </a:cubicBezTo>
                <a:cubicBezTo>
                  <a:pt x="878" y="690"/>
                  <a:pt x="877" y="691"/>
                  <a:pt x="876" y="692"/>
                </a:cubicBezTo>
                <a:cubicBezTo>
                  <a:pt x="875" y="693"/>
                  <a:pt x="874" y="694"/>
                  <a:pt x="873" y="695"/>
                </a:cubicBezTo>
                <a:cubicBezTo>
                  <a:pt x="872" y="695"/>
                  <a:pt x="871" y="696"/>
                  <a:pt x="871" y="696"/>
                </a:cubicBezTo>
                <a:cubicBezTo>
                  <a:pt x="870" y="696"/>
                  <a:pt x="869" y="696"/>
                  <a:pt x="869" y="696"/>
                </a:cubicBezTo>
                <a:cubicBezTo>
                  <a:pt x="869" y="696"/>
                  <a:pt x="868" y="696"/>
                  <a:pt x="868" y="695"/>
                </a:cubicBezTo>
                <a:lnTo>
                  <a:pt x="772" y="600"/>
                </a:lnTo>
                <a:cubicBezTo>
                  <a:pt x="772" y="599"/>
                  <a:pt x="771" y="599"/>
                  <a:pt x="771" y="598"/>
                </a:cubicBezTo>
                <a:cubicBezTo>
                  <a:pt x="771" y="598"/>
                  <a:pt x="771" y="597"/>
                  <a:pt x="771" y="597"/>
                </a:cubicBezTo>
                <a:cubicBezTo>
                  <a:pt x="772" y="596"/>
                  <a:pt x="772" y="595"/>
                  <a:pt x="773" y="594"/>
                </a:cubicBezTo>
                <a:cubicBezTo>
                  <a:pt x="773" y="593"/>
                  <a:pt x="774" y="592"/>
                  <a:pt x="775" y="591"/>
                </a:cubicBezTo>
                <a:cubicBezTo>
                  <a:pt x="777" y="590"/>
                  <a:pt x="778" y="589"/>
                  <a:pt x="779" y="589"/>
                </a:cubicBezTo>
                <a:cubicBezTo>
                  <a:pt x="779" y="588"/>
                  <a:pt x="780" y="587"/>
                  <a:pt x="781" y="587"/>
                </a:cubicBezTo>
                <a:cubicBezTo>
                  <a:pt x="781" y="587"/>
                  <a:pt x="782" y="587"/>
                  <a:pt x="782" y="587"/>
                </a:cubicBezTo>
                <a:cubicBezTo>
                  <a:pt x="783" y="587"/>
                  <a:pt x="783" y="587"/>
                  <a:pt x="784" y="588"/>
                </a:cubicBezTo>
                <a:lnTo>
                  <a:pt x="880" y="684"/>
                </a:lnTo>
                <a:close/>
                <a:moveTo>
                  <a:pt x="933" y="634"/>
                </a:moveTo>
                <a:lnTo>
                  <a:pt x="948" y="666"/>
                </a:lnTo>
                <a:cubicBezTo>
                  <a:pt x="949" y="667"/>
                  <a:pt x="949" y="669"/>
                  <a:pt x="948" y="670"/>
                </a:cubicBezTo>
                <a:cubicBezTo>
                  <a:pt x="947" y="672"/>
                  <a:pt x="945" y="674"/>
                  <a:pt x="943" y="676"/>
                </a:cubicBezTo>
                <a:cubicBezTo>
                  <a:pt x="942" y="677"/>
                  <a:pt x="941" y="678"/>
                  <a:pt x="940" y="679"/>
                </a:cubicBezTo>
                <a:cubicBezTo>
                  <a:pt x="939" y="680"/>
                  <a:pt x="938" y="680"/>
                  <a:pt x="937" y="680"/>
                </a:cubicBezTo>
                <a:cubicBezTo>
                  <a:pt x="937" y="680"/>
                  <a:pt x="936" y="680"/>
                  <a:pt x="936" y="680"/>
                </a:cubicBezTo>
                <a:cubicBezTo>
                  <a:pt x="935" y="679"/>
                  <a:pt x="935" y="679"/>
                  <a:pt x="934" y="678"/>
                </a:cubicBezTo>
                <a:lnTo>
                  <a:pt x="921" y="646"/>
                </a:lnTo>
                <a:cubicBezTo>
                  <a:pt x="920" y="646"/>
                  <a:pt x="919" y="647"/>
                  <a:pt x="919" y="647"/>
                </a:cubicBezTo>
                <a:cubicBezTo>
                  <a:pt x="918" y="646"/>
                  <a:pt x="917" y="646"/>
                  <a:pt x="916" y="646"/>
                </a:cubicBezTo>
                <a:lnTo>
                  <a:pt x="832" y="607"/>
                </a:lnTo>
                <a:cubicBezTo>
                  <a:pt x="830" y="607"/>
                  <a:pt x="829" y="606"/>
                  <a:pt x="829" y="605"/>
                </a:cubicBezTo>
                <a:cubicBezTo>
                  <a:pt x="828" y="605"/>
                  <a:pt x="828" y="604"/>
                  <a:pt x="828" y="603"/>
                </a:cubicBezTo>
                <a:cubicBezTo>
                  <a:pt x="828" y="603"/>
                  <a:pt x="828" y="602"/>
                  <a:pt x="829" y="601"/>
                </a:cubicBezTo>
                <a:cubicBezTo>
                  <a:pt x="830" y="600"/>
                  <a:pt x="831" y="599"/>
                  <a:pt x="832" y="597"/>
                </a:cubicBezTo>
                <a:cubicBezTo>
                  <a:pt x="834" y="596"/>
                  <a:pt x="835" y="595"/>
                  <a:pt x="836" y="594"/>
                </a:cubicBezTo>
                <a:cubicBezTo>
                  <a:pt x="837" y="593"/>
                  <a:pt x="837" y="593"/>
                  <a:pt x="838" y="592"/>
                </a:cubicBezTo>
                <a:cubicBezTo>
                  <a:pt x="839" y="592"/>
                  <a:pt x="839" y="592"/>
                  <a:pt x="840" y="592"/>
                </a:cubicBezTo>
                <a:cubicBezTo>
                  <a:pt x="841" y="592"/>
                  <a:pt x="841" y="593"/>
                  <a:pt x="842" y="593"/>
                </a:cubicBezTo>
                <a:lnTo>
                  <a:pt x="912" y="626"/>
                </a:lnTo>
                <a:lnTo>
                  <a:pt x="913" y="626"/>
                </a:lnTo>
                <a:lnTo>
                  <a:pt x="878" y="556"/>
                </a:lnTo>
                <a:cubicBezTo>
                  <a:pt x="878" y="555"/>
                  <a:pt x="877" y="554"/>
                  <a:pt x="878" y="554"/>
                </a:cubicBezTo>
                <a:cubicBezTo>
                  <a:pt x="878" y="553"/>
                  <a:pt x="878" y="552"/>
                  <a:pt x="879" y="551"/>
                </a:cubicBezTo>
                <a:cubicBezTo>
                  <a:pt x="880" y="550"/>
                  <a:pt x="881" y="549"/>
                  <a:pt x="882" y="547"/>
                </a:cubicBezTo>
                <a:cubicBezTo>
                  <a:pt x="884" y="546"/>
                  <a:pt x="885" y="545"/>
                  <a:pt x="886" y="544"/>
                </a:cubicBezTo>
                <a:cubicBezTo>
                  <a:pt x="887" y="544"/>
                  <a:pt x="887" y="543"/>
                  <a:pt x="888" y="543"/>
                </a:cubicBezTo>
                <a:cubicBezTo>
                  <a:pt x="889" y="543"/>
                  <a:pt x="890" y="543"/>
                  <a:pt x="890" y="544"/>
                </a:cubicBezTo>
                <a:cubicBezTo>
                  <a:pt x="891" y="544"/>
                  <a:pt x="891" y="545"/>
                  <a:pt x="892" y="546"/>
                </a:cubicBezTo>
                <a:lnTo>
                  <a:pt x="933" y="634"/>
                </a:lnTo>
                <a:close/>
                <a:moveTo>
                  <a:pt x="1056" y="485"/>
                </a:moveTo>
                <a:cubicBezTo>
                  <a:pt x="1056" y="486"/>
                  <a:pt x="1057" y="486"/>
                  <a:pt x="1058" y="487"/>
                </a:cubicBezTo>
                <a:cubicBezTo>
                  <a:pt x="1058" y="488"/>
                  <a:pt x="1059" y="488"/>
                  <a:pt x="1059" y="489"/>
                </a:cubicBezTo>
                <a:cubicBezTo>
                  <a:pt x="1059" y="489"/>
                  <a:pt x="1059" y="490"/>
                  <a:pt x="1060" y="490"/>
                </a:cubicBezTo>
                <a:cubicBezTo>
                  <a:pt x="1060" y="491"/>
                  <a:pt x="1060" y="492"/>
                  <a:pt x="1060" y="493"/>
                </a:cubicBezTo>
                <a:cubicBezTo>
                  <a:pt x="1060" y="494"/>
                  <a:pt x="1059" y="495"/>
                  <a:pt x="1059" y="498"/>
                </a:cubicBezTo>
                <a:cubicBezTo>
                  <a:pt x="1058" y="500"/>
                  <a:pt x="1057" y="503"/>
                  <a:pt x="1056" y="506"/>
                </a:cubicBezTo>
                <a:cubicBezTo>
                  <a:pt x="1055" y="510"/>
                  <a:pt x="1053" y="513"/>
                  <a:pt x="1051" y="517"/>
                </a:cubicBezTo>
                <a:cubicBezTo>
                  <a:pt x="1048" y="520"/>
                  <a:pt x="1045" y="524"/>
                  <a:pt x="1042" y="527"/>
                </a:cubicBezTo>
                <a:cubicBezTo>
                  <a:pt x="1036" y="533"/>
                  <a:pt x="1029" y="538"/>
                  <a:pt x="1023" y="541"/>
                </a:cubicBezTo>
                <a:cubicBezTo>
                  <a:pt x="1016" y="543"/>
                  <a:pt x="1009" y="545"/>
                  <a:pt x="1001" y="544"/>
                </a:cubicBezTo>
                <a:cubicBezTo>
                  <a:pt x="994" y="544"/>
                  <a:pt x="986" y="541"/>
                  <a:pt x="979" y="537"/>
                </a:cubicBezTo>
                <a:cubicBezTo>
                  <a:pt x="971" y="533"/>
                  <a:pt x="964" y="528"/>
                  <a:pt x="956" y="520"/>
                </a:cubicBezTo>
                <a:cubicBezTo>
                  <a:pt x="948" y="513"/>
                  <a:pt x="943" y="505"/>
                  <a:pt x="939" y="497"/>
                </a:cubicBezTo>
                <a:cubicBezTo>
                  <a:pt x="934" y="489"/>
                  <a:pt x="932" y="481"/>
                  <a:pt x="932" y="473"/>
                </a:cubicBezTo>
                <a:cubicBezTo>
                  <a:pt x="931" y="465"/>
                  <a:pt x="932" y="458"/>
                  <a:pt x="935" y="450"/>
                </a:cubicBezTo>
                <a:cubicBezTo>
                  <a:pt x="938" y="443"/>
                  <a:pt x="942" y="437"/>
                  <a:pt x="948" y="431"/>
                </a:cubicBezTo>
                <a:cubicBezTo>
                  <a:pt x="951" y="428"/>
                  <a:pt x="954" y="426"/>
                  <a:pt x="957" y="423"/>
                </a:cubicBezTo>
                <a:cubicBezTo>
                  <a:pt x="960" y="421"/>
                  <a:pt x="963" y="420"/>
                  <a:pt x="966" y="418"/>
                </a:cubicBezTo>
                <a:cubicBezTo>
                  <a:pt x="969" y="417"/>
                  <a:pt x="971" y="416"/>
                  <a:pt x="974" y="415"/>
                </a:cubicBezTo>
                <a:cubicBezTo>
                  <a:pt x="977" y="415"/>
                  <a:pt x="979" y="414"/>
                  <a:pt x="980" y="414"/>
                </a:cubicBezTo>
                <a:cubicBezTo>
                  <a:pt x="981" y="414"/>
                  <a:pt x="982" y="414"/>
                  <a:pt x="983" y="414"/>
                </a:cubicBezTo>
                <a:cubicBezTo>
                  <a:pt x="983" y="415"/>
                  <a:pt x="984" y="415"/>
                  <a:pt x="984" y="415"/>
                </a:cubicBezTo>
                <a:cubicBezTo>
                  <a:pt x="985" y="416"/>
                  <a:pt x="986" y="416"/>
                  <a:pt x="986" y="417"/>
                </a:cubicBezTo>
                <a:cubicBezTo>
                  <a:pt x="987" y="417"/>
                  <a:pt x="988" y="418"/>
                  <a:pt x="989" y="419"/>
                </a:cubicBezTo>
                <a:cubicBezTo>
                  <a:pt x="990" y="420"/>
                  <a:pt x="990" y="420"/>
                  <a:pt x="991" y="421"/>
                </a:cubicBezTo>
                <a:cubicBezTo>
                  <a:pt x="992" y="422"/>
                  <a:pt x="992" y="423"/>
                  <a:pt x="992" y="423"/>
                </a:cubicBezTo>
                <a:cubicBezTo>
                  <a:pt x="992" y="424"/>
                  <a:pt x="993" y="425"/>
                  <a:pt x="993" y="425"/>
                </a:cubicBezTo>
                <a:cubicBezTo>
                  <a:pt x="992" y="426"/>
                  <a:pt x="992" y="426"/>
                  <a:pt x="992" y="426"/>
                </a:cubicBezTo>
                <a:cubicBezTo>
                  <a:pt x="991" y="427"/>
                  <a:pt x="990" y="427"/>
                  <a:pt x="988" y="428"/>
                </a:cubicBezTo>
                <a:cubicBezTo>
                  <a:pt x="986" y="428"/>
                  <a:pt x="983" y="429"/>
                  <a:pt x="980" y="429"/>
                </a:cubicBezTo>
                <a:cubicBezTo>
                  <a:pt x="977" y="430"/>
                  <a:pt x="974" y="431"/>
                  <a:pt x="970" y="433"/>
                </a:cubicBezTo>
                <a:cubicBezTo>
                  <a:pt x="966" y="435"/>
                  <a:pt x="963" y="438"/>
                  <a:pt x="959" y="442"/>
                </a:cubicBezTo>
                <a:cubicBezTo>
                  <a:pt x="955" y="446"/>
                  <a:pt x="952" y="450"/>
                  <a:pt x="950" y="455"/>
                </a:cubicBezTo>
                <a:cubicBezTo>
                  <a:pt x="948" y="460"/>
                  <a:pt x="948" y="466"/>
                  <a:pt x="948" y="471"/>
                </a:cubicBezTo>
                <a:cubicBezTo>
                  <a:pt x="949" y="477"/>
                  <a:pt x="951" y="483"/>
                  <a:pt x="955" y="489"/>
                </a:cubicBezTo>
                <a:cubicBezTo>
                  <a:pt x="958" y="495"/>
                  <a:pt x="963" y="501"/>
                  <a:pt x="968" y="506"/>
                </a:cubicBezTo>
                <a:cubicBezTo>
                  <a:pt x="974" y="512"/>
                  <a:pt x="980" y="517"/>
                  <a:pt x="986" y="520"/>
                </a:cubicBezTo>
                <a:cubicBezTo>
                  <a:pt x="992" y="523"/>
                  <a:pt x="997" y="525"/>
                  <a:pt x="1003" y="526"/>
                </a:cubicBezTo>
                <a:cubicBezTo>
                  <a:pt x="1008" y="527"/>
                  <a:pt x="1013" y="526"/>
                  <a:pt x="1019" y="524"/>
                </a:cubicBezTo>
                <a:cubicBezTo>
                  <a:pt x="1024" y="522"/>
                  <a:pt x="1028" y="519"/>
                  <a:pt x="1033" y="515"/>
                </a:cubicBezTo>
                <a:cubicBezTo>
                  <a:pt x="1036" y="511"/>
                  <a:pt x="1039" y="507"/>
                  <a:pt x="1041" y="504"/>
                </a:cubicBezTo>
                <a:cubicBezTo>
                  <a:pt x="1043" y="500"/>
                  <a:pt x="1044" y="497"/>
                  <a:pt x="1045" y="494"/>
                </a:cubicBezTo>
                <a:cubicBezTo>
                  <a:pt x="1046" y="490"/>
                  <a:pt x="1046" y="488"/>
                  <a:pt x="1047" y="486"/>
                </a:cubicBezTo>
                <a:cubicBezTo>
                  <a:pt x="1047" y="484"/>
                  <a:pt x="1048" y="482"/>
                  <a:pt x="1048" y="481"/>
                </a:cubicBezTo>
                <a:cubicBezTo>
                  <a:pt x="1049" y="481"/>
                  <a:pt x="1049" y="481"/>
                  <a:pt x="1049" y="481"/>
                </a:cubicBezTo>
                <a:cubicBezTo>
                  <a:pt x="1050" y="481"/>
                  <a:pt x="1050" y="481"/>
                  <a:pt x="1051" y="481"/>
                </a:cubicBezTo>
                <a:cubicBezTo>
                  <a:pt x="1051" y="481"/>
                  <a:pt x="1052" y="482"/>
                  <a:pt x="1053" y="482"/>
                </a:cubicBezTo>
                <a:cubicBezTo>
                  <a:pt x="1054" y="483"/>
                  <a:pt x="1055" y="484"/>
                  <a:pt x="1056" y="485"/>
                </a:cubicBezTo>
                <a:close/>
                <a:moveTo>
                  <a:pt x="1132" y="432"/>
                </a:moveTo>
                <a:cubicBezTo>
                  <a:pt x="1132" y="432"/>
                  <a:pt x="1132" y="433"/>
                  <a:pt x="1132" y="434"/>
                </a:cubicBezTo>
                <a:cubicBezTo>
                  <a:pt x="1132" y="434"/>
                  <a:pt x="1132" y="435"/>
                  <a:pt x="1131" y="436"/>
                </a:cubicBezTo>
                <a:cubicBezTo>
                  <a:pt x="1131" y="437"/>
                  <a:pt x="1130" y="438"/>
                  <a:pt x="1129" y="439"/>
                </a:cubicBezTo>
                <a:cubicBezTo>
                  <a:pt x="1127" y="440"/>
                  <a:pt x="1126" y="441"/>
                  <a:pt x="1125" y="442"/>
                </a:cubicBezTo>
                <a:cubicBezTo>
                  <a:pt x="1125" y="442"/>
                  <a:pt x="1124" y="443"/>
                  <a:pt x="1123" y="443"/>
                </a:cubicBezTo>
                <a:cubicBezTo>
                  <a:pt x="1123" y="443"/>
                  <a:pt x="1122" y="443"/>
                  <a:pt x="1121" y="442"/>
                </a:cubicBezTo>
                <a:lnTo>
                  <a:pt x="1115" y="436"/>
                </a:lnTo>
                <a:cubicBezTo>
                  <a:pt x="1115" y="441"/>
                  <a:pt x="1114" y="447"/>
                  <a:pt x="1112" y="452"/>
                </a:cubicBezTo>
                <a:cubicBezTo>
                  <a:pt x="1111" y="457"/>
                  <a:pt x="1108" y="462"/>
                  <a:pt x="1104" y="466"/>
                </a:cubicBezTo>
                <a:cubicBezTo>
                  <a:pt x="1101" y="469"/>
                  <a:pt x="1097" y="472"/>
                  <a:pt x="1093" y="474"/>
                </a:cubicBezTo>
                <a:cubicBezTo>
                  <a:pt x="1090" y="475"/>
                  <a:pt x="1086" y="476"/>
                  <a:pt x="1083" y="477"/>
                </a:cubicBezTo>
                <a:cubicBezTo>
                  <a:pt x="1079" y="477"/>
                  <a:pt x="1075" y="476"/>
                  <a:pt x="1072" y="475"/>
                </a:cubicBezTo>
                <a:cubicBezTo>
                  <a:pt x="1068" y="474"/>
                  <a:pt x="1065" y="471"/>
                  <a:pt x="1062" y="468"/>
                </a:cubicBezTo>
                <a:cubicBezTo>
                  <a:pt x="1058" y="465"/>
                  <a:pt x="1056" y="461"/>
                  <a:pt x="1055" y="457"/>
                </a:cubicBezTo>
                <a:cubicBezTo>
                  <a:pt x="1053" y="452"/>
                  <a:pt x="1053" y="448"/>
                  <a:pt x="1054" y="444"/>
                </a:cubicBezTo>
                <a:cubicBezTo>
                  <a:pt x="1055" y="439"/>
                  <a:pt x="1057" y="434"/>
                  <a:pt x="1061" y="429"/>
                </a:cubicBezTo>
                <a:cubicBezTo>
                  <a:pt x="1064" y="424"/>
                  <a:pt x="1068" y="420"/>
                  <a:pt x="1073" y="414"/>
                </a:cubicBezTo>
                <a:lnTo>
                  <a:pt x="1082" y="406"/>
                </a:lnTo>
                <a:lnTo>
                  <a:pt x="1077" y="401"/>
                </a:lnTo>
                <a:cubicBezTo>
                  <a:pt x="1074" y="398"/>
                  <a:pt x="1072" y="396"/>
                  <a:pt x="1069" y="395"/>
                </a:cubicBezTo>
                <a:cubicBezTo>
                  <a:pt x="1067" y="393"/>
                  <a:pt x="1064" y="393"/>
                  <a:pt x="1062" y="393"/>
                </a:cubicBezTo>
                <a:cubicBezTo>
                  <a:pt x="1060" y="392"/>
                  <a:pt x="1057" y="393"/>
                  <a:pt x="1055" y="394"/>
                </a:cubicBezTo>
                <a:cubicBezTo>
                  <a:pt x="1052" y="395"/>
                  <a:pt x="1049" y="397"/>
                  <a:pt x="1047" y="400"/>
                </a:cubicBezTo>
                <a:cubicBezTo>
                  <a:pt x="1044" y="403"/>
                  <a:pt x="1041" y="406"/>
                  <a:pt x="1040" y="409"/>
                </a:cubicBezTo>
                <a:cubicBezTo>
                  <a:pt x="1038" y="412"/>
                  <a:pt x="1037" y="415"/>
                  <a:pt x="1036" y="417"/>
                </a:cubicBezTo>
                <a:cubicBezTo>
                  <a:pt x="1035" y="420"/>
                  <a:pt x="1034" y="422"/>
                  <a:pt x="1034" y="424"/>
                </a:cubicBezTo>
                <a:cubicBezTo>
                  <a:pt x="1033" y="426"/>
                  <a:pt x="1033" y="427"/>
                  <a:pt x="1032" y="428"/>
                </a:cubicBezTo>
                <a:cubicBezTo>
                  <a:pt x="1032" y="428"/>
                  <a:pt x="1032" y="428"/>
                  <a:pt x="1031" y="428"/>
                </a:cubicBezTo>
                <a:cubicBezTo>
                  <a:pt x="1031" y="429"/>
                  <a:pt x="1030" y="429"/>
                  <a:pt x="1029" y="428"/>
                </a:cubicBezTo>
                <a:cubicBezTo>
                  <a:pt x="1029" y="428"/>
                  <a:pt x="1028" y="428"/>
                  <a:pt x="1028" y="427"/>
                </a:cubicBezTo>
                <a:cubicBezTo>
                  <a:pt x="1027" y="427"/>
                  <a:pt x="1026" y="426"/>
                  <a:pt x="1025" y="426"/>
                </a:cubicBezTo>
                <a:cubicBezTo>
                  <a:pt x="1024" y="424"/>
                  <a:pt x="1023" y="423"/>
                  <a:pt x="1023" y="422"/>
                </a:cubicBezTo>
                <a:cubicBezTo>
                  <a:pt x="1022" y="422"/>
                  <a:pt x="1022" y="421"/>
                  <a:pt x="1022" y="419"/>
                </a:cubicBezTo>
                <a:cubicBezTo>
                  <a:pt x="1022" y="418"/>
                  <a:pt x="1022" y="416"/>
                  <a:pt x="1023" y="414"/>
                </a:cubicBezTo>
                <a:cubicBezTo>
                  <a:pt x="1024" y="411"/>
                  <a:pt x="1025" y="409"/>
                  <a:pt x="1026" y="406"/>
                </a:cubicBezTo>
                <a:cubicBezTo>
                  <a:pt x="1028" y="403"/>
                  <a:pt x="1029" y="400"/>
                  <a:pt x="1031" y="398"/>
                </a:cubicBezTo>
                <a:cubicBezTo>
                  <a:pt x="1033" y="395"/>
                  <a:pt x="1036" y="392"/>
                  <a:pt x="1038" y="389"/>
                </a:cubicBezTo>
                <a:cubicBezTo>
                  <a:pt x="1043" y="385"/>
                  <a:pt x="1047" y="381"/>
                  <a:pt x="1052" y="379"/>
                </a:cubicBezTo>
                <a:cubicBezTo>
                  <a:pt x="1056" y="377"/>
                  <a:pt x="1060" y="376"/>
                  <a:pt x="1064" y="376"/>
                </a:cubicBezTo>
                <a:cubicBezTo>
                  <a:pt x="1068" y="376"/>
                  <a:pt x="1072" y="377"/>
                  <a:pt x="1076" y="379"/>
                </a:cubicBezTo>
                <a:cubicBezTo>
                  <a:pt x="1080" y="381"/>
                  <a:pt x="1084" y="384"/>
                  <a:pt x="1088" y="388"/>
                </a:cubicBezTo>
                <a:lnTo>
                  <a:pt x="1132" y="432"/>
                </a:lnTo>
                <a:close/>
                <a:moveTo>
                  <a:pt x="1090" y="414"/>
                </a:moveTo>
                <a:lnTo>
                  <a:pt x="1080" y="424"/>
                </a:lnTo>
                <a:cubicBezTo>
                  <a:pt x="1077" y="428"/>
                  <a:pt x="1074" y="431"/>
                  <a:pt x="1072" y="434"/>
                </a:cubicBezTo>
                <a:cubicBezTo>
                  <a:pt x="1071" y="437"/>
                  <a:pt x="1069" y="439"/>
                  <a:pt x="1069" y="442"/>
                </a:cubicBezTo>
                <a:cubicBezTo>
                  <a:pt x="1068" y="445"/>
                  <a:pt x="1069" y="447"/>
                  <a:pt x="1069" y="449"/>
                </a:cubicBezTo>
                <a:cubicBezTo>
                  <a:pt x="1070" y="452"/>
                  <a:pt x="1071" y="454"/>
                  <a:pt x="1073" y="456"/>
                </a:cubicBezTo>
                <a:cubicBezTo>
                  <a:pt x="1077" y="459"/>
                  <a:pt x="1081" y="461"/>
                  <a:pt x="1085" y="460"/>
                </a:cubicBezTo>
                <a:cubicBezTo>
                  <a:pt x="1089" y="460"/>
                  <a:pt x="1093" y="458"/>
                  <a:pt x="1097" y="454"/>
                </a:cubicBezTo>
                <a:cubicBezTo>
                  <a:pt x="1100" y="451"/>
                  <a:pt x="1102" y="448"/>
                  <a:pt x="1103" y="443"/>
                </a:cubicBezTo>
                <a:cubicBezTo>
                  <a:pt x="1104" y="439"/>
                  <a:pt x="1104" y="434"/>
                  <a:pt x="1104" y="428"/>
                </a:cubicBezTo>
                <a:lnTo>
                  <a:pt x="1090" y="414"/>
                </a:lnTo>
                <a:close/>
                <a:moveTo>
                  <a:pt x="1177" y="320"/>
                </a:moveTo>
                <a:cubicBezTo>
                  <a:pt x="1182" y="325"/>
                  <a:pt x="1187" y="331"/>
                  <a:pt x="1190" y="337"/>
                </a:cubicBezTo>
                <a:cubicBezTo>
                  <a:pt x="1193" y="343"/>
                  <a:pt x="1196" y="348"/>
                  <a:pt x="1196" y="354"/>
                </a:cubicBezTo>
                <a:cubicBezTo>
                  <a:pt x="1197" y="359"/>
                  <a:pt x="1197" y="365"/>
                  <a:pt x="1195" y="370"/>
                </a:cubicBezTo>
                <a:cubicBezTo>
                  <a:pt x="1193" y="375"/>
                  <a:pt x="1190" y="380"/>
                  <a:pt x="1185" y="384"/>
                </a:cubicBezTo>
                <a:cubicBezTo>
                  <a:pt x="1183" y="386"/>
                  <a:pt x="1181" y="388"/>
                  <a:pt x="1179" y="389"/>
                </a:cubicBezTo>
                <a:cubicBezTo>
                  <a:pt x="1177" y="390"/>
                  <a:pt x="1175" y="391"/>
                  <a:pt x="1173" y="392"/>
                </a:cubicBezTo>
                <a:cubicBezTo>
                  <a:pt x="1170" y="393"/>
                  <a:pt x="1168" y="393"/>
                  <a:pt x="1165" y="394"/>
                </a:cubicBezTo>
                <a:cubicBezTo>
                  <a:pt x="1162" y="394"/>
                  <a:pt x="1159" y="394"/>
                  <a:pt x="1156" y="394"/>
                </a:cubicBezTo>
                <a:lnTo>
                  <a:pt x="1188" y="426"/>
                </a:lnTo>
                <a:cubicBezTo>
                  <a:pt x="1189" y="427"/>
                  <a:pt x="1189" y="427"/>
                  <a:pt x="1189" y="428"/>
                </a:cubicBezTo>
                <a:cubicBezTo>
                  <a:pt x="1189" y="428"/>
                  <a:pt x="1189" y="429"/>
                  <a:pt x="1189" y="429"/>
                </a:cubicBezTo>
                <a:cubicBezTo>
                  <a:pt x="1188" y="430"/>
                  <a:pt x="1188" y="431"/>
                  <a:pt x="1187" y="432"/>
                </a:cubicBezTo>
                <a:cubicBezTo>
                  <a:pt x="1187" y="432"/>
                  <a:pt x="1186" y="433"/>
                  <a:pt x="1185" y="435"/>
                </a:cubicBezTo>
                <a:cubicBezTo>
                  <a:pt x="1183" y="436"/>
                  <a:pt x="1182" y="437"/>
                  <a:pt x="1181" y="437"/>
                </a:cubicBezTo>
                <a:cubicBezTo>
                  <a:pt x="1181" y="438"/>
                  <a:pt x="1180" y="439"/>
                  <a:pt x="1179" y="439"/>
                </a:cubicBezTo>
                <a:cubicBezTo>
                  <a:pt x="1179" y="439"/>
                  <a:pt x="1178" y="439"/>
                  <a:pt x="1178" y="439"/>
                </a:cubicBezTo>
                <a:cubicBezTo>
                  <a:pt x="1177" y="439"/>
                  <a:pt x="1177" y="439"/>
                  <a:pt x="1176" y="438"/>
                </a:cubicBezTo>
                <a:lnTo>
                  <a:pt x="1086" y="348"/>
                </a:lnTo>
                <a:cubicBezTo>
                  <a:pt x="1086" y="348"/>
                  <a:pt x="1085" y="347"/>
                  <a:pt x="1085" y="347"/>
                </a:cubicBezTo>
                <a:cubicBezTo>
                  <a:pt x="1085" y="346"/>
                  <a:pt x="1085" y="346"/>
                  <a:pt x="1085" y="345"/>
                </a:cubicBezTo>
                <a:cubicBezTo>
                  <a:pt x="1086" y="345"/>
                  <a:pt x="1086" y="344"/>
                  <a:pt x="1087" y="343"/>
                </a:cubicBezTo>
                <a:cubicBezTo>
                  <a:pt x="1087" y="342"/>
                  <a:pt x="1088" y="342"/>
                  <a:pt x="1089" y="341"/>
                </a:cubicBezTo>
                <a:cubicBezTo>
                  <a:pt x="1090" y="340"/>
                  <a:pt x="1091" y="339"/>
                  <a:pt x="1092" y="338"/>
                </a:cubicBezTo>
                <a:cubicBezTo>
                  <a:pt x="1092" y="338"/>
                  <a:pt x="1093" y="337"/>
                  <a:pt x="1094" y="337"/>
                </a:cubicBezTo>
                <a:cubicBezTo>
                  <a:pt x="1094" y="337"/>
                  <a:pt x="1095" y="337"/>
                  <a:pt x="1095" y="337"/>
                </a:cubicBezTo>
                <a:cubicBezTo>
                  <a:pt x="1096" y="337"/>
                  <a:pt x="1096" y="337"/>
                  <a:pt x="1096" y="338"/>
                </a:cubicBezTo>
                <a:lnTo>
                  <a:pt x="1105" y="346"/>
                </a:lnTo>
                <a:cubicBezTo>
                  <a:pt x="1105" y="342"/>
                  <a:pt x="1105" y="339"/>
                  <a:pt x="1106" y="335"/>
                </a:cubicBezTo>
                <a:cubicBezTo>
                  <a:pt x="1106" y="332"/>
                  <a:pt x="1107" y="329"/>
                  <a:pt x="1107" y="326"/>
                </a:cubicBezTo>
                <a:cubicBezTo>
                  <a:pt x="1108" y="323"/>
                  <a:pt x="1109" y="321"/>
                  <a:pt x="1111" y="318"/>
                </a:cubicBezTo>
                <a:cubicBezTo>
                  <a:pt x="1112" y="316"/>
                  <a:pt x="1114" y="314"/>
                  <a:pt x="1116" y="311"/>
                </a:cubicBezTo>
                <a:cubicBezTo>
                  <a:pt x="1121" y="307"/>
                  <a:pt x="1126" y="304"/>
                  <a:pt x="1131" y="302"/>
                </a:cubicBezTo>
                <a:cubicBezTo>
                  <a:pt x="1136" y="301"/>
                  <a:pt x="1141" y="300"/>
                  <a:pt x="1146" y="301"/>
                </a:cubicBezTo>
                <a:cubicBezTo>
                  <a:pt x="1152" y="303"/>
                  <a:pt x="1157" y="305"/>
                  <a:pt x="1162" y="308"/>
                </a:cubicBezTo>
                <a:cubicBezTo>
                  <a:pt x="1167" y="311"/>
                  <a:pt x="1172" y="315"/>
                  <a:pt x="1177" y="320"/>
                </a:cubicBezTo>
                <a:close/>
                <a:moveTo>
                  <a:pt x="1166" y="333"/>
                </a:moveTo>
                <a:cubicBezTo>
                  <a:pt x="1163" y="330"/>
                  <a:pt x="1159" y="327"/>
                  <a:pt x="1156" y="325"/>
                </a:cubicBezTo>
                <a:cubicBezTo>
                  <a:pt x="1152" y="322"/>
                  <a:pt x="1148" y="320"/>
                  <a:pt x="1145" y="319"/>
                </a:cubicBezTo>
                <a:cubicBezTo>
                  <a:pt x="1141" y="318"/>
                  <a:pt x="1138" y="318"/>
                  <a:pt x="1134" y="318"/>
                </a:cubicBezTo>
                <a:cubicBezTo>
                  <a:pt x="1131" y="319"/>
                  <a:pt x="1127" y="321"/>
                  <a:pt x="1124" y="324"/>
                </a:cubicBezTo>
                <a:cubicBezTo>
                  <a:pt x="1123" y="325"/>
                  <a:pt x="1121" y="327"/>
                  <a:pt x="1120" y="329"/>
                </a:cubicBezTo>
                <a:cubicBezTo>
                  <a:pt x="1119" y="331"/>
                  <a:pt x="1118" y="333"/>
                  <a:pt x="1118" y="336"/>
                </a:cubicBezTo>
                <a:cubicBezTo>
                  <a:pt x="1117" y="338"/>
                  <a:pt x="1117" y="341"/>
                  <a:pt x="1117" y="344"/>
                </a:cubicBezTo>
                <a:cubicBezTo>
                  <a:pt x="1117" y="348"/>
                  <a:pt x="1117" y="352"/>
                  <a:pt x="1118" y="356"/>
                </a:cubicBezTo>
                <a:lnTo>
                  <a:pt x="1143" y="381"/>
                </a:lnTo>
                <a:cubicBezTo>
                  <a:pt x="1150" y="382"/>
                  <a:pt x="1157" y="382"/>
                  <a:pt x="1162" y="381"/>
                </a:cubicBezTo>
                <a:cubicBezTo>
                  <a:pt x="1167" y="380"/>
                  <a:pt x="1171" y="378"/>
                  <a:pt x="1174" y="375"/>
                </a:cubicBezTo>
                <a:cubicBezTo>
                  <a:pt x="1177" y="372"/>
                  <a:pt x="1179" y="369"/>
                  <a:pt x="1180" y="365"/>
                </a:cubicBezTo>
                <a:cubicBezTo>
                  <a:pt x="1180" y="362"/>
                  <a:pt x="1180" y="358"/>
                  <a:pt x="1179" y="354"/>
                </a:cubicBezTo>
                <a:cubicBezTo>
                  <a:pt x="1178" y="351"/>
                  <a:pt x="1176" y="347"/>
                  <a:pt x="1174" y="343"/>
                </a:cubicBezTo>
                <a:cubicBezTo>
                  <a:pt x="1172" y="340"/>
                  <a:pt x="1169" y="336"/>
                  <a:pt x="1166" y="333"/>
                </a:cubicBezTo>
                <a:close/>
                <a:moveTo>
                  <a:pt x="1279" y="285"/>
                </a:moveTo>
                <a:cubicBezTo>
                  <a:pt x="1279" y="285"/>
                  <a:pt x="1279" y="286"/>
                  <a:pt x="1279" y="287"/>
                </a:cubicBezTo>
                <a:cubicBezTo>
                  <a:pt x="1279" y="287"/>
                  <a:pt x="1279" y="288"/>
                  <a:pt x="1278" y="289"/>
                </a:cubicBezTo>
                <a:cubicBezTo>
                  <a:pt x="1278" y="290"/>
                  <a:pt x="1277" y="291"/>
                  <a:pt x="1276" y="292"/>
                </a:cubicBezTo>
                <a:cubicBezTo>
                  <a:pt x="1274" y="293"/>
                  <a:pt x="1273" y="294"/>
                  <a:pt x="1272" y="295"/>
                </a:cubicBezTo>
                <a:cubicBezTo>
                  <a:pt x="1272" y="295"/>
                  <a:pt x="1271" y="296"/>
                  <a:pt x="1270" y="296"/>
                </a:cubicBezTo>
                <a:cubicBezTo>
                  <a:pt x="1270" y="296"/>
                  <a:pt x="1269" y="296"/>
                  <a:pt x="1268" y="295"/>
                </a:cubicBezTo>
                <a:lnTo>
                  <a:pt x="1262" y="289"/>
                </a:lnTo>
                <a:cubicBezTo>
                  <a:pt x="1262" y="294"/>
                  <a:pt x="1261" y="300"/>
                  <a:pt x="1260" y="305"/>
                </a:cubicBezTo>
                <a:cubicBezTo>
                  <a:pt x="1258" y="310"/>
                  <a:pt x="1255" y="315"/>
                  <a:pt x="1251" y="319"/>
                </a:cubicBezTo>
                <a:cubicBezTo>
                  <a:pt x="1248" y="322"/>
                  <a:pt x="1244" y="325"/>
                  <a:pt x="1241" y="326"/>
                </a:cubicBezTo>
                <a:cubicBezTo>
                  <a:pt x="1237" y="328"/>
                  <a:pt x="1233" y="329"/>
                  <a:pt x="1230" y="330"/>
                </a:cubicBezTo>
                <a:cubicBezTo>
                  <a:pt x="1226" y="330"/>
                  <a:pt x="1222" y="329"/>
                  <a:pt x="1219" y="328"/>
                </a:cubicBezTo>
                <a:cubicBezTo>
                  <a:pt x="1215" y="327"/>
                  <a:pt x="1212" y="324"/>
                  <a:pt x="1209" y="321"/>
                </a:cubicBezTo>
                <a:cubicBezTo>
                  <a:pt x="1205" y="318"/>
                  <a:pt x="1203" y="314"/>
                  <a:pt x="1202" y="310"/>
                </a:cubicBezTo>
                <a:cubicBezTo>
                  <a:pt x="1201" y="305"/>
                  <a:pt x="1200" y="301"/>
                  <a:pt x="1201" y="297"/>
                </a:cubicBezTo>
                <a:cubicBezTo>
                  <a:pt x="1202" y="292"/>
                  <a:pt x="1205" y="287"/>
                  <a:pt x="1208" y="282"/>
                </a:cubicBezTo>
                <a:cubicBezTo>
                  <a:pt x="1211" y="277"/>
                  <a:pt x="1215" y="272"/>
                  <a:pt x="1220" y="267"/>
                </a:cubicBezTo>
                <a:lnTo>
                  <a:pt x="1229" y="259"/>
                </a:lnTo>
                <a:lnTo>
                  <a:pt x="1224" y="253"/>
                </a:lnTo>
                <a:cubicBezTo>
                  <a:pt x="1221" y="251"/>
                  <a:pt x="1219" y="249"/>
                  <a:pt x="1216" y="248"/>
                </a:cubicBezTo>
                <a:cubicBezTo>
                  <a:pt x="1214" y="246"/>
                  <a:pt x="1211" y="246"/>
                  <a:pt x="1209" y="245"/>
                </a:cubicBezTo>
                <a:cubicBezTo>
                  <a:pt x="1207" y="245"/>
                  <a:pt x="1204" y="246"/>
                  <a:pt x="1202" y="247"/>
                </a:cubicBezTo>
                <a:cubicBezTo>
                  <a:pt x="1199" y="248"/>
                  <a:pt x="1196" y="250"/>
                  <a:pt x="1194" y="253"/>
                </a:cubicBezTo>
                <a:cubicBezTo>
                  <a:pt x="1191" y="256"/>
                  <a:pt x="1189" y="259"/>
                  <a:pt x="1187" y="262"/>
                </a:cubicBezTo>
                <a:cubicBezTo>
                  <a:pt x="1185" y="265"/>
                  <a:pt x="1184" y="268"/>
                  <a:pt x="1183" y="270"/>
                </a:cubicBezTo>
                <a:cubicBezTo>
                  <a:pt x="1182" y="273"/>
                  <a:pt x="1182" y="275"/>
                  <a:pt x="1181" y="277"/>
                </a:cubicBezTo>
                <a:cubicBezTo>
                  <a:pt x="1181" y="279"/>
                  <a:pt x="1180" y="280"/>
                  <a:pt x="1179" y="281"/>
                </a:cubicBezTo>
                <a:cubicBezTo>
                  <a:pt x="1179" y="281"/>
                  <a:pt x="1179" y="281"/>
                  <a:pt x="1178" y="281"/>
                </a:cubicBezTo>
                <a:cubicBezTo>
                  <a:pt x="1178" y="282"/>
                  <a:pt x="1177" y="281"/>
                  <a:pt x="1177" y="281"/>
                </a:cubicBezTo>
                <a:cubicBezTo>
                  <a:pt x="1176" y="281"/>
                  <a:pt x="1175" y="281"/>
                  <a:pt x="1175" y="280"/>
                </a:cubicBezTo>
                <a:cubicBezTo>
                  <a:pt x="1174" y="280"/>
                  <a:pt x="1173" y="279"/>
                  <a:pt x="1172" y="278"/>
                </a:cubicBezTo>
                <a:cubicBezTo>
                  <a:pt x="1171" y="277"/>
                  <a:pt x="1170" y="276"/>
                  <a:pt x="1170" y="275"/>
                </a:cubicBezTo>
                <a:cubicBezTo>
                  <a:pt x="1169" y="275"/>
                  <a:pt x="1169" y="273"/>
                  <a:pt x="1169" y="272"/>
                </a:cubicBezTo>
                <a:cubicBezTo>
                  <a:pt x="1169" y="271"/>
                  <a:pt x="1170" y="269"/>
                  <a:pt x="1170" y="267"/>
                </a:cubicBezTo>
                <a:cubicBezTo>
                  <a:pt x="1171" y="264"/>
                  <a:pt x="1172" y="262"/>
                  <a:pt x="1173" y="259"/>
                </a:cubicBezTo>
                <a:cubicBezTo>
                  <a:pt x="1175" y="256"/>
                  <a:pt x="1177" y="253"/>
                  <a:pt x="1178" y="250"/>
                </a:cubicBezTo>
                <a:cubicBezTo>
                  <a:pt x="1180" y="248"/>
                  <a:pt x="1183" y="245"/>
                  <a:pt x="1185" y="242"/>
                </a:cubicBezTo>
                <a:cubicBezTo>
                  <a:pt x="1190" y="238"/>
                  <a:pt x="1194" y="234"/>
                  <a:pt x="1199" y="232"/>
                </a:cubicBezTo>
                <a:cubicBezTo>
                  <a:pt x="1203" y="230"/>
                  <a:pt x="1207" y="229"/>
                  <a:pt x="1211" y="229"/>
                </a:cubicBezTo>
                <a:cubicBezTo>
                  <a:pt x="1215" y="229"/>
                  <a:pt x="1219" y="230"/>
                  <a:pt x="1223" y="232"/>
                </a:cubicBezTo>
                <a:cubicBezTo>
                  <a:pt x="1227" y="234"/>
                  <a:pt x="1231" y="237"/>
                  <a:pt x="1235" y="241"/>
                </a:cubicBezTo>
                <a:lnTo>
                  <a:pt x="1279" y="285"/>
                </a:lnTo>
                <a:close/>
                <a:moveTo>
                  <a:pt x="1237" y="267"/>
                </a:moveTo>
                <a:lnTo>
                  <a:pt x="1227" y="277"/>
                </a:lnTo>
                <a:cubicBezTo>
                  <a:pt x="1224" y="280"/>
                  <a:pt x="1221" y="284"/>
                  <a:pt x="1220" y="286"/>
                </a:cubicBezTo>
                <a:cubicBezTo>
                  <a:pt x="1218" y="289"/>
                  <a:pt x="1217" y="292"/>
                  <a:pt x="1216" y="295"/>
                </a:cubicBezTo>
                <a:cubicBezTo>
                  <a:pt x="1216" y="298"/>
                  <a:pt x="1216" y="300"/>
                  <a:pt x="1216" y="302"/>
                </a:cubicBezTo>
                <a:cubicBezTo>
                  <a:pt x="1217" y="304"/>
                  <a:pt x="1219" y="307"/>
                  <a:pt x="1221" y="309"/>
                </a:cubicBezTo>
                <a:cubicBezTo>
                  <a:pt x="1224" y="312"/>
                  <a:pt x="1228" y="314"/>
                  <a:pt x="1232" y="313"/>
                </a:cubicBezTo>
                <a:cubicBezTo>
                  <a:pt x="1236" y="313"/>
                  <a:pt x="1240" y="311"/>
                  <a:pt x="1244" y="307"/>
                </a:cubicBezTo>
                <a:cubicBezTo>
                  <a:pt x="1247" y="304"/>
                  <a:pt x="1249" y="301"/>
                  <a:pt x="1250" y="296"/>
                </a:cubicBezTo>
                <a:cubicBezTo>
                  <a:pt x="1251" y="292"/>
                  <a:pt x="1251" y="287"/>
                  <a:pt x="1251" y="281"/>
                </a:cubicBezTo>
                <a:lnTo>
                  <a:pt x="1237" y="267"/>
                </a:lnTo>
                <a:close/>
                <a:moveTo>
                  <a:pt x="1334" y="209"/>
                </a:moveTo>
                <a:cubicBezTo>
                  <a:pt x="1335" y="210"/>
                  <a:pt x="1336" y="211"/>
                  <a:pt x="1336" y="211"/>
                </a:cubicBezTo>
                <a:cubicBezTo>
                  <a:pt x="1337" y="212"/>
                  <a:pt x="1337" y="213"/>
                  <a:pt x="1338" y="213"/>
                </a:cubicBezTo>
                <a:cubicBezTo>
                  <a:pt x="1338" y="214"/>
                  <a:pt x="1338" y="214"/>
                  <a:pt x="1338" y="215"/>
                </a:cubicBezTo>
                <a:cubicBezTo>
                  <a:pt x="1338" y="215"/>
                  <a:pt x="1339" y="216"/>
                  <a:pt x="1339" y="217"/>
                </a:cubicBezTo>
                <a:cubicBezTo>
                  <a:pt x="1339" y="218"/>
                  <a:pt x="1338" y="220"/>
                  <a:pt x="1338" y="222"/>
                </a:cubicBezTo>
                <a:cubicBezTo>
                  <a:pt x="1337" y="225"/>
                  <a:pt x="1336" y="227"/>
                  <a:pt x="1335" y="230"/>
                </a:cubicBezTo>
                <a:cubicBezTo>
                  <a:pt x="1334" y="232"/>
                  <a:pt x="1333" y="235"/>
                  <a:pt x="1331" y="237"/>
                </a:cubicBezTo>
                <a:cubicBezTo>
                  <a:pt x="1329" y="240"/>
                  <a:pt x="1327" y="242"/>
                  <a:pt x="1325" y="244"/>
                </a:cubicBezTo>
                <a:cubicBezTo>
                  <a:pt x="1321" y="249"/>
                  <a:pt x="1316" y="252"/>
                  <a:pt x="1311" y="254"/>
                </a:cubicBezTo>
                <a:cubicBezTo>
                  <a:pt x="1305" y="257"/>
                  <a:pt x="1300" y="257"/>
                  <a:pt x="1295" y="257"/>
                </a:cubicBezTo>
                <a:cubicBezTo>
                  <a:pt x="1289" y="256"/>
                  <a:pt x="1284" y="254"/>
                  <a:pt x="1278" y="251"/>
                </a:cubicBezTo>
                <a:cubicBezTo>
                  <a:pt x="1273" y="248"/>
                  <a:pt x="1267" y="244"/>
                  <a:pt x="1262" y="239"/>
                </a:cubicBezTo>
                <a:cubicBezTo>
                  <a:pt x="1255" y="232"/>
                  <a:pt x="1251" y="226"/>
                  <a:pt x="1248" y="220"/>
                </a:cubicBezTo>
                <a:cubicBezTo>
                  <a:pt x="1245" y="214"/>
                  <a:pt x="1243" y="208"/>
                  <a:pt x="1243" y="202"/>
                </a:cubicBezTo>
                <a:cubicBezTo>
                  <a:pt x="1243" y="197"/>
                  <a:pt x="1244" y="191"/>
                  <a:pt x="1246" y="186"/>
                </a:cubicBezTo>
                <a:cubicBezTo>
                  <a:pt x="1248" y="181"/>
                  <a:pt x="1251" y="176"/>
                  <a:pt x="1256" y="172"/>
                </a:cubicBezTo>
                <a:cubicBezTo>
                  <a:pt x="1258" y="170"/>
                  <a:pt x="1260" y="168"/>
                  <a:pt x="1262" y="167"/>
                </a:cubicBezTo>
                <a:cubicBezTo>
                  <a:pt x="1264" y="165"/>
                  <a:pt x="1267" y="164"/>
                  <a:pt x="1269" y="163"/>
                </a:cubicBezTo>
                <a:cubicBezTo>
                  <a:pt x="1271" y="162"/>
                  <a:pt x="1273" y="161"/>
                  <a:pt x="1276" y="161"/>
                </a:cubicBezTo>
                <a:cubicBezTo>
                  <a:pt x="1278" y="160"/>
                  <a:pt x="1279" y="160"/>
                  <a:pt x="1280" y="160"/>
                </a:cubicBezTo>
                <a:cubicBezTo>
                  <a:pt x="1282" y="160"/>
                  <a:pt x="1282" y="160"/>
                  <a:pt x="1283" y="160"/>
                </a:cubicBezTo>
                <a:cubicBezTo>
                  <a:pt x="1283" y="160"/>
                  <a:pt x="1284" y="160"/>
                  <a:pt x="1285" y="161"/>
                </a:cubicBezTo>
                <a:cubicBezTo>
                  <a:pt x="1285" y="161"/>
                  <a:pt x="1286" y="162"/>
                  <a:pt x="1286" y="162"/>
                </a:cubicBezTo>
                <a:cubicBezTo>
                  <a:pt x="1287" y="163"/>
                  <a:pt x="1288" y="163"/>
                  <a:pt x="1289" y="164"/>
                </a:cubicBezTo>
                <a:cubicBezTo>
                  <a:pt x="1291" y="166"/>
                  <a:pt x="1292" y="168"/>
                  <a:pt x="1292" y="169"/>
                </a:cubicBezTo>
                <a:cubicBezTo>
                  <a:pt x="1292" y="170"/>
                  <a:pt x="1292" y="171"/>
                  <a:pt x="1292" y="171"/>
                </a:cubicBezTo>
                <a:cubicBezTo>
                  <a:pt x="1291" y="172"/>
                  <a:pt x="1290" y="173"/>
                  <a:pt x="1288" y="173"/>
                </a:cubicBezTo>
                <a:cubicBezTo>
                  <a:pt x="1286" y="173"/>
                  <a:pt x="1284" y="173"/>
                  <a:pt x="1282" y="174"/>
                </a:cubicBezTo>
                <a:cubicBezTo>
                  <a:pt x="1279" y="174"/>
                  <a:pt x="1277" y="175"/>
                  <a:pt x="1274" y="176"/>
                </a:cubicBezTo>
                <a:cubicBezTo>
                  <a:pt x="1271" y="177"/>
                  <a:pt x="1268" y="179"/>
                  <a:pt x="1265" y="182"/>
                </a:cubicBezTo>
                <a:cubicBezTo>
                  <a:pt x="1260" y="188"/>
                  <a:pt x="1258" y="194"/>
                  <a:pt x="1259" y="202"/>
                </a:cubicBezTo>
                <a:cubicBezTo>
                  <a:pt x="1260" y="209"/>
                  <a:pt x="1265" y="217"/>
                  <a:pt x="1273" y="226"/>
                </a:cubicBezTo>
                <a:cubicBezTo>
                  <a:pt x="1278" y="230"/>
                  <a:pt x="1282" y="233"/>
                  <a:pt x="1286" y="235"/>
                </a:cubicBezTo>
                <a:cubicBezTo>
                  <a:pt x="1289" y="238"/>
                  <a:pt x="1293" y="239"/>
                  <a:pt x="1297" y="240"/>
                </a:cubicBezTo>
                <a:cubicBezTo>
                  <a:pt x="1301" y="240"/>
                  <a:pt x="1304" y="240"/>
                  <a:pt x="1307" y="239"/>
                </a:cubicBezTo>
                <a:cubicBezTo>
                  <a:pt x="1310" y="238"/>
                  <a:pt x="1314" y="236"/>
                  <a:pt x="1316" y="233"/>
                </a:cubicBezTo>
                <a:cubicBezTo>
                  <a:pt x="1319" y="230"/>
                  <a:pt x="1321" y="227"/>
                  <a:pt x="1322" y="224"/>
                </a:cubicBezTo>
                <a:cubicBezTo>
                  <a:pt x="1324" y="221"/>
                  <a:pt x="1324" y="219"/>
                  <a:pt x="1325" y="216"/>
                </a:cubicBezTo>
                <a:cubicBezTo>
                  <a:pt x="1325" y="213"/>
                  <a:pt x="1326" y="211"/>
                  <a:pt x="1326" y="209"/>
                </a:cubicBezTo>
                <a:cubicBezTo>
                  <a:pt x="1326" y="208"/>
                  <a:pt x="1326" y="206"/>
                  <a:pt x="1327" y="206"/>
                </a:cubicBezTo>
                <a:cubicBezTo>
                  <a:pt x="1327" y="205"/>
                  <a:pt x="1328" y="205"/>
                  <a:pt x="1328" y="205"/>
                </a:cubicBezTo>
                <a:cubicBezTo>
                  <a:pt x="1329" y="205"/>
                  <a:pt x="1329" y="205"/>
                  <a:pt x="1330" y="205"/>
                </a:cubicBezTo>
                <a:cubicBezTo>
                  <a:pt x="1330" y="206"/>
                  <a:pt x="1331" y="206"/>
                  <a:pt x="1332" y="207"/>
                </a:cubicBezTo>
                <a:cubicBezTo>
                  <a:pt x="1333" y="207"/>
                  <a:pt x="1333" y="208"/>
                  <a:pt x="1334" y="209"/>
                </a:cubicBezTo>
                <a:close/>
                <a:moveTo>
                  <a:pt x="1377" y="186"/>
                </a:moveTo>
                <a:cubicBezTo>
                  <a:pt x="1378" y="186"/>
                  <a:pt x="1378" y="187"/>
                  <a:pt x="1378" y="187"/>
                </a:cubicBezTo>
                <a:cubicBezTo>
                  <a:pt x="1378" y="188"/>
                  <a:pt x="1378" y="188"/>
                  <a:pt x="1378" y="189"/>
                </a:cubicBezTo>
                <a:cubicBezTo>
                  <a:pt x="1378" y="189"/>
                  <a:pt x="1377" y="190"/>
                  <a:pt x="1377" y="191"/>
                </a:cubicBezTo>
                <a:cubicBezTo>
                  <a:pt x="1376" y="192"/>
                  <a:pt x="1375" y="193"/>
                  <a:pt x="1374" y="194"/>
                </a:cubicBezTo>
                <a:cubicBezTo>
                  <a:pt x="1373" y="195"/>
                  <a:pt x="1372" y="196"/>
                  <a:pt x="1371" y="197"/>
                </a:cubicBezTo>
                <a:cubicBezTo>
                  <a:pt x="1370" y="197"/>
                  <a:pt x="1369" y="198"/>
                  <a:pt x="1368" y="198"/>
                </a:cubicBezTo>
                <a:cubicBezTo>
                  <a:pt x="1368" y="198"/>
                  <a:pt x="1367" y="198"/>
                  <a:pt x="1367" y="198"/>
                </a:cubicBezTo>
                <a:cubicBezTo>
                  <a:pt x="1366" y="198"/>
                  <a:pt x="1366" y="198"/>
                  <a:pt x="1366" y="198"/>
                </a:cubicBezTo>
                <a:lnTo>
                  <a:pt x="1301" y="133"/>
                </a:lnTo>
                <a:cubicBezTo>
                  <a:pt x="1301" y="133"/>
                  <a:pt x="1300" y="132"/>
                  <a:pt x="1300" y="132"/>
                </a:cubicBezTo>
                <a:cubicBezTo>
                  <a:pt x="1300" y="131"/>
                  <a:pt x="1300" y="131"/>
                  <a:pt x="1301" y="130"/>
                </a:cubicBezTo>
                <a:cubicBezTo>
                  <a:pt x="1301" y="130"/>
                  <a:pt x="1301" y="129"/>
                  <a:pt x="1302" y="128"/>
                </a:cubicBezTo>
                <a:cubicBezTo>
                  <a:pt x="1303" y="127"/>
                  <a:pt x="1304" y="126"/>
                  <a:pt x="1305" y="125"/>
                </a:cubicBezTo>
                <a:cubicBezTo>
                  <a:pt x="1306" y="124"/>
                  <a:pt x="1307" y="123"/>
                  <a:pt x="1308" y="122"/>
                </a:cubicBezTo>
                <a:cubicBezTo>
                  <a:pt x="1309" y="121"/>
                  <a:pt x="1309" y="121"/>
                  <a:pt x="1310" y="121"/>
                </a:cubicBezTo>
                <a:cubicBezTo>
                  <a:pt x="1311" y="120"/>
                  <a:pt x="1311" y="120"/>
                  <a:pt x="1312" y="121"/>
                </a:cubicBezTo>
                <a:cubicBezTo>
                  <a:pt x="1312" y="121"/>
                  <a:pt x="1313" y="121"/>
                  <a:pt x="1313" y="121"/>
                </a:cubicBezTo>
                <a:lnTo>
                  <a:pt x="1377" y="186"/>
                </a:lnTo>
                <a:close/>
                <a:moveTo>
                  <a:pt x="1292" y="98"/>
                </a:moveTo>
                <a:cubicBezTo>
                  <a:pt x="1295" y="101"/>
                  <a:pt x="1297" y="103"/>
                  <a:pt x="1296" y="105"/>
                </a:cubicBezTo>
                <a:cubicBezTo>
                  <a:pt x="1296" y="107"/>
                  <a:pt x="1295" y="110"/>
                  <a:pt x="1292" y="113"/>
                </a:cubicBezTo>
                <a:cubicBezTo>
                  <a:pt x="1289" y="115"/>
                  <a:pt x="1287" y="117"/>
                  <a:pt x="1285" y="117"/>
                </a:cubicBezTo>
                <a:cubicBezTo>
                  <a:pt x="1283" y="117"/>
                  <a:pt x="1281" y="115"/>
                  <a:pt x="1278" y="113"/>
                </a:cubicBezTo>
                <a:cubicBezTo>
                  <a:pt x="1275" y="110"/>
                  <a:pt x="1274" y="108"/>
                  <a:pt x="1274" y="106"/>
                </a:cubicBezTo>
                <a:cubicBezTo>
                  <a:pt x="1274" y="103"/>
                  <a:pt x="1275" y="101"/>
                  <a:pt x="1278" y="98"/>
                </a:cubicBezTo>
                <a:cubicBezTo>
                  <a:pt x="1281" y="95"/>
                  <a:pt x="1283" y="94"/>
                  <a:pt x="1285" y="94"/>
                </a:cubicBezTo>
                <a:cubicBezTo>
                  <a:pt x="1287" y="94"/>
                  <a:pt x="1290" y="95"/>
                  <a:pt x="1292" y="98"/>
                </a:cubicBezTo>
                <a:close/>
                <a:moveTo>
                  <a:pt x="1428" y="125"/>
                </a:moveTo>
                <a:cubicBezTo>
                  <a:pt x="1430" y="127"/>
                  <a:pt x="1431" y="128"/>
                  <a:pt x="1431" y="129"/>
                </a:cubicBezTo>
                <a:cubicBezTo>
                  <a:pt x="1432" y="130"/>
                  <a:pt x="1432" y="131"/>
                  <a:pt x="1432" y="132"/>
                </a:cubicBezTo>
                <a:cubicBezTo>
                  <a:pt x="1432" y="132"/>
                  <a:pt x="1432" y="133"/>
                  <a:pt x="1432" y="134"/>
                </a:cubicBezTo>
                <a:cubicBezTo>
                  <a:pt x="1431" y="136"/>
                  <a:pt x="1431" y="137"/>
                  <a:pt x="1430" y="138"/>
                </a:cubicBezTo>
                <a:cubicBezTo>
                  <a:pt x="1429" y="139"/>
                  <a:pt x="1428" y="140"/>
                  <a:pt x="1427" y="142"/>
                </a:cubicBezTo>
                <a:cubicBezTo>
                  <a:pt x="1426" y="143"/>
                  <a:pt x="1425" y="144"/>
                  <a:pt x="1424" y="145"/>
                </a:cubicBezTo>
                <a:cubicBezTo>
                  <a:pt x="1421" y="148"/>
                  <a:pt x="1418" y="151"/>
                  <a:pt x="1414" y="152"/>
                </a:cubicBezTo>
                <a:cubicBezTo>
                  <a:pt x="1411" y="154"/>
                  <a:pt x="1408" y="154"/>
                  <a:pt x="1404" y="154"/>
                </a:cubicBezTo>
                <a:cubicBezTo>
                  <a:pt x="1401" y="154"/>
                  <a:pt x="1398" y="153"/>
                  <a:pt x="1394" y="151"/>
                </a:cubicBezTo>
                <a:cubicBezTo>
                  <a:pt x="1391" y="149"/>
                  <a:pt x="1387" y="146"/>
                  <a:pt x="1383" y="142"/>
                </a:cubicBezTo>
                <a:lnTo>
                  <a:pt x="1346" y="104"/>
                </a:lnTo>
                <a:lnTo>
                  <a:pt x="1337" y="113"/>
                </a:lnTo>
                <a:cubicBezTo>
                  <a:pt x="1336" y="114"/>
                  <a:pt x="1335" y="114"/>
                  <a:pt x="1334" y="114"/>
                </a:cubicBezTo>
                <a:cubicBezTo>
                  <a:pt x="1333" y="114"/>
                  <a:pt x="1331" y="113"/>
                  <a:pt x="1329" y="111"/>
                </a:cubicBezTo>
                <a:cubicBezTo>
                  <a:pt x="1329" y="110"/>
                  <a:pt x="1328" y="109"/>
                  <a:pt x="1327" y="108"/>
                </a:cubicBezTo>
                <a:cubicBezTo>
                  <a:pt x="1327" y="108"/>
                  <a:pt x="1326" y="107"/>
                  <a:pt x="1326" y="106"/>
                </a:cubicBezTo>
                <a:cubicBezTo>
                  <a:pt x="1326" y="106"/>
                  <a:pt x="1326" y="105"/>
                  <a:pt x="1326" y="105"/>
                </a:cubicBezTo>
                <a:cubicBezTo>
                  <a:pt x="1326" y="104"/>
                  <a:pt x="1327" y="104"/>
                  <a:pt x="1327" y="103"/>
                </a:cubicBezTo>
                <a:lnTo>
                  <a:pt x="1336" y="94"/>
                </a:lnTo>
                <a:lnTo>
                  <a:pt x="1321" y="79"/>
                </a:lnTo>
                <a:cubicBezTo>
                  <a:pt x="1320" y="79"/>
                  <a:pt x="1320" y="78"/>
                  <a:pt x="1320" y="78"/>
                </a:cubicBezTo>
                <a:cubicBezTo>
                  <a:pt x="1320" y="77"/>
                  <a:pt x="1320" y="77"/>
                  <a:pt x="1320" y="76"/>
                </a:cubicBezTo>
                <a:cubicBezTo>
                  <a:pt x="1320" y="75"/>
                  <a:pt x="1321" y="75"/>
                  <a:pt x="1321" y="74"/>
                </a:cubicBezTo>
                <a:cubicBezTo>
                  <a:pt x="1322" y="73"/>
                  <a:pt x="1323" y="72"/>
                  <a:pt x="1324" y="71"/>
                </a:cubicBezTo>
                <a:cubicBezTo>
                  <a:pt x="1325" y="70"/>
                  <a:pt x="1326" y="69"/>
                  <a:pt x="1327" y="68"/>
                </a:cubicBezTo>
                <a:cubicBezTo>
                  <a:pt x="1328" y="67"/>
                  <a:pt x="1329" y="67"/>
                  <a:pt x="1329" y="67"/>
                </a:cubicBezTo>
                <a:cubicBezTo>
                  <a:pt x="1330" y="67"/>
                  <a:pt x="1331" y="66"/>
                  <a:pt x="1331" y="67"/>
                </a:cubicBezTo>
                <a:cubicBezTo>
                  <a:pt x="1332" y="67"/>
                  <a:pt x="1332" y="67"/>
                  <a:pt x="1332" y="67"/>
                </a:cubicBezTo>
                <a:lnTo>
                  <a:pt x="1348" y="83"/>
                </a:lnTo>
                <a:lnTo>
                  <a:pt x="1364" y="66"/>
                </a:lnTo>
                <a:cubicBezTo>
                  <a:pt x="1365" y="66"/>
                  <a:pt x="1365" y="65"/>
                  <a:pt x="1366" y="65"/>
                </a:cubicBezTo>
                <a:cubicBezTo>
                  <a:pt x="1366" y="65"/>
                  <a:pt x="1367" y="65"/>
                  <a:pt x="1367" y="65"/>
                </a:cubicBezTo>
                <a:cubicBezTo>
                  <a:pt x="1368" y="66"/>
                  <a:pt x="1368" y="66"/>
                  <a:pt x="1369" y="66"/>
                </a:cubicBezTo>
                <a:cubicBezTo>
                  <a:pt x="1370" y="67"/>
                  <a:pt x="1371" y="68"/>
                  <a:pt x="1372" y="69"/>
                </a:cubicBezTo>
                <a:cubicBezTo>
                  <a:pt x="1373" y="70"/>
                  <a:pt x="1374" y="72"/>
                  <a:pt x="1375" y="73"/>
                </a:cubicBezTo>
                <a:cubicBezTo>
                  <a:pt x="1375" y="74"/>
                  <a:pt x="1375" y="75"/>
                  <a:pt x="1374" y="76"/>
                </a:cubicBezTo>
                <a:lnTo>
                  <a:pt x="1358" y="92"/>
                </a:lnTo>
                <a:lnTo>
                  <a:pt x="1394" y="128"/>
                </a:lnTo>
                <a:cubicBezTo>
                  <a:pt x="1398" y="133"/>
                  <a:pt x="1402" y="136"/>
                  <a:pt x="1406" y="137"/>
                </a:cubicBezTo>
                <a:cubicBezTo>
                  <a:pt x="1409" y="138"/>
                  <a:pt x="1413" y="136"/>
                  <a:pt x="1416" y="133"/>
                </a:cubicBezTo>
                <a:cubicBezTo>
                  <a:pt x="1417" y="132"/>
                  <a:pt x="1418" y="131"/>
                  <a:pt x="1419" y="130"/>
                </a:cubicBezTo>
                <a:cubicBezTo>
                  <a:pt x="1419" y="129"/>
                  <a:pt x="1420" y="128"/>
                  <a:pt x="1420" y="127"/>
                </a:cubicBezTo>
                <a:cubicBezTo>
                  <a:pt x="1421" y="126"/>
                  <a:pt x="1421" y="125"/>
                  <a:pt x="1421" y="124"/>
                </a:cubicBezTo>
                <a:cubicBezTo>
                  <a:pt x="1422" y="124"/>
                  <a:pt x="1422" y="123"/>
                  <a:pt x="1422" y="123"/>
                </a:cubicBezTo>
                <a:cubicBezTo>
                  <a:pt x="1423" y="122"/>
                  <a:pt x="1423" y="122"/>
                  <a:pt x="1423" y="122"/>
                </a:cubicBezTo>
                <a:cubicBezTo>
                  <a:pt x="1424" y="122"/>
                  <a:pt x="1424" y="122"/>
                  <a:pt x="1424" y="122"/>
                </a:cubicBezTo>
                <a:cubicBezTo>
                  <a:pt x="1425" y="123"/>
                  <a:pt x="1425" y="123"/>
                  <a:pt x="1426" y="123"/>
                </a:cubicBezTo>
                <a:cubicBezTo>
                  <a:pt x="1427" y="124"/>
                  <a:pt x="1428" y="124"/>
                  <a:pt x="1428" y="125"/>
                </a:cubicBezTo>
                <a:close/>
                <a:moveTo>
                  <a:pt x="1476" y="91"/>
                </a:moveTo>
                <a:lnTo>
                  <a:pt x="1491" y="123"/>
                </a:lnTo>
                <a:cubicBezTo>
                  <a:pt x="1492" y="124"/>
                  <a:pt x="1492" y="126"/>
                  <a:pt x="1491" y="127"/>
                </a:cubicBezTo>
                <a:cubicBezTo>
                  <a:pt x="1490" y="129"/>
                  <a:pt x="1488" y="131"/>
                  <a:pt x="1486" y="133"/>
                </a:cubicBezTo>
                <a:cubicBezTo>
                  <a:pt x="1485" y="134"/>
                  <a:pt x="1484" y="135"/>
                  <a:pt x="1483" y="136"/>
                </a:cubicBezTo>
                <a:cubicBezTo>
                  <a:pt x="1482" y="137"/>
                  <a:pt x="1481" y="137"/>
                  <a:pt x="1480" y="137"/>
                </a:cubicBezTo>
                <a:cubicBezTo>
                  <a:pt x="1480" y="137"/>
                  <a:pt x="1479" y="137"/>
                  <a:pt x="1479" y="137"/>
                </a:cubicBezTo>
                <a:cubicBezTo>
                  <a:pt x="1478" y="136"/>
                  <a:pt x="1478" y="135"/>
                  <a:pt x="1477" y="135"/>
                </a:cubicBezTo>
                <a:lnTo>
                  <a:pt x="1464" y="103"/>
                </a:lnTo>
                <a:cubicBezTo>
                  <a:pt x="1463" y="103"/>
                  <a:pt x="1462" y="103"/>
                  <a:pt x="1462" y="103"/>
                </a:cubicBezTo>
                <a:cubicBezTo>
                  <a:pt x="1461" y="103"/>
                  <a:pt x="1460" y="103"/>
                  <a:pt x="1459" y="103"/>
                </a:cubicBezTo>
                <a:lnTo>
                  <a:pt x="1375" y="64"/>
                </a:lnTo>
                <a:cubicBezTo>
                  <a:pt x="1373" y="64"/>
                  <a:pt x="1372" y="63"/>
                  <a:pt x="1372" y="62"/>
                </a:cubicBezTo>
                <a:cubicBezTo>
                  <a:pt x="1371" y="62"/>
                  <a:pt x="1371" y="61"/>
                  <a:pt x="1371" y="60"/>
                </a:cubicBezTo>
                <a:cubicBezTo>
                  <a:pt x="1371" y="60"/>
                  <a:pt x="1371" y="59"/>
                  <a:pt x="1372" y="58"/>
                </a:cubicBezTo>
                <a:cubicBezTo>
                  <a:pt x="1373" y="57"/>
                  <a:pt x="1374" y="56"/>
                  <a:pt x="1375" y="54"/>
                </a:cubicBezTo>
                <a:cubicBezTo>
                  <a:pt x="1377" y="53"/>
                  <a:pt x="1378" y="52"/>
                  <a:pt x="1379" y="51"/>
                </a:cubicBezTo>
                <a:cubicBezTo>
                  <a:pt x="1380" y="50"/>
                  <a:pt x="1380" y="50"/>
                  <a:pt x="1381" y="49"/>
                </a:cubicBezTo>
                <a:cubicBezTo>
                  <a:pt x="1382" y="49"/>
                  <a:pt x="1382" y="49"/>
                  <a:pt x="1383" y="49"/>
                </a:cubicBezTo>
                <a:cubicBezTo>
                  <a:pt x="1384" y="49"/>
                  <a:pt x="1384" y="50"/>
                  <a:pt x="1385" y="50"/>
                </a:cubicBezTo>
                <a:lnTo>
                  <a:pt x="1455" y="83"/>
                </a:lnTo>
                <a:lnTo>
                  <a:pt x="1456" y="83"/>
                </a:lnTo>
                <a:lnTo>
                  <a:pt x="1421" y="13"/>
                </a:lnTo>
                <a:cubicBezTo>
                  <a:pt x="1421" y="12"/>
                  <a:pt x="1420" y="11"/>
                  <a:pt x="1421" y="10"/>
                </a:cubicBezTo>
                <a:cubicBezTo>
                  <a:pt x="1421" y="10"/>
                  <a:pt x="1421" y="9"/>
                  <a:pt x="1422" y="8"/>
                </a:cubicBezTo>
                <a:cubicBezTo>
                  <a:pt x="1423" y="7"/>
                  <a:pt x="1424" y="6"/>
                  <a:pt x="1425" y="4"/>
                </a:cubicBezTo>
                <a:cubicBezTo>
                  <a:pt x="1427" y="3"/>
                  <a:pt x="1428" y="2"/>
                  <a:pt x="1429" y="1"/>
                </a:cubicBezTo>
                <a:cubicBezTo>
                  <a:pt x="1430" y="0"/>
                  <a:pt x="1431" y="0"/>
                  <a:pt x="1431" y="0"/>
                </a:cubicBezTo>
                <a:cubicBezTo>
                  <a:pt x="1432" y="0"/>
                  <a:pt x="1433" y="0"/>
                  <a:pt x="1433" y="1"/>
                </a:cubicBezTo>
                <a:cubicBezTo>
                  <a:pt x="1434" y="1"/>
                  <a:pt x="1434" y="2"/>
                  <a:pt x="1435" y="3"/>
                </a:cubicBezTo>
                <a:lnTo>
                  <a:pt x="1476" y="91"/>
                </a:lnTo>
                <a:close/>
              </a:path>
            </a:pathLst>
          </a:custGeom>
          <a:solidFill>
            <a:srgbClr val="000000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099" name="Freeform 43"/>
          <p:cNvSpPr>
            <a:spLocks noEditPoints="1"/>
          </p:cNvSpPr>
          <p:nvPr/>
        </p:nvSpPr>
        <p:spPr bwMode="auto">
          <a:xfrm>
            <a:off x="3030797" y="3996618"/>
            <a:ext cx="1927225" cy="1889125"/>
          </a:xfrm>
          <a:custGeom>
            <a:avLst/>
            <a:gdLst/>
            <a:ahLst/>
            <a:cxnLst>
              <a:cxn ang="0">
                <a:pos x="14" y="2923"/>
              </a:cxn>
              <a:cxn ang="0">
                <a:pos x="237" y="2882"/>
              </a:cxn>
              <a:cxn ang="0">
                <a:pos x="313" y="2805"/>
              </a:cxn>
              <a:cxn ang="0">
                <a:pos x="223" y="2762"/>
              </a:cxn>
              <a:cxn ang="0">
                <a:pos x="293" y="2630"/>
              </a:cxn>
              <a:cxn ang="0">
                <a:pos x="444" y="2524"/>
              </a:cxn>
              <a:cxn ang="0">
                <a:pos x="510" y="2588"/>
              </a:cxn>
              <a:cxn ang="0">
                <a:pos x="568" y="2533"/>
              </a:cxn>
              <a:cxn ang="0">
                <a:pos x="542" y="2495"/>
              </a:cxn>
              <a:cxn ang="0">
                <a:pos x="622" y="2497"/>
              </a:cxn>
              <a:cxn ang="0">
                <a:pos x="726" y="2374"/>
              </a:cxn>
              <a:cxn ang="0">
                <a:pos x="701" y="2337"/>
              </a:cxn>
              <a:cxn ang="0">
                <a:pos x="775" y="2340"/>
              </a:cxn>
              <a:cxn ang="0">
                <a:pos x="871" y="2245"/>
              </a:cxn>
              <a:cxn ang="0">
                <a:pos x="776" y="2209"/>
              </a:cxn>
              <a:cxn ang="0">
                <a:pos x="884" y="2193"/>
              </a:cxn>
              <a:cxn ang="0">
                <a:pos x="906" y="2188"/>
              </a:cxn>
              <a:cxn ang="0">
                <a:pos x="872" y="2070"/>
              </a:cxn>
              <a:cxn ang="0">
                <a:pos x="961" y="2042"/>
              </a:cxn>
              <a:cxn ang="0">
                <a:pos x="1025" y="2000"/>
              </a:cxn>
              <a:cxn ang="0">
                <a:pos x="1168" y="1799"/>
              </a:cxn>
              <a:cxn ang="0">
                <a:pos x="1198" y="1829"/>
              </a:cxn>
              <a:cxn ang="0">
                <a:pos x="1236" y="1766"/>
              </a:cxn>
              <a:cxn ang="0">
                <a:pos x="1225" y="1755"/>
              </a:cxn>
              <a:cxn ang="0">
                <a:pos x="1245" y="1711"/>
              </a:cxn>
              <a:cxn ang="0">
                <a:pos x="1300" y="1623"/>
              </a:cxn>
              <a:cxn ang="0">
                <a:pos x="1478" y="1641"/>
              </a:cxn>
              <a:cxn ang="0">
                <a:pos x="1472" y="1528"/>
              </a:cxn>
              <a:cxn ang="0">
                <a:pos x="1608" y="1498"/>
              </a:cxn>
              <a:cxn ang="0">
                <a:pos x="1527" y="1455"/>
              </a:cxn>
              <a:cxn ang="0">
                <a:pos x="1659" y="1439"/>
              </a:cxn>
              <a:cxn ang="0">
                <a:pos x="1610" y="1399"/>
              </a:cxn>
              <a:cxn ang="0">
                <a:pos x="1770" y="1388"/>
              </a:cxn>
              <a:cxn ang="0">
                <a:pos x="1661" y="1339"/>
              </a:cxn>
              <a:cxn ang="0">
                <a:pos x="1751" y="1254"/>
              </a:cxn>
              <a:cxn ang="0">
                <a:pos x="1728" y="1252"/>
              </a:cxn>
              <a:cxn ang="0">
                <a:pos x="1822" y="1207"/>
              </a:cxn>
              <a:cxn ang="0">
                <a:pos x="1818" y="1263"/>
              </a:cxn>
              <a:cxn ang="0">
                <a:pos x="1817" y="1130"/>
              </a:cxn>
              <a:cxn ang="0">
                <a:pos x="1952" y="1168"/>
              </a:cxn>
              <a:cxn ang="0">
                <a:pos x="2005" y="1116"/>
              </a:cxn>
              <a:cxn ang="0">
                <a:pos x="1990" y="1060"/>
              </a:cxn>
              <a:cxn ang="0">
                <a:pos x="1990" y="992"/>
              </a:cxn>
              <a:cxn ang="0">
                <a:pos x="2175" y="912"/>
              </a:cxn>
              <a:cxn ang="0">
                <a:pos x="2158" y="803"/>
              </a:cxn>
              <a:cxn ang="0">
                <a:pos x="2254" y="768"/>
              </a:cxn>
              <a:cxn ang="0">
                <a:pos x="2261" y="752"/>
              </a:cxn>
              <a:cxn ang="0">
                <a:pos x="2323" y="747"/>
              </a:cxn>
              <a:cxn ang="0">
                <a:pos x="2416" y="699"/>
              </a:cxn>
              <a:cxn ang="0">
                <a:pos x="2497" y="624"/>
              </a:cxn>
              <a:cxn ang="0">
                <a:pos x="2448" y="552"/>
              </a:cxn>
              <a:cxn ang="0">
                <a:pos x="2578" y="444"/>
              </a:cxn>
              <a:cxn ang="0">
                <a:pos x="2577" y="409"/>
              </a:cxn>
              <a:cxn ang="0">
                <a:pos x="2703" y="302"/>
              </a:cxn>
              <a:cxn ang="0">
                <a:pos x="2676" y="316"/>
              </a:cxn>
              <a:cxn ang="0">
                <a:pos x="2768" y="271"/>
              </a:cxn>
              <a:cxn ang="0">
                <a:pos x="2764" y="299"/>
              </a:cxn>
              <a:cxn ang="0">
                <a:pos x="2766" y="183"/>
              </a:cxn>
              <a:cxn ang="0">
                <a:pos x="2904" y="213"/>
              </a:cxn>
              <a:cxn ang="0">
                <a:pos x="2970" y="131"/>
              </a:cxn>
              <a:cxn ang="0">
                <a:pos x="2954" y="133"/>
              </a:cxn>
              <a:cxn ang="0">
                <a:pos x="2939" y="45"/>
              </a:cxn>
            </a:cxnLst>
            <a:rect l="0" t="0" r="r" b="b"/>
            <a:pathLst>
              <a:path w="3061" h="3000">
                <a:moveTo>
                  <a:pt x="186" y="2927"/>
                </a:moveTo>
                <a:cubicBezTo>
                  <a:pt x="187" y="2928"/>
                  <a:pt x="187" y="2929"/>
                  <a:pt x="187" y="2930"/>
                </a:cubicBezTo>
                <a:cubicBezTo>
                  <a:pt x="187" y="2930"/>
                  <a:pt x="187" y="2931"/>
                  <a:pt x="186" y="2932"/>
                </a:cubicBezTo>
                <a:cubicBezTo>
                  <a:pt x="186" y="2933"/>
                  <a:pt x="185" y="2934"/>
                  <a:pt x="184" y="2935"/>
                </a:cubicBezTo>
                <a:cubicBezTo>
                  <a:pt x="183" y="2936"/>
                  <a:pt x="182" y="2937"/>
                  <a:pt x="181" y="2939"/>
                </a:cubicBezTo>
                <a:cubicBezTo>
                  <a:pt x="179" y="2940"/>
                  <a:pt x="178" y="2942"/>
                  <a:pt x="177" y="2942"/>
                </a:cubicBezTo>
                <a:cubicBezTo>
                  <a:pt x="176" y="2943"/>
                  <a:pt x="175" y="2944"/>
                  <a:pt x="174" y="2945"/>
                </a:cubicBezTo>
                <a:cubicBezTo>
                  <a:pt x="173" y="2945"/>
                  <a:pt x="172" y="2945"/>
                  <a:pt x="171" y="2945"/>
                </a:cubicBezTo>
                <a:cubicBezTo>
                  <a:pt x="171" y="2945"/>
                  <a:pt x="170" y="2945"/>
                  <a:pt x="169" y="2944"/>
                </a:cubicBezTo>
                <a:lnTo>
                  <a:pt x="79" y="2894"/>
                </a:lnTo>
                <a:lnTo>
                  <a:pt x="79" y="2894"/>
                </a:lnTo>
                <a:lnTo>
                  <a:pt x="131" y="2982"/>
                </a:lnTo>
                <a:cubicBezTo>
                  <a:pt x="132" y="2983"/>
                  <a:pt x="132" y="2983"/>
                  <a:pt x="132" y="2984"/>
                </a:cubicBezTo>
                <a:cubicBezTo>
                  <a:pt x="132" y="2985"/>
                  <a:pt x="132" y="2986"/>
                  <a:pt x="132" y="2987"/>
                </a:cubicBezTo>
                <a:cubicBezTo>
                  <a:pt x="131" y="2987"/>
                  <a:pt x="131" y="2988"/>
                  <a:pt x="130" y="2989"/>
                </a:cubicBezTo>
                <a:cubicBezTo>
                  <a:pt x="129" y="2991"/>
                  <a:pt x="128" y="2992"/>
                  <a:pt x="126" y="2993"/>
                </a:cubicBezTo>
                <a:cubicBezTo>
                  <a:pt x="125" y="2995"/>
                  <a:pt x="123" y="2996"/>
                  <a:pt x="122" y="2997"/>
                </a:cubicBezTo>
                <a:cubicBezTo>
                  <a:pt x="121" y="2998"/>
                  <a:pt x="120" y="2999"/>
                  <a:pt x="119" y="2999"/>
                </a:cubicBezTo>
                <a:cubicBezTo>
                  <a:pt x="118" y="3000"/>
                  <a:pt x="117" y="3000"/>
                  <a:pt x="117" y="3000"/>
                </a:cubicBezTo>
                <a:cubicBezTo>
                  <a:pt x="116" y="3000"/>
                  <a:pt x="115" y="3000"/>
                  <a:pt x="114" y="2999"/>
                </a:cubicBezTo>
                <a:lnTo>
                  <a:pt x="4" y="2938"/>
                </a:lnTo>
                <a:cubicBezTo>
                  <a:pt x="2" y="2937"/>
                  <a:pt x="1" y="2936"/>
                  <a:pt x="1" y="2936"/>
                </a:cubicBezTo>
                <a:cubicBezTo>
                  <a:pt x="0" y="2935"/>
                  <a:pt x="0" y="2934"/>
                  <a:pt x="0" y="2934"/>
                </a:cubicBezTo>
                <a:cubicBezTo>
                  <a:pt x="0" y="2933"/>
                  <a:pt x="0" y="2932"/>
                  <a:pt x="1" y="2931"/>
                </a:cubicBezTo>
                <a:cubicBezTo>
                  <a:pt x="2" y="2930"/>
                  <a:pt x="3" y="2929"/>
                  <a:pt x="5" y="2927"/>
                </a:cubicBezTo>
                <a:cubicBezTo>
                  <a:pt x="6" y="2926"/>
                  <a:pt x="7" y="2925"/>
                  <a:pt x="8" y="2924"/>
                </a:cubicBezTo>
                <a:cubicBezTo>
                  <a:pt x="9" y="2923"/>
                  <a:pt x="10" y="2922"/>
                  <a:pt x="11" y="2922"/>
                </a:cubicBezTo>
                <a:cubicBezTo>
                  <a:pt x="11" y="2922"/>
                  <a:pt x="12" y="2922"/>
                  <a:pt x="12" y="2922"/>
                </a:cubicBezTo>
                <a:cubicBezTo>
                  <a:pt x="13" y="2922"/>
                  <a:pt x="13" y="2923"/>
                  <a:pt x="14" y="2923"/>
                </a:cubicBezTo>
                <a:lnTo>
                  <a:pt x="113" y="2980"/>
                </a:lnTo>
                <a:lnTo>
                  <a:pt x="113" y="2980"/>
                </a:lnTo>
                <a:lnTo>
                  <a:pt x="55" y="2882"/>
                </a:lnTo>
                <a:cubicBezTo>
                  <a:pt x="55" y="2882"/>
                  <a:pt x="54" y="2881"/>
                  <a:pt x="54" y="2880"/>
                </a:cubicBezTo>
                <a:cubicBezTo>
                  <a:pt x="54" y="2880"/>
                  <a:pt x="54" y="2879"/>
                  <a:pt x="54" y="2879"/>
                </a:cubicBezTo>
                <a:cubicBezTo>
                  <a:pt x="55" y="2878"/>
                  <a:pt x="55" y="2877"/>
                  <a:pt x="56" y="2876"/>
                </a:cubicBezTo>
                <a:cubicBezTo>
                  <a:pt x="57" y="2875"/>
                  <a:pt x="58" y="2874"/>
                  <a:pt x="59" y="2872"/>
                </a:cubicBezTo>
                <a:cubicBezTo>
                  <a:pt x="61" y="2871"/>
                  <a:pt x="62" y="2870"/>
                  <a:pt x="63" y="2869"/>
                </a:cubicBezTo>
                <a:cubicBezTo>
                  <a:pt x="64" y="2869"/>
                  <a:pt x="64" y="2868"/>
                  <a:pt x="65" y="2868"/>
                </a:cubicBezTo>
                <a:cubicBezTo>
                  <a:pt x="66" y="2868"/>
                  <a:pt x="66" y="2868"/>
                  <a:pt x="67" y="2868"/>
                </a:cubicBezTo>
                <a:cubicBezTo>
                  <a:pt x="68" y="2868"/>
                  <a:pt x="68" y="2868"/>
                  <a:pt x="69" y="2869"/>
                </a:cubicBezTo>
                <a:lnTo>
                  <a:pt x="168" y="2925"/>
                </a:lnTo>
                <a:lnTo>
                  <a:pt x="168" y="2925"/>
                </a:lnTo>
                <a:lnTo>
                  <a:pt x="111" y="2827"/>
                </a:lnTo>
                <a:cubicBezTo>
                  <a:pt x="110" y="2826"/>
                  <a:pt x="110" y="2825"/>
                  <a:pt x="110" y="2825"/>
                </a:cubicBezTo>
                <a:cubicBezTo>
                  <a:pt x="110" y="2824"/>
                  <a:pt x="110" y="2824"/>
                  <a:pt x="110" y="2823"/>
                </a:cubicBezTo>
                <a:cubicBezTo>
                  <a:pt x="110" y="2822"/>
                  <a:pt x="111" y="2822"/>
                  <a:pt x="111" y="2821"/>
                </a:cubicBezTo>
                <a:cubicBezTo>
                  <a:pt x="112" y="2820"/>
                  <a:pt x="113" y="2819"/>
                  <a:pt x="115" y="2817"/>
                </a:cubicBezTo>
                <a:cubicBezTo>
                  <a:pt x="116" y="2816"/>
                  <a:pt x="117" y="2815"/>
                  <a:pt x="118" y="2814"/>
                </a:cubicBezTo>
                <a:cubicBezTo>
                  <a:pt x="119" y="2813"/>
                  <a:pt x="120" y="2813"/>
                  <a:pt x="121" y="2813"/>
                </a:cubicBezTo>
                <a:cubicBezTo>
                  <a:pt x="121" y="2813"/>
                  <a:pt x="122" y="2813"/>
                  <a:pt x="123" y="2814"/>
                </a:cubicBezTo>
                <a:cubicBezTo>
                  <a:pt x="123" y="2814"/>
                  <a:pt x="124" y="2815"/>
                  <a:pt x="125" y="2817"/>
                </a:cubicBezTo>
                <a:lnTo>
                  <a:pt x="186" y="2927"/>
                </a:lnTo>
                <a:close/>
                <a:moveTo>
                  <a:pt x="244" y="2871"/>
                </a:moveTo>
                <a:cubicBezTo>
                  <a:pt x="245" y="2871"/>
                  <a:pt x="245" y="2872"/>
                  <a:pt x="245" y="2872"/>
                </a:cubicBezTo>
                <a:cubicBezTo>
                  <a:pt x="245" y="2873"/>
                  <a:pt x="245" y="2873"/>
                  <a:pt x="245" y="2874"/>
                </a:cubicBezTo>
                <a:cubicBezTo>
                  <a:pt x="244" y="2874"/>
                  <a:pt x="244" y="2875"/>
                  <a:pt x="243" y="2876"/>
                </a:cubicBezTo>
                <a:cubicBezTo>
                  <a:pt x="243" y="2877"/>
                  <a:pt x="242" y="2878"/>
                  <a:pt x="241" y="2879"/>
                </a:cubicBezTo>
                <a:cubicBezTo>
                  <a:pt x="239" y="2880"/>
                  <a:pt x="238" y="2881"/>
                  <a:pt x="237" y="2882"/>
                </a:cubicBezTo>
                <a:cubicBezTo>
                  <a:pt x="237" y="2882"/>
                  <a:pt x="236" y="2883"/>
                  <a:pt x="235" y="2883"/>
                </a:cubicBezTo>
                <a:cubicBezTo>
                  <a:pt x="235" y="2883"/>
                  <a:pt x="234" y="2883"/>
                  <a:pt x="234" y="2883"/>
                </a:cubicBezTo>
                <a:cubicBezTo>
                  <a:pt x="233" y="2883"/>
                  <a:pt x="233" y="2883"/>
                  <a:pt x="232" y="2883"/>
                </a:cubicBezTo>
                <a:lnTo>
                  <a:pt x="168" y="2818"/>
                </a:lnTo>
                <a:cubicBezTo>
                  <a:pt x="167" y="2818"/>
                  <a:pt x="167" y="2817"/>
                  <a:pt x="167" y="2817"/>
                </a:cubicBezTo>
                <a:cubicBezTo>
                  <a:pt x="167" y="2816"/>
                  <a:pt x="167" y="2816"/>
                  <a:pt x="167" y="2815"/>
                </a:cubicBezTo>
                <a:cubicBezTo>
                  <a:pt x="168" y="2815"/>
                  <a:pt x="168" y="2814"/>
                  <a:pt x="169" y="2813"/>
                </a:cubicBezTo>
                <a:cubicBezTo>
                  <a:pt x="169" y="2812"/>
                  <a:pt x="170" y="2811"/>
                  <a:pt x="171" y="2810"/>
                </a:cubicBezTo>
                <a:cubicBezTo>
                  <a:pt x="173" y="2809"/>
                  <a:pt x="174" y="2808"/>
                  <a:pt x="175" y="2807"/>
                </a:cubicBezTo>
                <a:cubicBezTo>
                  <a:pt x="175" y="2806"/>
                  <a:pt x="176" y="2806"/>
                  <a:pt x="177" y="2806"/>
                </a:cubicBezTo>
                <a:cubicBezTo>
                  <a:pt x="177" y="2805"/>
                  <a:pt x="178" y="2805"/>
                  <a:pt x="178" y="2806"/>
                </a:cubicBezTo>
                <a:cubicBezTo>
                  <a:pt x="179" y="2806"/>
                  <a:pt x="179" y="2806"/>
                  <a:pt x="180" y="2806"/>
                </a:cubicBezTo>
                <a:lnTo>
                  <a:pt x="244" y="2871"/>
                </a:lnTo>
                <a:close/>
                <a:moveTo>
                  <a:pt x="159" y="2783"/>
                </a:moveTo>
                <a:cubicBezTo>
                  <a:pt x="162" y="2786"/>
                  <a:pt x="163" y="2788"/>
                  <a:pt x="163" y="2790"/>
                </a:cubicBezTo>
                <a:cubicBezTo>
                  <a:pt x="163" y="2792"/>
                  <a:pt x="162" y="2795"/>
                  <a:pt x="159" y="2798"/>
                </a:cubicBezTo>
                <a:cubicBezTo>
                  <a:pt x="156" y="2800"/>
                  <a:pt x="154" y="2802"/>
                  <a:pt x="152" y="2802"/>
                </a:cubicBezTo>
                <a:cubicBezTo>
                  <a:pt x="150" y="2802"/>
                  <a:pt x="147" y="2800"/>
                  <a:pt x="145" y="2798"/>
                </a:cubicBezTo>
                <a:cubicBezTo>
                  <a:pt x="142" y="2795"/>
                  <a:pt x="140" y="2793"/>
                  <a:pt x="141" y="2791"/>
                </a:cubicBezTo>
                <a:cubicBezTo>
                  <a:pt x="141" y="2788"/>
                  <a:pt x="142" y="2786"/>
                  <a:pt x="145" y="2783"/>
                </a:cubicBezTo>
                <a:cubicBezTo>
                  <a:pt x="148" y="2780"/>
                  <a:pt x="150" y="2779"/>
                  <a:pt x="152" y="2779"/>
                </a:cubicBezTo>
                <a:cubicBezTo>
                  <a:pt x="154" y="2779"/>
                  <a:pt x="156" y="2780"/>
                  <a:pt x="159" y="2783"/>
                </a:cubicBezTo>
                <a:close/>
                <a:moveTo>
                  <a:pt x="322" y="2793"/>
                </a:moveTo>
                <a:cubicBezTo>
                  <a:pt x="322" y="2793"/>
                  <a:pt x="323" y="2794"/>
                  <a:pt x="323" y="2794"/>
                </a:cubicBezTo>
                <a:cubicBezTo>
                  <a:pt x="323" y="2795"/>
                  <a:pt x="323" y="2795"/>
                  <a:pt x="322" y="2796"/>
                </a:cubicBezTo>
                <a:cubicBezTo>
                  <a:pt x="322" y="2797"/>
                  <a:pt x="322" y="2797"/>
                  <a:pt x="321" y="2798"/>
                </a:cubicBezTo>
                <a:cubicBezTo>
                  <a:pt x="320" y="2799"/>
                  <a:pt x="319" y="2800"/>
                  <a:pt x="318" y="2801"/>
                </a:cubicBezTo>
                <a:cubicBezTo>
                  <a:pt x="317" y="2802"/>
                  <a:pt x="316" y="2803"/>
                  <a:pt x="315" y="2804"/>
                </a:cubicBezTo>
                <a:cubicBezTo>
                  <a:pt x="314" y="2805"/>
                  <a:pt x="314" y="2805"/>
                  <a:pt x="313" y="2805"/>
                </a:cubicBezTo>
                <a:cubicBezTo>
                  <a:pt x="312" y="2806"/>
                  <a:pt x="312" y="2806"/>
                  <a:pt x="311" y="2806"/>
                </a:cubicBezTo>
                <a:cubicBezTo>
                  <a:pt x="311" y="2806"/>
                  <a:pt x="311" y="2805"/>
                  <a:pt x="310" y="2805"/>
                </a:cubicBezTo>
                <a:lnTo>
                  <a:pt x="272" y="2767"/>
                </a:lnTo>
                <a:cubicBezTo>
                  <a:pt x="269" y="2763"/>
                  <a:pt x="265" y="2761"/>
                  <a:pt x="263" y="2759"/>
                </a:cubicBezTo>
                <a:cubicBezTo>
                  <a:pt x="260" y="2757"/>
                  <a:pt x="257" y="2756"/>
                  <a:pt x="254" y="2756"/>
                </a:cubicBezTo>
                <a:cubicBezTo>
                  <a:pt x="251" y="2755"/>
                  <a:pt x="249" y="2755"/>
                  <a:pt x="246" y="2756"/>
                </a:cubicBezTo>
                <a:cubicBezTo>
                  <a:pt x="244" y="2757"/>
                  <a:pt x="241" y="2759"/>
                  <a:pt x="239" y="2761"/>
                </a:cubicBezTo>
                <a:cubicBezTo>
                  <a:pt x="236" y="2764"/>
                  <a:pt x="234" y="2768"/>
                  <a:pt x="233" y="2773"/>
                </a:cubicBezTo>
                <a:cubicBezTo>
                  <a:pt x="232" y="2778"/>
                  <a:pt x="232" y="2784"/>
                  <a:pt x="233" y="2792"/>
                </a:cubicBezTo>
                <a:lnTo>
                  <a:pt x="278" y="2837"/>
                </a:lnTo>
                <a:cubicBezTo>
                  <a:pt x="279" y="2837"/>
                  <a:pt x="279" y="2838"/>
                  <a:pt x="279" y="2838"/>
                </a:cubicBezTo>
                <a:cubicBezTo>
                  <a:pt x="279" y="2839"/>
                  <a:pt x="279" y="2839"/>
                  <a:pt x="279" y="2840"/>
                </a:cubicBezTo>
                <a:cubicBezTo>
                  <a:pt x="278" y="2840"/>
                  <a:pt x="278" y="2841"/>
                  <a:pt x="277" y="2842"/>
                </a:cubicBezTo>
                <a:cubicBezTo>
                  <a:pt x="277" y="2843"/>
                  <a:pt x="276" y="2844"/>
                  <a:pt x="274" y="2845"/>
                </a:cubicBezTo>
                <a:cubicBezTo>
                  <a:pt x="273" y="2846"/>
                  <a:pt x="272" y="2847"/>
                  <a:pt x="271" y="2848"/>
                </a:cubicBezTo>
                <a:cubicBezTo>
                  <a:pt x="271" y="2848"/>
                  <a:pt x="270" y="2849"/>
                  <a:pt x="269" y="2849"/>
                </a:cubicBezTo>
                <a:cubicBezTo>
                  <a:pt x="269" y="2849"/>
                  <a:pt x="268" y="2850"/>
                  <a:pt x="268" y="2849"/>
                </a:cubicBezTo>
                <a:cubicBezTo>
                  <a:pt x="267" y="2849"/>
                  <a:pt x="267" y="2849"/>
                  <a:pt x="266" y="2849"/>
                </a:cubicBezTo>
                <a:lnTo>
                  <a:pt x="202" y="2784"/>
                </a:lnTo>
                <a:cubicBezTo>
                  <a:pt x="201" y="2784"/>
                  <a:pt x="201" y="2783"/>
                  <a:pt x="201" y="2783"/>
                </a:cubicBezTo>
                <a:cubicBezTo>
                  <a:pt x="201" y="2782"/>
                  <a:pt x="201" y="2782"/>
                  <a:pt x="201" y="2781"/>
                </a:cubicBezTo>
                <a:cubicBezTo>
                  <a:pt x="201" y="2781"/>
                  <a:pt x="202" y="2780"/>
                  <a:pt x="202" y="2779"/>
                </a:cubicBezTo>
                <a:cubicBezTo>
                  <a:pt x="203" y="2778"/>
                  <a:pt x="204" y="2778"/>
                  <a:pt x="205" y="2776"/>
                </a:cubicBezTo>
                <a:cubicBezTo>
                  <a:pt x="206" y="2775"/>
                  <a:pt x="207" y="2775"/>
                  <a:pt x="208" y="2774"/>
                </a:cubicBezTo>
                <a:cubicBezTo>
                  <a:pt x="208" y="2773"/>
                  <a:pt x="209" y="2773"/>
                  <a:pt x="210" y="2773"/>
                </a:cubicBezTo>
                <a:cubicBezTo>
                  <a:pt x="210" y="2773"/>
                  <a:pt x="211" y="2773"/>
                  <a:pt x="211" y="2773"/>
                </a:cubicBezTo>
                <a:cubicBezTo>
                  <a:pt x="212" y="2773"/>
                  <a:pt x="212" y="2773"/>
                  <a:pt x="212" y="2773"/>
                </a:cubicBezTo>
                <a:lnTo>
                  <a:pt x="221" y="2782"/>
                </a:lnTo>
                <a:cubicBezTo>
                  <a:pt x="221" y="2774"/>
                  <a:pt x="221" y="2768"/>
                  <a:pt x="223" y="2762"/>
                </a:cubicBezTo>
                <a:cubicBezTo>
                  <a:pt x="225" y="2757"/>
                  <a:pt x="227" y="2752"/>
                  <a:pt x="231" y="2748"/>
                </a:cubicBezTo>
                <a:cubicBezTo>
                  <a:pt x="235" y="2744"/>
                  <a:pt x="240" y="2741"/>
                  <a:pt x="244" y="2740"/>
                </a:cubicBezTo>
                <a:cubicBezTo>
                  <a:pt x="248" y="2738"/>
                  <a:pt x="253" y="2738"/>
                  <a:pt x="257" y="2738"/>
                </a:cubicBezTo>
                <a:cubicBezTo>
                  <a:pt x="261" y="2739"/>
                  <a:pt x="265" y="2741"/>
                  <a:pt x="270" y="2743"/>
                </a:cubicBezTo>
                <a:cubicBezTo>
                  <a:pt x="274" y="2745"/>
                  <a:pt x="278" y="2749"/>
                  <a:pt x="283" y="2754"/>
                </a:cubicBezTo>
                <a:lnTo>
                  <a:pt x="322" y="2793"/>
                </a:lnTo>
                <a:close/>
                <a:moveTo>
                  <a:pt x="401" y="2714"/>
                </a:moveTo>
                <a:cubicBezTo>
                  <a:pt x="401" y="2715"/>
                  <a:pt x="402" y="2715"/>
                  <a:pt x="402" y="2715"/>
                </a:cubicBezTo>
                <a:cubicBezTo>
                  <a:pt x="402" y="2716"/>
                  <a:pt x="402" y="2716"/>
                  <a:pt x="401" y="2717"/>
                </a:cubicBezTo>
                <a:cubicBezTo>
                  <a:pt x="401" y="2718"/>
                  <a:pt x="401" y="2718"/>
                  <a:pt x="400" y="2719"/>
                </a:cubicBezTo>
                <a:cubicBezTo>
                  <a:pt x="400" y="2720"/>
                  <a:pt x="399" y="2721"/>
                  <a:pt x="398" y="2722"/>
                </a:cubicBezTo>
                <a:cubicBezTo>
                  <a:pt x="397" y="2723"/>
                  <a:pt x="396" y="2723"/>
                  <a:pt x="395" y="2724"/>
                </a:cubicBezTo>
                <a:cubicBezTo>
                  <a:pt x="395" y="2724"/>
                  <a:pt x="394" y="2725"/>
                  <a:pt x="393" y="2725"/>
                </a:cubicBezTo>
                <a:cubicBezTo>
                  <a:pt x="393" y="2725"/>
                  <a:pt x="392" y="2726"/>
                  <a:pt x="392" y="2725"/>
                </a:cubicBezTo>
                <a:cubicBezTo>
                  <a:pt x="391" y="2725"/>
                  <a:pt x="391" y="2725"/>
                  <a:pt x="390" y="2725"/>
                </a:cubicBezTo>
                <a:lnTo>
                  <a:pt x="382" y="2716"/>
                </a:lnTo>
                <a:cubicBezTo>
                  <a:pt x="382" y="2723"/>
                  <a:pt x="381" y="2730"/>
                  <a:pt x="380" y="2735"/>
                </a:cubicBezTo>
                <a:cubicBezTo>
                  <a:pt x="378" y="2741"/>
                  <a:pt x="375" y="2746"/>
                  <a:pt x="371" y="2750"/>
                </a:cubicBezTo>
                <a:cubicBezTo>
                  <a:pt x="366" y="2755"/>
                  <a:pt x="361" y="2758"/>
                  <a:pt x="356" y="2760"/>
                </a:cubicBezTo>
                <a:cubicBezTo>
                  <a:pt x="351" y="2761"/>
                  <a:pt x="346" y="2762"/>
                  <a:pt x="340" y="2761"/>
                </a:cubicBezTo>
                <a:cubicBezTo>
                  <a:pt x="335" y="2759"/>
                  <a:pt x="330" y="2757"/>
                  <a:pt x="325" y="2754"/>
                </a:cubicBezTo>
                <a:cubicBezTo>
                  <a:pt x="320" y="2751"/>
                  <a:pt x="315" y="2747"/>
                  <a:pt x="310" y="2742"/>
                </a:cubicBezTo>
                <a:cubicBezTo>
                  <a:pt x="304" y="2737"/>
                  <a:pt x="300" y="2731"/>
                  <a:pt x="297" y="2725"/>
                </a:cubicBezTo>
                <a:cubicBezTo>
                  <a:pt x="293" y="2720"/>
                  <a:pt x="291" y="2714"/>
                  <a:pt x="291" y="2708"/>
                </a:cubicBezTo>
                <a:cubicBezTo>
                  <a:pt x="290" y="2703"/>
                  <a:pt x="290" y="2698"/>
                  <a:pt x="292" y="2692"/>
                </a:cubicBezTo>
                <a:cubicBezTo>
                  <a:pt x="294" y="2687"/>
                  <a:pt x="297" y="2682"/>
                  <a:pt x="301" y="2678"/>
                </a:cubicBezTo>
                <a:cubicBezTo>
                  <a:pt x="305" y="2674"/>
                  <a:pt x="310" y="2671"/>
                  <a:pt x="314" y="2670"/>
                </a:cubicBezTo>
                <a:cubicBezTo>
                  <a:pt x="319" y="2668"/>
                  <a:pt x="325" y="2668"/>
                  <a:pt x="331" y="2668"/>
                </a:cubicBezTo>
                <a:lnTo>
                  <a:pt x="293" y="2630"/>
                </a:lnTo>
                <a:cubicBezTo>
                  <a:pt x="293" y="2630"/>
                  <a:pt x="293" y="2630"/>
                  <a:pt x="293" y="2629"/>
                </a:cubicBezTo>
                <a:cubicBezTo>
                  <a:pt x="292" y="2629"/>
                  <a:pt x="293" y="2628"/>
                  <a:pt x="293" y="2627"/>
                </a:cubicBezTo>
                <a:cubicBezTo>
                  <a:pt x="293" y="2627"/>
                  <a:pt x="294" y="2626"/>
                  <a:pt x="294" y="2625"/>
                </a:cubicBezTo>
                <a:cubicBezTo>
                  <a:pt x="295" y="2624"/>
                  <a:pt x="296" y="2623"/>
                  <a:pt x="297" y="2622"/>
                </a:cubicBezTo>
                <a:cubicBezTo>
                  <a:pt x="298" y="2621"/>
                  <a:pt x="299" y="2620"/>
                  <a:pt x="300" y="2619"/>
                </a:cubicBezTo>
                <a:cubicBezTo>
                  <a:pt x="301" y="2619"/>
                  <a:pt x="302" y="2618"/>
                  <a:pt x="302" y="2618"/>
                </a:cubicBezTo>
                <a:cubicBezTo>
                  <a:pt x="303" y="2618"/>
                  <a:pt x="303" y="2618"/>
                  <a:pt x="304" y="2618"/>
                </a:cubicBezTo>
                <a:cubicBezTo>
                  <a:pt x="304" y="2618"/>
                  <a:pt x="305" y="2618"/>
                  <a:pt x="305" y="2618"/>
                </a:cubicBezTo>
                <a:lnTo>
                  <a:pt x="401" y="2714"/>
                </a:lnTo>
                <a:close/>
                <a:moveTo>
                  <a:pt x="344" y="2681"/>
                </a:moveTo>
                <a:cubicBezTo>
                  <a:pt x="336" y="2680"/>
                  <a:pt x="330" y="2680"/>
                  <a:pt x="325" y="2681"/>
                </a:cubicBezTo>
                <a:cubicBezTo>
                  <a:pt x="320" y="2682"/>
                  <a:pt x="316" y="2684"/>
                  <a:pt x="313" y="2687"/>
                </a:cubicBezTo>
                <a:cubicBezTo>
                  <a:pt x="310" y="2690"/>
                  <a:pt x="308" y="2693"/>
                  <a:pt x="307" y="2697"/>
                </a:cubicBezTo>
                <a:cubicBezTo>
                  <a:pt x="306" y="2700"/>
                  <a:pt x="307" y="2704"/>
                  <a:pt x="308" y="2708"/>
                </a:cubicBezTo>
                <a:cubicBezTo>
                  <a:pt x="309" y="2711"/>
                  <a:pt x="310" y="2715"/>
                  <a:pt x="313" y="2719"/>
                </a:cubicBezTo>
                <a:cubicBezTo>
                  <a:pt x="315" y="2722"/>
                  <a:pt x="318" y="2725"/>
                  <a:pt x="321" y="2729"/>
                </a:cubicBezTo>
                <a:cubicBezTo>
                  <a:pt x="324" y="2732"/>
                  <a:pt x="328" y="2735"/>
                  <a:pt x="331" y="2737"/>
                </a:cubicBezTo>
                <a:cubicBezTo>
                  <a:pt x="335" y="2740"/>
                  <a:pt x="338" y="2742"/>
                  <a:pt x="342" y="2743"/>
                </a:cubicBezTo>
                <a:cubicBezTo>
                  <a:pt x="346" y="2744"/>
                  <a:pt x="349" y="2744"/>
                  <a:pt x="353" y="2744"/>
                </a:cubicBezTo>
                <a:cubicBezTo>
                  <a:pt x="356" y="2743"/>
                  <a:pt x="360" y="2741"/>
                  <a:pt x="363" y="2738"/>
                </a:cubicBezTo>
                <a:cubicBezTo>
                  <a:pt x="364" y="2737"/>
                  <a:pt x="366" y="2735"/>
                  <a:pt x="367" y="2733"/>
                </a:cubicBezTo>
                <a:cubicBezTo>
                  <a:pt x="368" y="2731"/>
                  <a:pt x="369" y="2729"/>
                  <a:pt x="369" y="2726"/>
                </a:cubicBezTo>
                <a:cubicBezTo>
                  <a:pt x="370" y="2724"/>
                  <a:pt x="370" y="2721"/>
                  <a:pt x="370" y="2718"/>
                </a:cubicBezTo>
                <a:cubicBezTo>
                  <a:pt x="370" y="2714"/>
                  <a:pt x="370" y="2711"/>
                  <a:pt x="369" y="2706"/>
                </a:cubicBezTo>
                <a:lnTo>
                  <a:pt x="344" y="2681"/>
                </a:lnTo>
                <a:close/>
                <a:moveTo>
                  <a:pt x="440" y="2518"/>
                </a:moveTo>
                <a:cubicBezTo>
                  <a:pt x="441" y="2519"/>
                  <a:pt x="442" y="2520"/>
                  <a:pt x="442" y="2521"/>
                </a:cubicBezTo>
                <a:cubicBezTo>
                  <a:pt x="443" y="2521"/>
                  <a:pt x="443" y="2522"/>
                  <a:pt x="444" y="2523"/>
                </a:cubicBezTo>
                <a:cubicBezTo>
                  <a:pt x="444" y="2523"/>
                  <a:pt x="444" y="2524"/>
                  <a:pt x="444" y="2524"/>
                </a:cubicBezTo>
                <a:cubicBezTo>
                  <a:pt x="444" y="2525"/>
                  <a:pt x="444" y="2525"/>
                  <a:pt x="443" y="2526"/>
                </a:cubicBezTo>
                <a:cubicBezTo>
                  <a:pt x="443" y="2526"/>
                  <a:pt x="441" y="2527"/>
                  <a:pt x="439" y="2527"/>
                </a:cubicBezTo>
                <a:cubicBezTo>
                  <a:pt x="437" y="2528"/>
                  <a:pt x="434" y="2528"/>
                  <a:pt x="431" y="2530"/>
                </a:cubicBezTo>
                <a:cubicBezTo>
                  <a:pt x="427" y="2531"/>
                  <a:pt x="424" y="2532"/>
                  <a:pt x="419" y="2535"/>
                </a:cubicBezTo>
                <a:cubicBezTo>
                  <a:pt x="415" y="2537"/>
                  <a:pt x="411" y="2540"/>
                  <a:pt x="407" y="2544"/>
                </a:cubicBezTo>
                <a:cubicBezTo>
                  <a:pt x="402" y="2549"/>
                  <a:pt x="398" y="2555"/>
                  <a:pt x="396" y="2561"/>
                </a:cubicBezTo>
                <a:cubicBezTo>
                  <a:pt x="394" y="2567"/>
                  <a:pt x="393" y="2573"/>
                  <a:pt x="393" y="2579"/>
                </a:cubicBezTo>
                <a:cubicBezTo>
                  <a:pt x="394" y="2585"/>
                  <a:pt x="396" y="2591"/>
                  <a:pt x="399" y="2597"/>
                </a:cubicBezTo>
                <a:cubicBezTo>
                  <a:pt x="402" y="2603"/>
                  <a:pt x="406" y="2609"/>
                  <a:pt x="411" y="2614"/>
                </a:cubicBezTo>
                <a:cubicBezTo>
                  <a:pt x="417" y="2620"/>
                  <a:pt x="423" y="2625"/>
                  <a:pt x="429" y="2628"/>
                </a:cubicBezTo>
                <a:cubicBezTo>
                  <a:pt x="436" y="2631"/>
                  <a:pt x="442" y="2632"/>
                  <a:pt x="448" y="2632"/>
                </a:cubicBezTo>
                <a:cubicBezTo>
                  <a:pt x="454" y="2633"/>
                  <a:pt x="460" y="2632"/>
                  <a:pt x="466" y="2629"/>
                </a:cubicBezTo>
                <a:cubicBezTo>
                  <a:pt x="471" y="2627"/>
                  <a:pt x="476" y="2623"/>
                  <a:pt x="481" y="2618"/>
                </a:cubicBezTo>
                <a:cubicBezTo>
                  <a:pt x="484" y="2615"/>
                  <a:pt x="487" y="2612"/>
                  <a:pt x="489" y="2609"/>
                </a:cubicBezTo>
                <a:cubicBezTo>
                  <a:pt x="491" y="2605"/>
                  <a:pt x="493" y="2601"/>
                  <a:pt x="494" y="2597"/>
                </a:cubicBezTo>
                <a:lnTo>
                  <a:pt x="467" y="2570"/>
                </a:lnTo>
                <a:lnTo>
                  <a:pt x="445" y="2592"/>
                </a:lnTo>
                <a:cubicBezTo>
                  <a:pt x="445" y="2593"/>
                  <a:pt x="444" y="2593"/>
                  <a:pt x="442" y="2592"/>
                </a:cubicBezTo>
                <a:cubicBezTo>
                  <a:pt x="441" y="2592"/>
                  <a:pt x="440" y="2591"/>
                  <a:pt x="438" y="2589"/>
                </a:cubicBezTo>
                <a:cubicBezTo>
                  <a:pt x="437" y="2588"/>
                  <a:pt x="436" y="2587"/>
                  <a:pt x="436" y="2587"/>
                </a:cubicBezTo>
                <a:cubicBezTo>
                  <a:pt x="435" y="2586"/>
                  <a:pt x="435" y="2585"/>
                  <a:pt x="435" y="2585"/>
                </a:cubicBezTo>
                <a:cubicBezTo>
                  <a:pt x="435" y="2584"/>
                  <a:pt x="434" y="2583"/>
                  <a:pt x="435" y="2583"/>
                </a:cubicBezTo>
                <a:cubicBezTo>
                  <a:pt x="435" y="2582"/>
                  <a:pt x="435" y="2582"/>
                  <a:pt x="435" y="2582"/>
                </a:cubicBezTo>
                <a:lnTo>
                  <a:pt x="465" y="2552"/>
                </a:lnTo>
                <a:cubicBezTo>
                  <a:pt x="465" y="2552"/>
                  <a:pt x="466" y="2551"/>
                  <a:pt x="467" y="2551"/>
                </a:cubicBezTo>
                <a:cubicBezTo>
                  <a:pt x="467" y="2550"/>
                  <a:pt x="468" y="2550"/>
                  <a:pt x="469" y="2550"/>
                </a:cubicBezTo>
                <a:cubicBezTo>
                  <a:pt x="470" y="2550"/>
                  <a:pt x="471" y="2550"/>
                  <a:pt x="472" y="2551"/>
                </a:cubicBezTo>
                <a:cubicBezTo>
                  <a:pt x="473" y="2551"/>
                  <a:pt x="473" y="2552"/>
                  <a:pt x="474" y="2553"/>
                </a:cubicBezTo>
                <a:lnTo>
                  <a:pt x="510" y="2588"/>
                </a:lnTo>
                <a:cubicBezTo>
                  <a:pt x="511" y="2589"/>
                  <a:pt x="512" y="2591"/>
                  <a:pt x="512" y="2592"/>
                </a:cubicBezTo>
                <a:cubicBezTo>
                  <a:pt x="513" y="2593"/>
                  <a:pt x="513" y="2595"/>
                  <a:pt x="512" y="2597"/>
                </a:cubicBezTo>
                <a:cubicBezTo>
                  <a:pt x="511" y="2599"/>
                  <a:pt x="510" y="2602"/>
                  <a:pt x="509" y="2605"/>
                </a:cubicBezTo>
                <a:cubicBezTo>
                  <a:pt x="507" y="2608"/>
                  <a:pt x="506" y="2611"/>
                  <a:pt x="504" y="2614"/>
                </a:cubicBezTo>
                <a:cubicBezTo>
                  <a:pt x="502" y="2617"/>
                  <a:pt x="500" y="2619"/>
                  <a:pt x="498" y="2622"/>
                </a:cubicBezTo>
                <a:cubicBezTo>
                  <a:pt x="496" y="2625"/>
                  <a:pt x="494" y="2627"/>
                  <a:pt x="492" y="2630"/>
                </a:cubicBezTo>
                <a:cubicBezTo>
                  <a:pt x="484" y="2637"/>
                  <a:pt x="477" y="2642"/>
                  <a:pt x="469" y="2646"/>
                </a:cubicBezTo>
                <a:cubicBezTo>
                  <a:pt x="461" y="2649"/>
                  <a:pt x="453" y="2651"/>
                  <a:pt x="445" y="2650"/>
                </a:cubicBezTo>
                <a:cubicBezTo>
                  <a:pt x="437" y="2650"/>
                  <a:pt x="429" y="2648"/>
                  <a:pt x="421" y="2644"/>
                </a:cubicBezTo>
                <a:cubicBezTo>
                  <a:pt x="414" y="2641"/>
                  <a:pt x="406" y="2635"/>
                  <a:pt x="399" y="2628"/>
                </a:cubicBezTo>
                <a:cubicBezTo>
                  <a:pt x="392" y="2621"/>
                  <a:pt x="386" y="2613"/>
                  <a:pt x="382" y="2605"/>
                </a:cubicBezTo>
                <a:cubicBezTo>
                  <a:pt x="379" y="2597"/>
                  <a:pt x="377" y="2589"/>
                  <a:pt x="377" y="2580"/>
                </a:cubicBezTo>
                <a:cubicBezTo>
                  <a:pt x="376" y="2572"/>
                  <a:pt x="378" y="2564"/>
                  <a:pt x="381" y="2556"/>
                </a:cubicBezTo>
                <a:cubicBezTo>
                  <a:pt x="385" y="2548"/>
                  <a:pt x="390" y="2540"/>
                  <a:pt x="397" y="2534"/>
                </a:cubicBezTo>
                <a:cubicBezTo>
                  <a:pt x="400" y="2530"/>
                  <a:pt x="404" y="2527"/>
                  <a:pt x="408" y="2524"/>
                </a:cubicBezTo>
                <a:cubicBezTo>
                  <a:pt x="411" y="2522"/>
                  <a:pt x="415" y="2520"/>
                  <a:pt x="418" y="2518"/>
                </a:cubicBezTo>
                <a:cubicBezTo>
                  <a:pt x="421" y="2517"/>
                  <a:pt x="424" y="2516"/>
                  <a:pt x="427" y="2515"/>
                </a:cubicBezTo>
                <a:cubicBezTo>
                  <a:pt x="430" y="2514"/>
                  <a:pt x="431" y="2514"/>
                  <a:pt x="433" y="2514"/>
                </a:cubicBezTo>
                <a:cubicBezTo>
                  <a:pt x="434" y="2514"/>
                  <a:pt x="435" y="2514"/>
                  <a:pt x="436" y="2515"/>
                </a:cubicBezTo>
                <a:cubicBezTo>
                  <a:pt x="437" y="2515"/>
                  <a:pt x="438" y="2516"/>
                  <a:pt x="440" y="2518"/>
                </a:cubicBezTo>
                <a:close/>
                <a:moveTo>
                  <a:pt x="558" y="2487"/>
                </a:moveTo>
                <a:cubicBezTo>
                  <a:pt x="560" y="2489"/>
                  <a:pt x="561" y="2491"/>
                  <a:pt x="560" y="2492"/>
                </a:cubicBezTo>
                <a:cubicBezTo>
                  <a:pt x="560" y="2494"/>
                  <a:pt x="560" y="2495"/>
                  <a:pt x="558" y="2497"/>
                </a:cubicBezTo>
                <a:lnTo>
                  <a:pt x="516" y="2539"/>
                </a:lnTo>
                <a:cubicBezTo>
                  <a:pt x="519" y="2543"/>
                  <a:pt x="523" y="2546"/>
                  <a:pt x="527" y="2548"/>
                </a:cubicBezTo>
                <a:cubicBezTo>
                  <a:pt x="530" y="2550"/>
                  <a:pt x="534" y="2551"/>
                  <a:pt x="538" y="2552"/>
                </a:cubicBezTo>
                <a:cubicBezTo>
                  <a:pt x="541" y="2552"/>
                  <a:pt x="545" y="2551"/>
                  <a:pt x="549" y="2550"/>
                </a:cubicBezTo>
                <a:cubicBezTo>
                  <a:pt x="553" y="2548"/>
                  <a:pt x="557" y="2545"/>
                  <a:pt x="561" y="2542"/>
                </a:cubicBezTo>
                <a:cubicBezTo>
                  <a:pt x="564" y="2539"/>
                  <a:pt x="566" y="2536"/>
                  <a:pt x="568" y="2533"/>
                </a:cubicBezTo>
                <a:cubicBezTo>
                  <a:pt x="570" y="2530"/>
                  <a:pt x="571" y="2527"/>
                  <a:pt x="573" y="2525"/>
                </a:cubicBezTo>
                <a:cubicBezTo>
                  <a:pt x="574" y="2522"/>
                  <a:pt x="575" y="2520"/>
                  <a:pt x="575" y="2519"/>
                </a:cubicBezTo>
                <a:cubicBezTo>
                  <a:pt x="576" y="2517"/>
                  <a:pt x="576" y="2516"/>
                  <a:pt x="577" y="2515"/>
                </a:cubicBezTo>
                <a:cubicBezTo>
                  <a:pt x="577" y="2515"/>
                  <a:pt x="578" y="2515"/>
                  <a:pt x="578" y="2515"/>
                </a:cubicBezTo>
                <a:cubicBezTo>
                  <a:pt x="579" y="2515"/>
                  <a:pt x="579" y="2515"/>
                  <a:pt x="580" y="2515"/>
                </a:cubicBezTo>
                <a:cubicBezTo>
                  <a:pt x="580" y="2515"/>
                  <a:pt x="581" y="2515"/>
                  <a:pt x="581" y="2516"/>
                </a:cubicBezTo>
                <a:cubicBezTo>
                  <a:pt x="582" y="2516"/>
                  <a:pt x="583" y="2517"/>
                  <a:pt x="584" y="2518"/>
                </a:cubicBezTo>
                <a:cubicBezTo>
                  <a:pt x="584" y="2519"/>
                  <a:pt x="585" y="2519"/>
                  <a:pt x="585" y="2520"/>
                </a:cubicBezTo>
                <a:cubicBezTo>
                  <a:pt x="585" y="2520"/>
                  <a:pt x="586" y="2521"/>
                  <a:pt x="586" y="2521"/>
                </a:cubicBezTo>
                <a:cubicBezTo>
                  <a:pt x="586" y="2522"/>
                  <a:pt x="587" y="2522"/>
                  <a:pt x="587" y="2522"/>
                </a:cubicBezTo>
                <a:cubicBezTo>
                  <a:pt x="587" y="2523"/>
                  <a:pt x="587" y="2523"/>
                  <a:pt x="587" y="2524"/>
                </a:cubicBezTo>
                <a:cubicBezTo>
                  <a:pt x="587" y="2524"/>
                  <a:pt x="587" y="2526"/>
                  <a:pt x="586" y="2528"/>
                </a:cubicBezTo>
                <a:cubicBezTo>
                  <a:pt x="585" y="2529"/>
                  <a:pt x="584" y="2532"/>
                  <a:pt x="583" y="2534"/>
                </a:cubicBezTo>
                <a:cubicBezTo>
                  <a:pt x="581" y="2537"/>
                  <a:pt x="579" y="2540"/>
                  <a:pt x="577" y="2543"/>
                </a:cubicBezTo>
                <a:cubicBezTo>
                  <a:pt x="575" y="2546"/>
                  <a:pt x="572" y="2549"/>
                  <a:pt x="569" y="2552"/>
                </a:cubicBezTo>
                <a:cubicBezTo>
                  <a:pt x="564" y="2558"/>
                  <a:pt x="558" y="2562"/>
                  <a:pt x="553" y="2564"/>
                </a:cubicBezTo>
                <a:cubicBezTo>
                  <a:pt x="547" y="2567"/>
                  <a:pt x="542" y="2568"/>
                  <a:pt x="536" y="2568"/>
                </a:cubicBezTo>
                <a:cubicBezTo>
                  <a:pt x="530" y="2567"/>
                  <a:pt x="525" y="2566"/>
                  <a:pt x="519" y="2563"/>
                </a:cubicBezTo>
                <a:cubicBezTo>
                  <a:pt x="513" y="2560"/>
                  <a:pt x="507" y="2555"/>
                  <a:pt x="502" y="2549"/>
                </a:cubicBezTo>
                <a:cubicBezTo>
                  <a:pt x="496" y="2544"/>
                  <a:pt x="492" y="2538"/>
                  <a:pt x="489" y="2532"/>
                </a:cubicBezTo>
                <a:cubicBezTo>
                  <a:pt x="486" y="2526"/>
                  <a:pt x="484" y="2521"/>
                  <a:pt x="484" y="2515"/>
                </a:cubicBezTo>
                <a:cubicBezTo>
                  <a:pt x="483" y="2509"/>
                  <a:pt x="484" y="2503"/>
                  <a:pt x="486" y="2498"/>
                </a:cubicBezTo>
                <a:cubicBezTo>
                  <a:pt x="489" y="2492"/>
                  <a:pt x="492" y="2487"/>
                  <a:pt x="497" y="2483"/>
                </a:cubicBezTo>
                <a:cubicBezTo>
                  <a:pt x="502" y="2478"/>
                  <a:pt x="507" y="2474"/>
                  <a:pt x="512" y="2472"/>
                </a:cubicBezTo>
                <a:cubicBezTo>
                  <a:pt x="517" y="2470"/>
                  <a:pt x="522" y="2469"/>
                  <a:pt x="527" y="2470"/>
                </a:cubicBezTo>
                <a:cubicBezTo>
                  <a:pt x="533" y="2470"/>
                  <a:pt x="537" y="2472"/>
                  <a:pt x="542" y="2474"/>
                </a:cubicBezTo>
                <a:cubicBezTo>
                  <a:pt x="547" y="2477"/>
                  <a:pt x="552" y="2481"/>
                  <a:pt x="556" y="2485"/>
                </a:cubicBezTo>
                <a:lnTo>
                  <a:pt x="558" y="2487"/>
                </a:lnTo>
                <a:close/>
                <a:moveTo>
                  <a:pt x="542" y="2495"/>
                </a:moveTo>
                <a:cubicBezTo>
                  <a:pt x="536" y="2489"/>
                  <a:pt x="530" y="2485"/>
                  <a:pt x="524" y="2485"/>
                </a:cubicBezTo>
                <a:cubicBezTo>
                  <a:pt x="517" y="2484"/>
                  <a:pt x="511" y="2487"/>
                  <a:pt x="505" y="2492"/>
                </a:cubicBezTo>
                <a:cubicBezTo>
                  <a:pt x="502" y="2495"/>
                  <a:pt x="500" y="2499"/>
                  <a:pt x="499" y="2502"/>
                </a:cubicBezTo>
                <a:cubicBezTo>
                  <a:pt x="498" y="2505"/>
                  <a:pt x="498" y="2508"/>
                  <a:pt x="498" y="2512"/>
                </a:cubicBezTo>
                <a:cubicBezTo>
                  <a:pt x="498" y="2515"/>
                  <a:pt x="499" y="2518"/>
                  <a:pt x="501" y="2522"/>
                </a:cubicBezTo>
                <a:cubicBezTo>
                  <a:pt x="503" y="2525"/>
                  <a:pt x="505" y="2528"/>
                  <a:pt x="507" y="2531"/>
                </a:cubicBezTo>
                <a:lnTo>
                  <a:pt x="542" y="2495"/>
                </a:lnTo>
                <a:close/>
                <a:moveTo>
                  <a:pt x="673" y="2442"/>
                </a:moveTo>
                <a:cubicBezTo>
                  <a:pt x="673" y="2443"/>
                  <a:pt x="673" y="2443"/>
                  <a:pt x="673" y="2444"/>
                </a:cubicBezTo>
                <a:cubicBezTo>
                  <a:pt x="673" y="2444"/>
                  <a:pt x="673" y="2445"/>
                  <a:pt x="673" y="2445"/>
                </a:cubicBezTo>
                <a:cubicBezTo>
                  <a:pt x="673" y="2446"/>
                  <a:pt x="672" y="2447"/>
                  <a:pt x="672" y="2447"/>
                </a:cubicBezTo>
                <a:cubicBezTo>
                  <a:pt x="671" y="2448"/>
                  <a:pt x="670" y="2449"/>
                  <a:pt x="669" y="2450"/>
                </a:cubicBezTo>
                <a:cubicBezTo>
                  <a:pt x="668" y="2452"/>
                  <a:pt x="667" y="2453"/>
                  <a:pt x="666" y="2453"/>
                </a:cubicBezTo>
                <a:cubicBezTo>
                  <a:pt x="665" y="2454"/>
                  <a:pt x="664" y="2454"/>
                  <a:pt x="664" y="2455"/>
                </a:cubicBezTo>
                <a:cubicBezTo>
                  <a:pt x="663" y="2455"/>
                  <a:pt x="663" y="2455"/>
                  <a:pt x="662" y="2455"/>
                </a:cubicBezTo>
                <a:cubicBezTo>
                  <a:pt x="662" y="2455"/>
                  <a:pt x="661" y="2455"/>
                  <a:pt x="661" y="2454"/>
                </a:cubicBezTo>
                <a:lnTo>
                  <a:pt x="623" y="2416"/>
                </a:lnTo>
                <a:cubicBezTo>
                  <a:pt x="619" y="2413"/>
                  <a:pt x="616" y="2410"/>
                  <a:pt x="613" y="2408"/>
                </a:cubicBezTo>
                <a:cubicBezTo>
                  <a:pt x="610" y="2407"/>
                  <a:pt x="608" y="2406"/>
                  <a:pt x="605" y="2405"/>
                </a:cubicBezTo>
                <a:cubicBezTo>
                  <a:pt x="602" y="2404"/>
                  <a:pt x="600" y="2405"/>
                  <a:pt x="597" y="2406"/>
                </a:cubicBezTo>
                <a:cubicBezTo>
                  <a:pt x="594" y="2406"/>
                  <a:pt x="592" y="2408"/>
                  <a:pt x="590" y="2410"/>
                </a:cubicBezTo>
                <a:cubicBezTo>
                  <a:pt x="587" y="2413"/>
                  <a:pt x="585" y="2417"/>
                  <a:pt x="584" y="2422"/>
                </a:cubicBezTo>
                <a:cubicBezTo>
                  <a:pt x="583" y="2427"/>
                  <a:pt x="583" y="2434"/>
                  <a:pt x="584" y="2441"/>
                </a:cubicBezTo>
                <a:lnTo>
                  <a:pt x="629" y="2486"/>
                </a:lnTo>
                <a:cubicBezTo>
                  <a:pt x="629" y="2487"/>
                  <a:pt x="630" y="2487"/>
                  <a:pt x="630" y="2487"/>
                </a:cubicBezTo>
                <a:cubicBezTo>
                  <a:pt x="630" y="2488"/>
                  <a:pt x="630" y="2488"/>
                  <a:pt x="629" y="2489"/>
                </a:cubicBezTo>
                <a:cubicBezTo>
                  <a:pt x="629" y="2490"/>
                  <a:pt x="629" y="2490"/>
                  <a:pt x="628" y="2491"/>
                </a:cubicBezTo>
                <a:cubicBezTo>
                  <a:pt x="627" y="2492"/>
                  <a:pt x="626" y="2493"/>
                  <a:pt x="625" y="2494"/>
                </a:cubicBezTo>
                <a:cubicBezTo>
                  <a:pt x="624" y="2495"/>
                  <a:pt x="623" y="2496"/>
                  <a:pt x="622" y="2497"/>
                </a:cubicBezTo>
                <a:cubicBezTo>
                  <a:pt x="621" y="2498"/>
                  <a:pt x="621" y="2498"/>
                  <a:pt x="620" y="2498"/>
                </a:cubicBezTo>
                <a:cubicBezTo>
                  <a:pt x="619" y="2499"/>
                  <a:pt x="619" y="2499"/>
                  <a:pt x="618" y="2499"/>
                </a:cubicBezTo>
                <a:cubicBezTo>
                  <a:pt x="618" y="2499"/>
                  <a:pt x="617" y="2498"/>
                  <a:pt x="617" y="2498"/>
                </a:cubicBezTo>
                <a:lnTo>
                  <a:pt x="552" y="2433"/>
                </a:lnTo>
                <a:cubicBezTo>
                  <a:pt x="552" y="2433"/>
                  <a:pt x="552" y="2433"/>
                  <a:pt x="552" y="2432"/>
                </a:cubicBezTo>
                <a:cubicBezTo>
                  <a:pt x="552" y="2432"/>
                  <a:pt x="552" y="2431"/>
                  <a:pt x="552" y="2431"/>
                </a:cubicBezTo>
                <a:cubicBezTo>
                  <a:pt x="552" y="2430"/>
                  <a:pt x="552" y="2429"/>
                  <a:pt x="553" y="2428"/>
                </a:cubicBezTo>
                <a:cubicBezTo>
                  <a:pt x="554" y="2428"/>
                  <a:pt x="554" y="2427"/>
                  <a:pt x="556" y="2426"/>
                </a:cubicBezTo>
                <a:cubicBezTo>
                  <a:pt x="557" y="2425"/>
                  <a:pt x="558" y="2424"/>
                  <a:pt x="558" y="2423"/>
                </a:cubicBezTo>
                <a:cubicBezTo>
                  <a:pt x="559" y="2423"/>
                  <a:pt x="560" y="2422"/>
                  <a:pt x="560" y="2422"/>
                </a:cubicBezTo>
                <a:cubicBezTo>
                  <a:pt x="561" y="2422"/>
                  <a:pt x="561" y="2422"/>
                  <a:pt x="562" y="2422"/>
                </a:cubicBezTo>
                <a:cubicBezTo>
                  <a:pt x="562" y="2422"/>
                  <a:pt x="563" y="2422"/>
                  <a:pt x="563" y="2423"/>
                </a:cubicBezTo>
                <a:lnTo>
                  <a:pt x="572" y="2431"/>
                </a:lnTo>
                <a:cubicBezTo>
                  <a:pt x="571" y="2423"/>
                  <a:pt x="572" y="2417"/>
                  <a:pt x="574" y="2411"/>
                </a:cubicBezTo>
                <a:cubicBezTo>
                  <a:pt x="575" y="2406"/>
                  <a:pt x="578" y="2401"/>
                  <a:pt x="582" y="2398"/>
                </a:cubicBezTo>
                <a:cubicBezTo>
                  <a:pt x="586" y="2393"/>
                  <a:pt x="590" y="2390"/>
                  <a:pt x="595" y="2389"/>
                </a:cubicBezTo>
                <a:cubicBezTo>
                  <a:pt x="599" y="2387"/>
                  <a:pt x="604" y="2387"/>
                  <a:pt x="608" y="2388"/>
                </a:cubicBezTo>
                <a:cubicBezTo>
                  <a:pt x="612" y="2388"/>
                  <a:pt x="616" y="2390"/>
                  <a:pt x="620" y="2392"/>
                </a:cubicBezTo>
                <a:cubicBezTo>
                  <a:pt x="624" y="2395"/>
                  <a:pt x="629" y="2398"/>
                  <a:pt x="633" y="2403"/>
                </a:cubicBezTo>
                <a:lnTo>
                  <a:pt x="673" y="2442"/>
                </a:lnTo>
                <a:close/>
                <a:moveTo>
                  <a:pt x="716" y="2329"/>
                </a:moveTo>
                <a:cubicBezTo>
                  <a:pt x="718" y="2330"/>
                  <a:pt x="719" y="2332"/>
                  <a:pt x="719" y="2334"/>
                </a:cubicBezTo>
                <a:cubicBezTo>
                  <a:pt x="719" y="2336"/>
                  <a:pt x="718" y="2337"/>
                  <a:pt x="717" y="2338"/>
                </a:cubicBezTo>
                <a:lnTo>
                  <a:pt x="674" y="2381"/>
                </a:lnTo>
                <a:cubicBezTo>
                  <a:pt x="678" y="2384"/>
                  <a:pt x="681" y="2387"/>
                  <a:pt x="685" y="2389"/>
                </a:cubicBezTo>
                <a:cubicBezTo>
                  <a:pt x="689" y="2392"/>
                  <a:pt x="692" y="2393"/>
                  <a:pt x="696" y="2393"/>
                </a:cubicBezTo>
                <a:cubicBezTo>
                  <a:pt x="700" y="2394"/>
                  <a:pt x="704" y="2393"/>
                  <a:pt x="707" y="2391"/>
                </a:cubicBezTo>
                <a:cubicBezTo>
                  <a:pt x="711" y="2390"/>
                  <a:pt x="715" y="2387"/>
                  <a:pt x="719" y="2383"/>
                </a:cubicBezTo>
                <a:cubicBezTo>
                  <a:pt x="722" y="2380"/>
                  <a:pt x="724" y="2377"/>
                  <a:pt x="726" y="2374"/>
                </a:cubicBezTo>
                <a:cubicBezTo>
                  <a:pt x="728" y="2371"/>
                  <a:pt x="730" y="2369"/>
                  <a:pt x="731" y="2366"/>
                </a:cubicBezTo>
                <a:cubicBezTo>
                  <a:pt x="732" y="2364"/>
                  <a:pt x="733" y="2362"/>
                  <a:pt x="734" y="2360"/>
                </a:cubicBezTo>
                <a:cubicBezTo>
                  <a:pt x="734" y="2359"/>
                  <a:pt x="735" y="2358"/>
                  <a:pt x="735" y="2357"/>
                </a:cubicBezTo>
                <a:cubicBezTo>
                  <a:pt x="736" y="2357"/>
                  <a:pt x="736" y="2356"/>
                  <a:pt x="737" y="2356"/>
                </a:cubicBezTo>
                <a:cubicBezTo>
                  <a:pt x="737" y="2356"/>
                  <a:pt x="737" y="2356"/>
                  <a:pt x="738" y="2356"/>
                </a:cubicBezTo>
                <a:cubicBezTo>
                  <a:pt x="738" y="2357"/>
                  <a:pt x="739" y="2357"/>
                  <a:pt x="740" y="2358"/>
                </a:cubicBezTo>
                <a:cubicBezTo>
                  <a:pt x="740" y="2358"/>
                  <a:pt x="741" y="2359"/>
                  <a:pt x="742" y="2360"/>
                </a:cubicBezTo>
                <a:cubicBezTo>
                  <a:pt x="743" y="2360"/>
                  <a:pt x="743" y="2361"/>
                  <a:pt x="743" y="2361"/>
                </a:cubicBezTo>
                <a:cubicBezTo>
                  <a:pt x="744" y="2362"/>
                  <a:pt x="744" y="2362"/>
                  <a:pt x="745" y="2363"/>
                </a:cubicBezTo>
                <a:cubicBezTo>
                  <a:pt x="745" y="2363"/>
                  <a:pt x="745" y="2364"/>
                  <a:pt x="745" y="2364"/>
                </a:cubicBezTo>
                <a:cubicBezTo>
                  <a:pt x="745" y="2364"/>
                  <a:pt x="745" y="2365"/>
                  <a:pt x="745" y="2365"/>
                </a:cubicBezTo>
                <a:cubicBezTo>
                  <a:pt x="745" y="2366"/>
                  <a:pt x="745" y="2367"/>
                  <a:pt x="744" y="2369"/>
                </a:cubicBezTo>
                <a:cubicBezTo>
                  <a:pt x="744" y="2371"/>
                  <a:pt x="742" y="2373"/>
                  <a:pt x="741" y="2376"/>
                </a:cubicBezTo>
                <a:cubicBezTo>
                  <a:pt x="740" y="2379"/>
                  <a:pt x="738" y="2381"/>
                  <a:pt x="735" y="2385"/>
                </a:cubicBezTo>
                <a:cubicBezTo>
                  <a:pt x="733" y="2388"/>
                  <a:pt x="730" y="2391"/>
                  <a:pt x="727" y="2394"/>
                </a:cubicBezTo>
                <a:cubicBezTo>
                  <a:pt x="722" y="2399"/>
                  <a:pt x="717" y="2403"/>
                  <a:pt x="711" y="2406"/>
                </a:cubicBezTo>
                <a:cubicBezTo>
                  <a:pt x="706" y="2408"/>
                  <a:pt x="700" y="2409"/>
                  <a:pt x="695" y="2409"/>
                </a:cubicBezTo>
                <a:cubicBezTo>
                  <a:pt x="689" y="2409"/>
                  <a:pt x="683" y="2407"/>
                  <a:pt x="677" y="2404"/>
                </a:cubicBezTo>
                <a:cubicBezTo>
                  <a:pt x="672" y="2401"/>
                  <a:pt x="666" y="2397"/>
                  <a:pt x="660" y="2391"/>
                </a:cubicBezTo>
                <a:cubicBezTo>
                  <a:pt x="654" y="2386"/>
                  <a:pt x="650" y="2380"/>
                  <a:pt x="647" y="2374"/>
                </a:cubicBezTo>
                <a:cubicBezTo>
                  <a:pt x="644" y="2368"/>
                  <a:pt x="642" y="2362"/>
                  <a:pt x="642" y="2356"/>
                </a:cubicBezTo>
                <a:cubicBezTo>
                  <a:pt x="642" y="2351"/>
                  <a:pt x="643" y="2345"/>
                  <a:pt x="645" y="2340"/>
                </a:cubicBezTo>
                <a:cubicBezTo>
                  <a:pt x="647" y="2334"/>
                  <a:pt x="650" y="2329"/>
                  <a:pt x="655" y="2324"/>
                </a:cubicBezTo>
                <a:cubicBezTo>
                  <a:pt x="660" y="2319"/>
                  <a:pt x="665" y="2316"/>
                  <a:pt x="671" y="2314"/>
                </a:cubicBezTo>
                <a:cubicBezTo>
                  <a:pt x="676" y="2312"/>
                  <a:pt x="681" y="2311"/>
                  <a:pt x="686" y="2311"/>
                </a:cubicBezTo>
                <a:cubicBezTo>
                  <a:pt x="691" y="2312"/>
                  <a:pt x="696" y="2313"/>
                  <a:pt x="701" y="2316"/>
                </a:cubicBezTo>
                <a:cubicBezTo>
                  <a:pt x="705" y="2319"/>
                  <a:pt x="710" y="2322"/>
                  <a:pt x="714" y="2326"/>
                </a:cubicBezTo>
                <a:lnTo>
                  <a:pt x="716" y="2329"/>
                </a:lnTo>
                <a:close/>
                <a:moveTo>
                  <a:pt x="701" y="2337"/>
                </a:moveTo>
                <a:cubicBezTo>
                  <a:pt x="695" y="2331"/>
                  <a:pt x="689" y="2327"/>
                  <a:pt x="682" y="2326"/>
                </a:cubicBezTo>
                <a:cubicBezTo>
                  <a:pt x="676" y="2326"/>
                  <a:pt x="669" y="2328"/>
                  <a:pt x="664" y="2334"/>
                </a:cubicBezTo>
                <a:cubicBezTo>
                  <a:pt x="661" y="2337"/>
                  <a:pt x="659" y="2340"/>
                  <a:pt x="658" y="2343"/>
                </a:cubicBezTo>
                <a:cubicBezTo>
                  <a:pt x="657" y="2347"/>
                  <a:pt x="656" y="2350"/>
                  <a:pt x="657" y="2353"/>
                </a:cubicBezTo>
                <a:cubicBezTo>
                  <a:pt x="657" y="2357"/>
                  <a:pt x="658" y="2360"/>
                  <a:pt x="659" y="2363"/>
                </a:cubicBezTo>
                <a:cubicBezTo>
                  <a:pt x="661" y="2366"/>
                  <a:pt x="663" y="2369"/>
                  <a:pt x="666" y="2372"/>
                </a:cubicBezTo>
                <a:lnTo>
                  <a:pt x="701" y="2337"/>
                </a:lnTo>
                <a:close/>
                <a:moveTo>
                  <a:pt x="753" y="2241"/>
                </a:moveTo>
                <a:cubicBezTo>
                  <a:pt x="754" y="2242"/>
                  <a:pt x="755" y="2243"/>
                  <a:pt x="755" y="2244"/>
                </a:cubicBezTo>
                <a:cubicBezTo>
                  <a:pt x="756" y="2245"/>
                  <a:pt x="757" y="2246"/>
                  <a:pt x="757" y="2246"/>
                </a:cubicBezTo>
                <a:cubicBezTo>
                  <a:pt x="757" y="2247"/>
                  <a:pt x="757" y="2247"/>
                  <a:pt x="757" y="2248"/>
                </a:cubicBezTo>
                <a:cubicBezTo>
                  <a:pt x="757" y="2248"/>
                  <a:pt x="757" y="2248"/>
                  <a:pt x="757" y="2249"/>
                </a:cubicBezTo>
                <a:cubicBezTo>
                  <a:pt x="756" y="2249"/>
                  <a:pt x="756" y="2250"/>
                  <a:pt x="755" y="2250"/>
                </a:cubicBezTo>
                <a:cubicBezTo>
                  <a:pt x="754" y="2250"/>
                  <a:pt x="753" y="2251"/>
                  <a:pt x="752" y="2251"/>
                </a:cubicBezTo>
                <a:cubicBezTo>
                  <a:pt x="751" y="2252"/>
                  <a:pt x="751" y="2252"/>
                  <a:pt x="749" y="2253"/>
                </a:cubicBezTo>
                <a:cubicBezTo>
                  <a:pt x="748" y="2254"/>
                  <a:pt x="747" y="2254"/>
                  <a:pt x="746" y="2255"/>
                </a:cubicBezTo>
                <a:cubicBezTo>
                  <a:pt x="745" y="2257"/>
                  <a:pt x="744" y="2258"/>
                  <a:pt x="744" y="2260"/>
                </a:cubicBezTo>
                <a:cubicBezTo>
                  <a:pt x="743" y="2261"/>
                  <a:pt x="742" y="2263"/>
                  <a:pt x="742" y="2266"/>
                </a:cubicBezTo>
                <a:cubicBezTo>
                  <a:pt x="742" y="2268"/>
                  <a:pt x="742" y="2271"/>
                  <a:pt x="743" y="2274"/>
                </a:cubicBezTo>
                <a:cubicBezTo>
                  <a:pt x="743" y="2277"/>
                  <a:pt x="744" y="2281"/>
                  <a:pt x="745" y="2285"/>
                </a:cubicBezTo>
                <a:lnTo>
                  <a:pt x="787" y="2328"/>
                </a:lnTo>
                <a:cubicBezTo>
                  <a:pt x="788" y="2328"/>
                  <a:pt x="788" y="2329"/>
                  <a:pt x="788" y="2329"/>
                </a:cubicBezTo>
                <a:cubicBezTo>
                  <a:pt x="788" y="2329"/>
                  <a:pt x="788" y="2330"/>
                  <a:pt x="788" y="2331"/>
                </a:cubicBezTo>
                <a:cubicBezTo>
                  <a:pt x="787" y="2331"/>
                  <a:pt x="787" y="2332"/>
                  <a:pt x="786" y="2333"/>
                </a:cubicBezTo>
                <a:cubicBezTo>
                  <a:pt x="786" y="2334"/>
                  <a:pt x="785" y="2335"/>
                  <a:pt x="784" y="2336"/>
                </a:cubicBezTo>
                <a:cubicBezTo>
                  <a:pt x="782" y="2337"/>
                  <a:pt x="781" y="2338"/>
                  <a:pt x="781" y="2339"/>
                </a:cubicBezTo>
                <a:cubicBezTo>
                  <a:pt x="780" y="2339"/>
                  <a:pt x="779" y="2340"/>
                  <a:pt x="778" y="2340"/>
                </a:cubicBezTo>
                <a:cubicBezTo>
                  <a:pt x="778" y="2340"/>
                  <a:pt x="777" y="2340"/>
                  <a:pt x="777" y="2340"/>
                </a:cubicBezTo>
                <a:cubicBezTo>
                  <a:pt x="776" y="2340"/>
                  <a:pt x="776" y="2340"/>
                  <a:pt x="775" y="2340"/>
                </a:cubicBezTo>
                <a:lnTo>
                  <a:pt x="711" y="2275"/>
                </a:lnTo>
                <a:cubicBezTo>
                  <a:pt x="710" y="2275"/>
                  <a:pt x="710" y="2274"/>
                  <a:pt x="710" y="2274"/>
                </a:cubicBezTo>
                <a:cubicBezTo>
                  <a:pt x="710" y="2273"/>
                  <a:pt x="710" y="2273"/>
                  <a:pt x="710" y="2272"/>
                </a:cubicBezTo>
                <a:cubicBezTo>
                  <a:pt x="710" y="2272"/>
                  <a:pt x="711" y="2271"/>
                  <a:pt x="711" y="2270"/>
                </a:cubicBezTo>
                <a:cubicBezTo>
                  <a:pt x="712" y="2269"/>
                  <a:pt x="713" y="2268"/>
                  <a:pt x="714" y="2267"/>
                </a:cubicBezTo>
                <a:cubicBezTo>
                  <a:pt x="715" y="2266"/>
                  <a:pt x="716" y="2265"/>
                  <a:pt x="717" y="2265"/>
                </a:cubicBezTo>
                <a:cubicBezTo>
                  <a:pt x="717" y="2264"/>
                  <a:pt x="718" y="2264"/>
                  <a:pt x="719" y="2264"/>
                </a:cubicBezTo>
                <a:cubicBezTo>
                  <a:pt x="719" y="2263"/>
                  <a:pt x="720" y="2263"/>
                  <a:pt x="720" y="2264"/>
                </a:cubicBezTo>
                <a:cubicBezTo>
                  <a:pt x="721" y="2264"/>
                  <a:pt x="721" y="2264"/>
                  <a:pt x="722" y="2264"/>
                </a:cubicBezTo>
                <a:lnTo>
                  <a:pt x="731" y="2274"/>
                </a:lnTo>
                <a:cubicBezTo>
                  <a:pt x="730" y="2269"/>
                  <a:pt x="730" y="2266"/>
                  <a:pt x="730" y="2262"/>
                </a:cubicBezTo>
                <a:cubicBezTo>
                  <a:pt x="730" y="2259"/>
                  <a:pt x="730" y="2256"/>
                  <a:pt x="730" y="2254"/>
                </a:cubicBezTo>
                <a:cubicBezTo>
                  <a:pt x="731" y="2252"/>
                  <a:pt x="731" y="2250"/>
                  <a:pt x="732" y="2248"/>
                </a:cubicBezTo>
                <a:cubicBezTo>
                  <a:pt x="733" y="2246"/>
                  <a:pt x="735" y="2245"/>
                  <a:pt x="736" y="2243"/>
                </a:cubicBezTo>
                <a:cubicBezTo>
                  <a:pt x="737" y="2243"/>
                  <a:pt x="737" y="2242"/>
                  <a:pt x="738" y="2241"/>
                </a:cubicBezTo>
                <a:cubicBezTo>
                  <a:pt x="739" y="2241"/>
                  <a:pt x="740" y="2240"/>
                  <a:pt x="741" y="2239"/>
                </a:cubicBezTo>
                <a:cubicBezTo>
                  <a:pt x="742" y="2239"/>
                  <a:pt x="743" y="2238"/>
                  <a:pt x="744" y="2238"/>
                </a:cubicBezTo>
                <a:cubicBezTo>
                  <a:pt x="745" y="2237"/>
                  <a:pt x="746" y="2237"/>
                  <a:pt x="746" y="2237"/>
                </a:cubicBezTo>
                <a:cubicBezTo>
                  <a:pt x="747" y="2237"/>
                  <a:pt x="747" y="2237"/>
                  <a:pt x="747" y="2237"/>
                </a:cubicBezTo>
                <a:cubicBezTo>
                  <a:pt x="748" y="2237"/>
                  <a:pt x="748" y="2237"/>
                  <a:pt x="749" y="2238"/>
                </a:cubicBezTo>
                <a:cubicBezTo>
                  <a:pt x="749" y="2238"/>
                  <a:pt x="750" y="2238"/>
                  <a:pt x="750" y="2239"/>
                </a:cubicBezTo>
                <a:cubicBezTo>
                  <a:pt x="751" y="2239"/>
                  <a:pt x="752" y="2240"/>
                  <a:pt x="753" y="2241"/>
                </a:cubicBezTo>
                <a:close/>
                <a:moveTo>
                  <a:pt x="881" y="2234"/>
                </a:moveTo>
                <a:cubicBezTo>
                  <a:pt x="881" y="2235"/>
                  <a:pt x="882" y="2236"/>
                  <a:pt x="882" y="2236"/>
                </a:cubicBezTo>
                <a:cubicBezTo>
                  <a:pt x="881" y="2237"/>
                  <a:pt x="881" y="2238"/>
                  <a:pt x="881" y="2238"/>
                </a:cubicBezTo>
                <a:cubicBezTo>
                  <a:pt x="880" y="2239"/>
                  <a:pt x="879" y="2240"/>
                  <a:pt x="878" y="2242"/>
                </a:cubicBezTo>
                <a:cubicBezTo>
                  <a:pt x="877" y="2243"/>
                  <a:pt x="876" y="2244"/>
                  <a:pt x="875" y="2244"/>
                </a:cubicBezTo>
                <a:cubicBezTo>
                  <a:pt x="874" y="2245"/>
                  <a:pt x="873" y="2245"/>
                  <a:pt x="872" y="2245"/>
                </a:cubicBezTo>
                <a:cubicBezTo>
                  <a:pt x="872" y="2245"/>
                  <a:pt x="871" y="2245"/>
                  <a:pt x="871" y="2245"/>
                </a:cubicBezTo>
                <a:lnTo>
                  <a:pt x="864" y="2238"/>
                </a:lnTo>
                <a:cubicBezTo>
                  <a:pt x="864" y="2244"/>
                  <a:pt x="864" y="2249"/>
                  <a:pt x="862" y="2255"/>
                </a:cubicBezTo>
                <a:cubicBezTo>
                  <a:pt x="860" y="2260"/>
                  <a:pt x="857" y="2264"/>
                  <a:pt x="853" y="2268"/>
                </a:cubicBezTo>
                <a:cubicBezTo>
                  <a:pt x="850" y="2272"/>
                  <a:pt x="846" y="2274"/>
                  <a:pt x="843" y="2276"/>
                </a:cubicBezTo>
                <a:cubicBezTo>
                  <a:pt x="839" y="2278"/>
                  <a:pt x="835" y="2279"/>
                  <a:pt x="832" y="2279"/>
                </a:cubicBezTo>
                <a:cubicBezTo>
                  <a:pt x="828" y="2280"/>
                  <a:pt x="825" y="2279"/>
                  <a:pt x="821" y="2278"/>
                </a:cubicBezTo>
                <a:cubicBezTo>
                  <a:pt x="818" y="2276"/>
                  <a:pt x="814" y="2274"/>
                  <a:pt x="811" y="2271"/>
                </a:cubicBezTo>
                <a:cubicBezTo>
                  <a:pt x="807" y="2267"/>
                  <a:pt x="805" y="2263"/>
                  <a:pt x="804" y="2259"/>
                </a:cubicBezTo>
                <a:cubicBezTo>
                  <a:pt x="803" y="2255"/>
                  <a:pt x="803" y="2251"/>
                  <a:pt x="804" y="2246"/>
                </a:cubicBezTo>
                <a:cubicBezTo>
                  <a:pt x="805" y="2242"/>
                  <a:pt x="807" y="2237"/>
                  <a:pt x="810" y="2232"/>
                </a:cubicBezTo>
                <a:cubicBezTo>
                  <a:pt x="813" y="2227"/>
                  <a:pt x="817" y="2222"/>
                  <a:pt x="822" y="2217"/>
                </a:cubicBezTo>
                <a:lnTo>
                  <a:pt x="831" y="2208"/>
                </a:lnTo>
                <a:lnTo>
                  <a:pt x="826" y="2203"/>
                </a:lnTo>
                <a:cubicBezTo>
                  <a:pt x="823" y="2201"/>
                  <a:pt x="821" y="2199"/>
                  <a:pt x="819" y="2197"/>
                </a:cubicBezTo>
                <a:cubicBezTo>
                  <a:pt x="816" y="2196"/>
                  <a:pt x="814" y="2195"/>
                  <a:pt x="811" y="2195"/>
                </a:cubicBezTo>
                <a:cubicBezTo>
                  <a:pt x="809" y="2195"/>
                  <a:pt x="806" y="2196"/>
                  <a:pt x="804" y="2197"/>
                </a:cubicBezTo>
                <a:cubicBezTo>
                  <a:pt x="801" y="2198"/>
                  <a:pt x="799" y="2200"/>
                  <a:pt x="796" y="2203"/>
                </a:cubicBezTo>
                <a:cubicBezTo>
                  <a:pt x="793" y="2206"/>
                  <a:pt x="791" y="2209"/>
                  <a:pt x="789" y="2212"/>
                </a:cubicBezTo>
                <a:cubicBezTo>
                  <a:pt x="787" y="2215"/>
                  <a:pt x="786" y="2217"/>
                  <a:pt x="785" y="2220"/>
                </a:cubicBezTo>
                <a:cubicBezTo>
                  <a:pt x="784" y="2223"/>
                  <a:pt x="784" y="2225"/>
                  <a:pt x="783" y="2227"/>
                </a:cubicBezTo>
                <a:cubicBezTo>
                  <a:pt x="783" y="2229"/>
                  <a:pt x="782" y="2230"/>
                  <a:pt x="782" y="2230"/>
                </a:cubicBezTo>
                <a:cubicBezTo>
                  <a:pt x="781" y="2231"/>
                  <a:pt x="781" y="2231"/>
                  <a:pt x="780" y="2231"/>
                </a:cubicBezTo>
                <a:cubicBezTo>
                  <a:pt x="780" y="2231"/>
                  <a:pt x="779" y="2231"/>
                  <a:pt x="779" y="2231"/>
                </a:cubicBezTo>
                <a:cubicBezTo>
                  <a:pt x="778" y="2231"/>
                  <a:pt x="777" y="2230"/>
                  <a:pt x="777" y="2230"/>
                </a:cubicBezTo>
                <a:cubicBezTo>
                  <a:pt x="776" y="2229"/>
                  <a:pt x="775" y="2229"/>
                  <a:pt x="775" y="2228"/>
                </a:cubicBezTo>
                <a:cubicBezTo>
                  <a:pt x="773" y="2227"/>
                  <a:pt x="773" y="2226"/>
                  <a:pt x="772" y="2225"/>
                </a:cubicBezTo>
                <a:cubicBezTo>
                  <a:pt x="772" y="2224"/>
                  <a:pt x="771" y="2223"/>
                  <a:pt x="771" y="2222"/>
                </a:cubicBezTo>
                <a:cubicBezTo>
                  <a:pt x="771" y="2221"/>
                  <a:pt x="772" y="2219"/>
                  <a:pt x="772" y="2216"/>
                </a:cubicBezTo>
                <a:cubicBezTo>
                  <a:pt x="773" y="2214"/>
                  <a:pt x="774" y="2211"/>
                  <a:pt x="776" y="2209"/>
                </a:cubicBezTo>
                <a:cubicBezTo>
                  <a:pt x="777" y="2206"/>
                  <a:pt x="779" y="2203"/>
                  <a:pt x="781" y="2200"/>
                </a:cubicBezTo>
                <a:cubicBezTo>
                  <a:pt x="783" y="2197"/>
                  <a:pt x="785" y="2194"/>
                  <a:pt x="787" y="2192"/>
                </a:cubicBezTo>
                <a:cubicBezTo>
                  <a:pt x="792" y="2187"/>
                  <a:pt x="796" y="2184"/>
                  <a:pt x="801" y="2182"/>
                </a:cubicBezTo>
                <a:cubicBezTo>
                  <a:pt x="805" y="2179"/>
                  <a:pt x="809" y="2178"/>
                  <a:pt x="813" y="2178"/>
                </a:cubicBezTo>
                <a:cubicBezTo>
                  <a:pt x="817" y="2178"/>
                  <a:pt x="821" y="2180"/>
                  <a:pt x="825" y="2182"/>
                </a:cubicBezTo>
                <a:cubicBezTo>
                  <a:pt x="829" y="2184"/>
                  <a:pt x="833" y="2187"/>
                  <a:pt x="837" y="2191"/>
                </a:cubicBezTo>
                <a:lnTo>
                  <a:pt x="881" y="2234"/>
                </a:lnTo>
                <a:close/>
                <a:moveTo>
                  <a:pt x="839" y="2217"/>
                </a:moveTo>
                <a:lnTo>
                  <a:pt x="829" y="2227"/>
                </a:lnTo>
                <a:cubicBezTo>
                  <a:pt x="826" y="2230"/>
                  <a:pt x="824" y="2233"/>
                  <a:pt x="822" y="2236"/>
                </a:cubicBezTo>
                <a:cubicBezTo>
                  <a:pt x="820" y="2239"/>
                  <a:pt x="819" y="2242"/>
                  <a:pt x="818" y="2244"/>
                </a:cubicBezTo>
                <a:cubicBezTo>
                  <a:pt x="818" y="2247"/>
                  <a:pt x="818" y="2250"/>
                  <a:pt x="819" y="2252"/>
                </a:cubicBezTo>
                <a:cubicBezTo>
                  <a:pt x="819" y="2254"/>
                  <a:pt x="821" y="2256"/>
                  <a:pt x="823" y="2258"/>
                </a:cubicBezTo>
                <a:cubicBezTo>
                  <a:pt x="826" y="2262"/>
                  <a:pt x="830" y="2263"/>
                  <a:pt x="834" y="2263"/>
                </a:cubicBezTo>
                <a:cubicBezTo>
                  <a:pt x="838" y="2263"/>
                  <a:pt x="842" y="2261"/>
                  <a:pt x="846" y="2257"/>
                </a:cubicBezTo>
                <a:cubicBezTo>
                  <a:pt x="849" y="2254"/>
                  <a:pt x="851" y="2250"/>
                  <a:pt x="852" y="2246"/>
                </a:cubicBezTo>
                <a:cubicBezTo>
                  <a:pt x="853" y="2242"/>
                  <a:pt x="854" y="2237"/>
                  <a:pt x="853" y="2230"/>
                </a:cubicBezTo>
                <a:lnTo>
                  <a:pt x="839" y="2217"/>
                </a:lnTo>
                <a:close/>
                <a:moveTo>
                  <a:pt x="929" y="2177"/>
                </a:moveTo>
                <a:cubicBezTo>
                  <a:pt x="930" y="2178"/>
                  <a:pt x="931" y="2179"/>
                  <a:pt x="932" y="2180"/>
                </a:cubicBezTo>
                <a:cubicBezTo>
                  <a:pt x="932" y="2181"/>
                  <a:pt x="933" y="2182"/>
                  <a:pt x="933" y="2183"/>
                </a:cubicBezTo>
                <a:cubicBezTo>
                  <a:pt x="933" y="2184"/>
                  <a:pt x="933" y="2185"/>
                  <a:pt x="932" y="2186"/>
                </a:cubicBezTo>
                <a:cubicBezTo>
                  <a:pt x="932" y="2187"/>
                  <a:pt x="931" y="2188"/>
                  <a:pt x="930" y="2189"/>
                </a:cubicBezTo>
                <a:cubicBezTo>
                  <a:pt x="930" y="2190"/>
                  <a:pt x="929" y="2192"/>
                  <a:pt x="928" y="2193"/>
                </a:cubicBezTo>
                <a:cubicBezTo>
                  <a:pt x="927" y="2194"/>
                  <a:pt x="926" y="2195"/>
                  <a:pt x="925" y="2196"/>
                </a:cubicBezTo>
                <a:cubicBezTo>
                  <a:pt x="921" y="2200"/>
                  <a:pt x="918" y="2202"/>
                  <a:pt x="915" y="2204"/>
                </a:cubicBezTo>
                <a:cubicBezTo>
                  <a:pt x="911" y="2205"/>
                  <a:pt x="908" y="2206"/>
                  <a:pt x="905" y="2206"/>
                </a:cubicBezTo>
                <a:cubicBezTo>
                  <a:pt x="901" y="2205"/>
                  <a:pt x="898" y="2204"/>
                  <a:pt x="895" y="2202"/>
                </a:cubicBezTo>
                <a:cubicBezTo>
                  <a:pt x="891" y="2200"/>
                  <a:pt x="888" y="2197"/>
                  <a:pt x="884" y="2193"/>
                </a:cubicBezTo>
                <a:lnTo>
                  <a:pt x="846" y="2156"/>
                </a:lnTo>
                <a:lnTo>
                  <a:pt x="837" y="2165"/>
                </a:lnTo>
                <a:cubicBezTo>
                  <a:pt x="836" y="2165"/>
                  <a:pt x="835" y="2166"/>
                  <a:pt x="834" y="2165"/>
                </a:cubicBezTo>
                <a:cubicBezTo>
                  <a:pt x="833" y="2165"/>
                  <a:pt x="831" y="2164"/>
                  <a:pt x="830" y="2162"/>
                </a:cubicBezTo>
                <a:cubicBezTo>
                  <a:pt x="829" y="2161"/>
                  <a:pt x="828" y="2160"/>
                  <a:pt x="828" y="2160"/>
                </a:cubicBezTo>
                <a:cubicBezTo>
                  <a:pt x="827" y="2159"/>
                  <a:pt x="827" y="2158"/>
                  <a:pt x="827" y="2158"/>
                </a:cubicBezTo>
                <a:cubicBezTo>
                  <a:pt x="826" y="2157"/>
                  <a:pt x="826" y="2157"/>
                  <a:pt x="826" y="2156"/>
                </a:cubicBezTo>
                <a:cubicBezTo>
                  <a:pt x="827" y="2156"/>
                  <a:pt x="827" y="2155"/>
                  <a:pt x="827" y="2155"/>
                </a:cubicBezTo>
                <a:lnTo>
                  <a:pt x="836" y="2146"/>
                </a:lnTo>
                <a:lnTo>
                  <a:pt x="821" y="2130"/>
                </a:lnTo>
                <a:cubicBezTo>
                  <a:pt x="821" y="2130"/>
                  <a:pt x="820" y="2130"/>
                  <a:pt x="820" y="2129"/>
                </a:cubicBezTo>
                <a:cubicBezTo>
                  <a:pt x="820" y="2129"/>
                  <a:pt x="820" y="2128"/>
                  <a:pt x="820" y="2128"/>
                </a:cubicBezTo>
                <a:cubicBezTo>
                  <a:pt x="821" y="2127"/>
                  <a:pt x="821" y="2126"/>
                  <a:pt x="822" y="2125"/>
                </a:cubicBezTo>
                <a:cubicBezTo>
                  <a:pt x="822" y="2124"/>
                  <a:pt x="823" y="2123"/>
                  <a:pt x="824" y="2122"/>
                </a:cubicBezTo>
                <a:cubicBezTo>
                  <a:pt x="826" y="2121"/>
                  <a:pt x="827" y="2120"/>
                  <a:pt x="828" y="2119"/>
                </a:cubicBezTo>
                <a:cubicBezTo>
                  <a:pt x="828" y="2119"/>
                  <a:pt x="829" y="2118"/>
                  <a:pt x="830" y="2118"/>
                </a:cubicBezTo>
                <a:cubicBezTo>
                  <a:pt x="830" y="2118"/>
                  <a:pt x="831" y="2118"/>
                  <a:pt x="831" y="2118"/>
                </a:cubicBezTo>
                <a:cubicBezTo>
                  <a:pt x="832" y="2118"/>
                  <a:pt x="832" y="2118"/>
                  <a:pt x="833" y="2119"/>
                </a:cubicBezTo>
                <a:lnTo>
                  <a:pt x="848" y="2134"/>
                </a:lnTo>
                <a:lnTo>
                  <a:pt x="865" y="2117"/>
                </a:lnTo>
                <a:cubicBezTo>
                  <a:pt x="865" y="2117"/>
                  <a:pt x="865" y="2117"/>
                  <a:pt x="866" y="2117"/>
                </a:cubicBezTo>
                <a:cubicBezTo>
                  <a:pt x="866" y="2117"/>
                  <a:pt x="867" y="2117"/>
                  <a:pt x="868" y="2117"/>
                </a:cubicBezTo>
                <a:cubicBezTo>
                  <a:pt x="868" y="2117"/>
                  <a:pt x="869" y="2117"/>
                  <a:pt x="870" y="2118"/>
                </a:cubicBezTo>
                <a:cubicBezTo>
                  <a:pt x="870" y="2118"/>
                  <a:pt x="871" y="2119"/>
                  <a:pt x="872" y="2120"/>
                </a:cubicBezTo>
                <a:cubicBezTo>
                  <a:pt x="874" y="2122"/>
                  <a:pt x="875" y="2123"/>
                  <a:pt x="875" y="2124"/>
                </a:cubicBezTo>
                <a:cubicBezTo>
                  <a:pt x="875" y="2126"/>
                  <a:pt x="875" y="2127"/>
                  <a:pt x="874" y="2127"/>
                </a:cubicBezTo>
                <a:lnTo>
                  <a:pt x="858" y="2144"/>
                </a:lnTo>
                <a:lnTo>
                  <a:pt x="894" y="2180"/>
                </a:lnTo>
                <a:cubicBezTo>
                  <a:pt x="898" y="2184"/>
                  <a:pt x="902" y="2187"/>
                  <a:pt x="906" y="2188"/>
                </a:cubicBezTo>
                <a:cubicBezTo>
                  <a:pt x="910" y="2189"/>
                  <a:pt x="913" y="2188"/>
                  <a:pt x="916" y="2184"/>
                </a:cubicBezTo>
                <a:cubicBezTo>
                  <a:pt x="918" y="2183"/>
                  <a:pt x="918" y="2182"/>
                  <a:pt x="919" y="2181"/>
                </a:cubicBezTo>
                <a:cubicBezTo>
                  <a:pt x="920" y="2180"/>
                  <a:pt x="920" y="2179"/>
                  <a:pt x="921" y="2178"/>
                </a:cubicBezTo>
                <a:cubicBezTo>
                  <a:pt x="921" y="2177"/>
                  <a:pt x="922" y="2176"/>
                  <a:pt x="922" y="2176"/>
                </a:cubicBezTo>
                <a:cubicBezTo>
                  <a:pt x="922" y="2175"/>
                  <a:pt x="922" y="2174"/>
                  <a:pt x="923" y="2174"/>
                </a:cubicBezTo>
                <a:cubicBezTo>
                  <a:pt x="923" y="2174"/>
                  <a:pt x="923" y="2174"/>
                  <a:pt x="924" y="2174"/>
                </a:cubicBezTo>
                <a:cubicBezTo>
                  <a:pt x="924" y="2173"/>
                  <a:pt x="924" y="2174"/>
                  <a:pt x="925" y="2174"/>
                </a:cubicBezTo>
                <a:cubicBezTo>
                  <a:pt x="925" y="2174"/>
                  <a:pt x="926" y="2174"/>
                  <a:pt x="926" y="2175"/>
                </a:cubicBezTo>
                <a:cubicBezTo>
                  <a:pt x="927" y="2175"/>
                  <a:pt x="928" y="2176"/>
                  <a:pt x="929" y="2177"/>
                </a:cubicBezTo>
                <a:close/>
                <a:moveTo>
                  <a:pt x="957" y="2158"/>
                </a:moveTo>
                <a:cubicBezTo>
                  <a:pt x="957" y="2158"/>
                  <a:pt x="958" y="2159"/>
                  <a:pt x="958" y="2159"/>
                </a:cubicBezTo>
                <a:cubicBezTo>
                  <a:pt x="958" y="2160"/>
                  <a:pt x="958" y="2160"/>
                  <a:pt x="957" y="2161"/>
                </a:cubicBezTo>
                <a:cubicBezTo>
                  <a:pt x="957" y="2162"/>
                  <a:pt x="957" y="2162"/>
                  <a:pt x="956" y="2163"/>
                </a:cubicBezTo>
                <a:cubicBezTo>
                  <a:pt x="955" y="2164"/>
                  <a:pt x="954" y="2165"/>
                  <a:pt x="953" y="2166"/>
                </a:cubicBezTo>
                <a:cubicBezTo>
                  <a:pt x="952" y="2167"/>
                  <a:pt x="951" y="2168"/>
                  <a:pt x="950" y="2169"/>
                </a:cubicBezTo>
                <a:cubicBezTo>
                  <a:pt x="949" y="2170"/>
                  <a:pt x="949" y="2170"/>
                  <a:pt x="948" y="2170"/>
                </a:cubicBezTo>
                <a:cubicBezTo>
                  <a:pt x="947" y="2171"/>
                  <a:pt x="947" y="2171"/>
                  <a:pt x="946" y="2171"/>
                </a:cubicBezTo>
                <a:cubicBezTo>
                  <a:pt x="946" y="2171"/>
                  <a:pt x="946" y="2170"/>
                  <a:pt x="945" y="2170"/>
                </a:cubicBezTo>
                <a:lnTo>
                  <a:pt x="881" y="2105"/>
                </a:lnTo>
                <a:cubicBezTo>
                  <a:pt x="880" y="2105"/>
                  <a:pt x="880" y="2105"/>
                  <a:pt x="880" y="2104"/>
                </a:cubicBezTo>
                <a:cubicBezTo>
                  <a:pt x="880" y="2104"/>
                  <a:pt x="880" y="2103"/>
                  <a:pt x="880" y="2102"/>
                </a:cubicBezTo>
                <a:cubicBezTo>
                  <a:pt x="880" y="2102"/>
                  <a:pt x="881" y="2101"/>
                  <a:pt x="881" y="2100"/>
                </a:cubicBezTo>
                <a:cubicBezTo>
                  <a:pt x="882" y="2099"/>
                  <a:pt x="883" y="2098"/>
                  <a:pt x="884" y="2097"/>
                </a:cubicBezTo>
                <a:cubicBezTo>
                  <a:pt x="885" y="2096"/>
                  <a:pt x="886" y="2095"/>
                  <a:pt x="887" y="2094"/>
                </a:cubicBezTo>
                <a:cubicBezTo>
                  <a:pt x="888" y="2094"/>
                  <a:pt x="889" y="2093"/>
                  <a:pt x="890" y="2093"/>
                </a:cubicBezTo>
                <a:cubicBezTo>
                  <a:pt x="890" y="2093"/>
                  <a:pt x="891" y="2093"/>
                  <a:pt x="891" y="2093"/>
                </a:cubicBezTo>
                <a:cubicBezTo>
                  <a:pt x="892" y="2093"/>
                  <a:pt x="892" y="2093"/>
                  <a:pt x="892" y="2093"/>
                </a:cubicBezTo>
                <a:lnTo>
                  <a:pt x="957" y="2158"/>
                </a:lnTo>
                <a:close/>
                <a:moveTo>
                  <a:pt x="872" y="2070"/>
                </a:moveTo>
                <a:cubicBezTo>
                  <a:pt x="875" y="2073"/>
                  <a:pt x="876" y="2075"/>
                  <a:pt x="876" y="2077"/>
                </a:cubicBezTo>
                <a:cubicBezTo>
                  <a:pt x="876" y="2080"/>
                  <a:pt x="875" y="2082"/>
                  <a:pt x="872" y="2085"/>
                </a:cubicBezTo>
                <a:cubicBezTo>
                  <a:pt x="869" y="2088"/>
                  <a:pt x="867" y="2089"/>
                  <a:pt x="865" y="2089"/>
                </a:cubicBezTo>
                <a:cubicBezTo>
                  <a:pt x="863" y="2089"/>
                  <a:pt x="860" y="2088"/>
                  <a:pt x="857" y="2085"/>
                </a:cubicBezTo>
                <a:cubicBezTo>
                  <a:pt x="855" y="2082"/>
                  <a:pt x="853" y="2080"/>
                  <a:pt x="853" y="2078"/>
                </a:cubicBezTo>
                <a:cubicBezTo>
                  <a:pt x="853" y="2076"/>
                  <a:pt x="855" y="2073"/>
                  <a:pt x="858" y="2070"/>
                </a:cubicBezTo>
                <a:cubicBezTo>
                  <a:pt x="860" y="2068"/>
                  <a:pt x="863" y="2066"/>
                  <a:pt x="865" y="2066"/>
                </a:cubicBezTo>
                <a:cubicBezTo>
                  <a:pt x="867" y="2066"/>
                  <a:pt x="869" y="2067"/>
                  <a:pt x="872" y="2070"/>
                </a:cubicBezTo>
                <a:close/>
                <a:moveTo>
                  <a:pt x="1006" y="2043"/>
                </a:moveTo>
                <a:cubicBezTo>
                  <a:pt x="1011" y="2048"/>
                  <a:pt x="1016" y="2054"/>
                  <a:pt x="1019" y="2059"/>
                </a:cubicBezTo>
                <a:cubicBezTo>
                  <a:pt x="1022" y="2065"/>
                  <a:pt x="1023" y="2071"/>
                  <a:pt x="1024" y="2077"/>
                </a:cubicBezTo>
                <a:cubicBezTo>
                  <a:pt x="1024" y="2083"/>
                  <a:pt x="1023" y="2089"/>
                  <a:pt x="1021" y="2095"/>
                </a:cubicBezTo>
                <a:cubicBezTo>
                  <a:pt x="1019" y="2101"/>
                  <a:pt x="1015" y="2107"/>
                  <a:pt x="1009" y="2112"/>
                </a:cubicBezTo>
                <a:cubicBezTo>
                  <a:pt x="1004" y="2117"/>
                  <a:pt x="999" y="2121"/>
                  <a:pt x="993" y="2124"/>
                </a:cubicBezTo>
                <a:cubicBezTo>
                  <a:pt x="988" y="2126"/>
                  <a:pt x="982" y="2127"/>
                  <a:pt x="976" y="2127"/>
                </a:cubicBezTo>
                <a:cubicBezTo>
                  <a:pt x="971" y="2126"/>
                  <a:pt x="965" y="2124"/>
                  <a:pt x="959" y="2121"/>
                </a:cubicBezTo>
                <a:cubicBezTo>
                  <a:pt x="954" y="2118"/>
                  <a:pt x="948" y="2114"/>
                  <a:pt x="943" y="2109"/>
                </a:cubicBezTo>
                <a:cubicBezTo>
                  <a:pt x="938" y="2103"/>
                  <a:pt x="933" y="2098"/>
                  <a:pt x="930" y="2092"/>
                </a:cubicBezTo>
                <a:cubicBezTo>
                  <a:pt x="927" y="2086"/>
                  <a:pt x="926" y="2080"/>
                  <a:pt x="925" y="2075"/>
                </a:cubicBezTo>
                <a:cubicBezTo>
                  <a:pt x="925" y="2069"/>
                  <a:pt x="926" y="2063"/>
                  <a:pt x="928" y="2057"/>
                </a:cubicBezTo>
                <a:cubicBezTo>
                  <a:pt x="930" y="2051"/>
                  <a:pt x="934" y="2045"/>
                  <a:pt x="940" y="2040"/>
                </a:cubicBezTo>
                <a:cubicBezTo>
                  <a:pt x="945" y="2034"/>
                  <a:pt x="950" y="2030"/>
                  <a:pt x="956" y="2028"/>
                </a:cubicBezTo>
                <a:cubicBezTo>
                  <a:pt x="961" y="2026"/>
                  <a:pt x="967" y="2025"/>
                  <a:pt x="973" y="2025"/>
                </a:cubicBezTo>
                <a:cubicBezTo>
                  <a:pt x="978" y="2026"/>
                  <a:pt x="984" y="2027"/>
                  <a:pt x="990" y="2030"/>
                </a:cubicBezTo>
                <a:cubicBezTo>
                  <a:pt x="995" y="2033"/>
                  <a:pt x="1001" y="2037"/>
                  <a:pt x="1006" y="2043"/>
                </a:cubicBezTo>
                <a:close/>
                <a:moveTo>
                  <a:pt x="995" y="2056"/>
                </a:moveTo>
                <a:cubicBezTo>
                  <a:pt x="991" y="2052"/>
                  <a:pt x="988" y="2049"/>
                  <a:pt x="984" y="2047"/>
                </a:cubicBezTo>
                <a:cubicBezTo>
                  <a:pt x="980" y="2044"/>
                  <a:pt x="976" y="2043"/>
                  <a:pt x="972" y="2042"/>
                </a:cubicBezTo>
                <a:cubicBezTo>
                  <a:pt x="969" y="2041"/>
                  <a:pt x="965" y="2041"/>
                  <a:pt x="961" y="2042"/>
                </a:cubicBezTo>
                <a:cubicBezTo>
                  <a:pt x="957" y="2044"/>
                  <a:pt x="953" y="2046"/>
                  <a:pt x="949" y="2050"/>
                </a:cubicBezTo>
                <a:cubicBezTo>
                  <a:pt x="946" y="2054"/>
                  <a:pt x="943" y="2057"/>
                  <a:pt x="942" y="2061"/>
                </a:cubicBezTo>
                <a:cubicBezTo>
                  <a:pt x="941" y="2065"/>
                  <a:pt x="940" y="2069"/>
                  <a:pt x="941" y="2073"/>
                </a:cubicBezTo>
                <a:cubicBezTo>
                  <a:pt x="942" y="2076"/>
                  <a:pt x="943" y="2080"/>
                  <a:pt x="945" y="2084"/>
                </a:cubicBezTo>
                <a:cubicBezTo>
                  <a:pt x="948" y="2088"/>
                  <a:pt x="951" y="2092"/>
                  <a:pt x="954" y="2096"/>
                </a:cubicBezTo>
                <a:cubicBezTo>
                  <a:pt x="958" y="2099"/>
                  <a:pt x="962" y="2102"/>
                  <a:pt x="965" y="2105"/>
                </a:cubicBezTo>
                <a:cubicBezTo>
                  <a:pt x="969" y="2107"/>
                  <a:pt x="973" y="2109"/>
                  <a:pt x="977" y="2110"/>
                </a:cubicBezTo>
                <a:cubicBezTo>
                  <a:pt x="981" y="2110"/>
                  <a:pt x="984" y="2110"/>
                  <a:pt x="988" y="2109"/>
                </a:cubicBezTo>
                <a:cubicBezTo>
                  <a:pt x="992" y="2108"/>
                  <a:pt x="996" y="2105"/>
                  <a:pt x="1000" y="2101"/>
                </a:cubicBezTo>
                <a:cubicBezTo>
                  <a:pt x="1003" y="2098"/>
                  <a:pt x="1006" y="2094"/>
                  <a:pt x="1007" y="2091"/>
                </a:cubicBezTo>
                <a:cubicBezTo>
                  <a:pt x="1008" y="2087"/>
                  <a:pt x="1009" y="2083"/>
                  <a:pt x="1008" y="2079"/>
                </a:cubicBezTo>
                <a:cubicBezTo>
                  <a:pt x="1008" y="2075"/>
                  <a:pt x="1006" y="2071"/>
                  <a:pt x="1004" y="2067"/>
                </a:cubicBezTo>
                <a:cubicBezTo>
                  <a:pt x="1001" y="2063"/>
                  <a:pt x="998" y="2060"/>
                  <a:pt x="995" y="2056"/>
                </a:cubicBezTo>
                <a:close/>
                <a:moveTo>
                  <a:pt x="1114" y="2001"/>
                </a:moveTo>
                <a:cubicBezTo>
                  <a:pt x="1114" y="2001"/>
                  <a:pt x="1115" y="2002"/>
                  <a:pt x="1115" y="2002"/>
                </a:cubicBezTo>
                <a:cubicBezTo>
                  <a:pt x="1115" y="2003"/>
                  <a:pt x="1115" y="2003"/>
                  <a:pt x="1114" y="2004"/>
                </a:cubicBezTo>
                <a:cubicBezTo>
                  <a:pt x="1114" y="2005"/>
                  <a:pt x="1114" y="2005"/>
                  <a:pt x="1113" y="2006"/>
                </a:cubicBezTo>
                <a:cubicBezTo>
                  <a:pt x="1112" y="2007"/>
                  <a:pt x="1111" y="2008"/>
                  <a:pt x="1110" y="2009"/>
                </a:cubicBezTo>
                <a:cubicBezTo>
                  <a:pt x="1109" y="2010"/>
                  <a:pt x="1108" y="2011"/>
                  <a:pt x="1107" y="2012"/>
                </a:cubicBezTo>
                <a:cubicBezTo>
                  <a:pt x="1106" y="2013"/>
                  <a:pt x="1106" y="2013"/>
                  <a:pt x="1105" y="2013"/>
                </a:cubicBezTo>
                <a:cubicBezTo>
                  <a:pt x="1104" y="2014"/>
                  <a:pt x="1104" y="2014"/>
                  <a:pt x="1103" y="2014"/>
                </a:cubicBezTo>
                <a:cubicBezTo>
                  <a:pt x="1103" y="2014"/>
                  <a:pt x="1102" y="2013"/>
                  <a:pt x="1102" y="2013"/>
                </a:cubicBezTo>
                <a:lnTo>
                  <a:pt x="1064" y="1975"/>
                </a:lnTo>
                <a:cubicBezTo>
                  <a:pt x="1061" y="1971"/>
                  <a:pt x="1057" y="1969"/>
                  <a:pt x="1054" y="1967"/>
                </a:cubicBezTo>
                <a:cubicBezTo>
                  <a:pt x="1052" y="1965"/>
                  <a:pt x="1049" y="1964"/>
                  <a:pt x="1046" y="1964"/>
                </a:cubicBezTo>
                <a:cubicBezTo>
                  <a:pt x="1043" y="1963"/>
                  <a:pt x="1041" y="1963"/>
                  <a:pt x="1038" y="1964"/>
                </a:cubicBezTo>
                <a:cubicBezTo>
                  <a:pt x="1036" y="1965"/>
                  <a:pt x="1033" y="1967"/>
                  <a:pt x="1031" y="1969"/>
                </a:cubicBezTo>
                <a:cubicBezTo>
                  <a:pt x="1028" y="1972"/>
                  <a:pt x="1026" y="1976"/>
                  <a:pt x="1025" y="1981"/>
                </a:cubicBezTo>
                <a:cubicBezTo>
                  <a:pt x="1024" y="1986"/>
                  <a:pt x="1024" y="1992"/>
                  <a:pt x="1025" y="2000"/>
                </a:cubicBezTo>
                <a:lnTo>
                  <a:pt x="1070" y="2045"/>
                </a:lnTo>
                <a:cubicBezTo>
                  <a:pt x="1071" y="2045"/>
                  <a:pt x="1071" y="2046"/>
                  <a:pt x="1071" y="2046"/>
                </a:cubicBezTo>
                <a:cubicBezTo>
                  <a:pt x="1071" y="2047"/>
                  <a:pt x="1071" y="2047"/>
                  <a:pt x="1071" y="2048"/>
                </a:cubicBezTo>
                <a:cubicBezTo>
                  <a:pt x="1070" y="2048"/>
                  <a:pt x="1070" y="2049"/>
                  <a:pt x="1069" y="2050"/>
                </a:cubicBezTo>
                <a:cubicBezTo>
                  <a:pt x="1069" y="2051"/>
                  <a:pt x="1068" y="2052"/>
                  <a:pt x="1066" y="2053"/>
                </a:cubicBezTo>
                <a:cubicBezTo>
                  <a:pt x="1065" y="2054"/>
                  <a:pt x="1064" y="2055"/>
                  <a:pt x="1063" y="2056"/>
                </a:cubicBezTo>
                <a:cubicBezTo>
                  <a:pt x="1063" y="2056"/>
                  <a:pt x="1062" y="2057"/>
                  <a:pt x="1061" y="2057"/>
                </a:cubicBezTo>
                <a:cubicBezTo>
                  <a:pt x="1060" y="2057"/>
                  <a:pt x="1060" y="2058"/>
                  <a:pt x="1060" y="2057"/>
                </a:cubicBezTo>
                <a:cubicBezTo>
                  <a:pt x="1059" y="2057"/>
                  <a:pt x="1059" y="2057"/>
                  <a:pt x="1058" y="2057"/>
                </a:cubicBezTo>
                <a:lnTo>
                  <a:pt x="994" y="1992"/>
                </a:lnTo>
                <a:cubicBezTo>
                  <a:pt x="993" y="1992"/>
                  <a:pt x="993" y="1991"/>
                  <a:pt x="993" y="1991"/>
                </a:cubicBezTo>
                <a:cubicBezTo>
                  <a:pt x="993" y="1991"/>
                  <a:pt x="993" y="1990"/>
                  <a:pt x="993" y="1989"/>
                </a:cubicBezTo>
                <a:cubicBezTo>
                  <a:pt x="993" y="1989"/>
                  <a:pt x="994" y="1988"/>
                  <a:pt x="994" y="1987"/>
                </a:cubicBezTo>
                <a:cubicBezTo>
                  <a:pt x="995" y="1987"/>
                  <a:pt x="996" y="1986"/>
                  <a:pt x="997" y="1984"/>
                </a:cubicBezTo>
                <a:cubicBezTo>
                  <a:pt x="998" y="1983"/>
                  <a:pt x="999" y="1983"/>
                  <a:pt x="1000" y="1982"/>
                </a:cubicBezTo>
                <a:cubicBezTo>
                  <a:pt x="1000" y="1981"/>
                  <a:pt x="1001" y="1981"/>
                  <a:pt x="1002" y="1981"/>
                </a:cubicBezTo>
                <a:cubicBezTo>
                  <a:pt x="1002" y="1981"/>
                  <a:pt x="1003" y="1981"/>
                  <a:pt x="1003" y="1981"/>
                </a:cubicBezTo>
                <a:cubicBezTo>
                  <a:pt x="1004" y="1981"/>
                  <a:pt x="1004" y="1981"/>
                  <a:pt x="1004" y="1981"/>
                </a:cubicBezTo>
                <a:lnTo>
                  <a:pt x="1013" y="1990"/>
                </a:lnTo>
                <a:cubicBezTo>
                  <a:pt x="1012" y="1982"/>
                  <a:pt x="1013" y="1976"/>
                  <a:pt x="1015" y="1970"/>
                </a:cubicBezTo>
                <a:cubicBezTo>
                  <a:pt x="1017" y="1965"/>
                  <a:pt x="1019" y="1960"/>
                  <a:pt x="1023" y="1956"/>
                </a:cubicBezTo>
                <a:cubicBezTo>
                  <a:pt x="1027" y="1952"/>
                  <a:pt x="1032" y="1949"/>
                  <a:pt x="1036" y="1948"/>
                </a:cubicBezTo>
                <a:cubicBezTo>
                  <a:pt x="1040" y="1946"/>
                  <a:pt x="1045" y="1946"/>
                  <a:pt x="1049" y="1946"/>
                </a:cubicBezTo>
                <a:cubicBezTo>
                  <a:pt x="1053" y="1947"/>
                  <a:pt x="1057" y="1949"/>
                  <a:pt x="1062" y="1951"/>
                </a:cubicBezTo>
                <a:cubicBezTo>
                  <a:pt x="1066" y="1954"/>
                  <a:pt x="1070" y="1957"/>
                  <a:pt x="1075" y="1962"/>
                </a:cubicBezTo>
                <a:lnTo>
                  <a:pt x="1114" y="2001"/>
                </a:lnTo>
                <a:close/>
                <a:moveTo>
                  <a:pt x="1164" y="1794"/>
                </a:moveTo>
                <a:cubicBezTo>
                  <a:pt x="1165" y="1795"/>
                  <a:pt x="1166" y="1796"/>
                  <a:pt x="1166" y="1796"/>
                </a:cubicBezTo>
                <a:cubicBezTo>
                  <a:pt x="1167" y="1797"/>
                  <a:pt x="1167" y="1798"/>
                  <a:pt x="1168" y="1799"/>
                </a:cubicBezTo>
                <a:cubicBezTo>
                  <a:pt x="1168" y="1799"/>
                  <a:pt x="1168" y="1800"/>
                  <a:pt x="1168" y="1800"/>
                </a:cubicBezTo>
                <a:cubicBezTo>
                  <a:pt x="1168" y="1801"/>
                  <a:pt x="1168" y="1801"/>
                  <a:pt x="1167" y="1802"/>
                </a:cubicBezTo>
                <a:cubicBezTo>
                  <a:pt x="1167" y="1802"/>
                  <a:pt x="1165" y="1803"/>
                  <a:pt x="1163" y="1803"/>
                </a:cubicBezTo>
                <a:cubicBezTo>
                  <a:pt x="1161" y="1803"/>
                  <a:pt x="1158" y="1804"/>
                  <a:pt x="1155" y="1805"/>
                </a:cubicBezTo>
                <a:cubicBezTo>
                  <a:pt x="1151" y="1807"/>
                  <a:pt x="1148" y="1808"/>
                  <a:pt x="1144" y="1810"/>
                </a:cubicBezTo>
                <a:cubicBezTo>
                  <a:pt x="1139" y="1813"/>
                  <a:pt x="1135" y="1816"/>
                  <a:pt x="1131" y="1820"/>
                </a:cubicBezTo>
                <a:cubicBezTo>
                  <a:pt x="1126" y="1825"/>
                  <a:pt x="1122" y="1831"/>
                  <a:pt x="1120" y="1837"/>
                </a:cubicBezTo>
                <a:cubicBezTo>
                  <a:pt x="1118" y="1843"/>
                  <a:pt x="1117" y="1849"/>
                  <a:pt x="1117" y="1855"/>
                </a:cubicBezTo>
                <a:cubicBezTo>
                  <a:pt x="1118" y="1861"/>
                  <a:pt x="1120" y="1867"/>
                  <a:pt x="1123" y="1873"/>
                </a:cubicBezTo>
                <a:cubicBezTo>
                  <a:pt x="1126" y="1879"/>
                  <a:pt x="1130" y="1885"/>
                  <a:pt x="1135" y="1890"/>
                </a:cubicBezTo>
                <a:cubicBezTo>
                  <a:pt x="1141" y="1896"/>
                  <a:pt x="1147" y="1901"/>
                  <a:pt x="1154" y="1904"/>
                </a:cubicBezTo>
                <a:cubicBezTo>
                  <a:pt x="1160" y="1907"/>
                  <a:pt x="1166" y="1908"/>
                  <a:pt x="1172" y="1908"/>
                </a:cubicBezTo>
                <a:cubicBezTo>
                  <a:pt x="1178" y="1909"/>
                  <a:pt x="1184" y="1908"/>
                  <a:pt x="1190" y="1905"/>
                </a:cubicBezTo>
                <a:cubicBezTo>
                  <a:pt x="1195" y="1903"/>
                  <a:pt x="1201" y="1899"/>
                  <a:pt x="1205" y="1894"/>
                </a:cubicBezTo>
                <a:cubicBezTo>
                  <a:pt x="1208" y="1891"/>
                  <a:pt x="1211" y="1888"/>
                  <a:pt x="1213" y="1885"/>
                </a:cubicBezTo>
                <a:cubicBezTo>
                  <a:pt x="1215" y="1881"/>
                  <a:pt x="1217" y="1877"/>
                  <a:pt x="1218" y="1873"/>
                </a:cubicBezTo>
                <a:lnTo>
                  <a:pt x="1191" y="1846"/>
                </a:lnTo>
                <a:lnTo>
                  <a:pt x="1170" y="1868"/>
                </a:lnTo>
                <a:cubicBezTo>
                  <a:pt x="1169" y="1868"/>
                  <a:pt x="1168" y="1869"/>
                  <a:pt x="1167" y="1868"/>
                </a:cubicBezTo>
                <a:cubicBezTo>
                  <a:pt x="1165" y="1868"/>
                  <a:pt x="1164" y="1867"/>
                  <a:pt x="1162" y="1865"/>
                </a:cubicBezTo>
                <a:cubicBezTo>
                  <a:pt x="1161" y="1864"/>
                  <a:pt x="1160" y="1863"/>
                  <a:pt x="1160" y="1863"/>
                </a:cubicBezTo>
                <a:cubicBezTo>
                  <a:pt x="1159" y="1862"/>
                  <a:pt x="1159" y="1861"/>
                  <a:pt x="1159" y="1861"/>
                </a:cubicBezTo>
                <a:cubicBezTo>
                  <a:pt x="1159" y="1860"/>
                  <a:pt x="1159" y="1859"/>
                  <a:pt x="1159" y="1859"/>
                </a:cubicBezTo>
                <a:cubicBezTo>
                  <a:pt x="1159" y="1858"/>
                  <a:pt x="1159" y="1858"/>
                  <a:pt x="1159" y="1857"/>
                </a:cubicBezTo>
                <a:lnTo>
                  <a:pt x="1189" y="1828"/>
                </a:lnTo>
                <a:cubicBezTo>
                  <a:pt x="1189" y="1827"/>
                  <a:pt x="1190" y="1827"/>
                  <a:pt x="1191" y="1827"/>
                </a:cubicBezTo>
                <a:cubicBezTo>
                  <a:pt x="1192" y="1826"/>
                  <a:pt x="1192" y="1826"/>
                  <a:pt x="1193" y="1826"/>
                </a:cubicBezTo>
                <a:cubicBezTo>
                  <a:pt x="1194" y="1826"/>
                  <a:pt x="1195" y="1826"/>
                  <a:pt x="1196" y="1827"/>
                </a:cubicBezTo>
                <a:cubicBezTo>
                  <a:pt x="1197" y="1827"/>
                  <a:pt x="1198" y="1828"/>
                  <a:pt x="1198" y="1829"/>
                </a:cubicBezTo>
                <a:lnTo>
                  <a:pt x="1234" y="1864"/>
                </a:lnTo>
                <a:cubicBezTo>
                  <a:pt x="1235" y="1865"/>
                  <a:pt x="1236" y="1867"/>
                  <a:pt x="1236" y="1868"/>
                </a:cubicBezTo>
                <a:cubicBezTo>
                  <a:pt x="1237" y="1869"/>
                  <a:pt x="1237" y="1871"/>
                  <a:pt x="1236" y="1873"/>
                </a:cubicBezTo>
                <a:cubicBezTo>
                  <a:pt x="1235" y="1875"/>
                  <a:pt x="1234" y="1878"/>
                  <a:pt x="1233" y="1881"/>
                </a:cubicBezTo>
                <a:cubicBezTo>
                  <a:pt x="1232" y="1884"/>
                  <a:pt x="1230" y="1887"/>
                  <a:pt x="1228" y="1890"/>
                </a:cubicBezTo>
                <a:cubicBezTo>
                  <a:pt x="1226" y="1893"/>
                  <a:pt x="1224" y="1895"/>
                  <a:pt x="1222" y="1898"/>
                </a:cubicBezTo>
                <a:cubicBezTo>
                  <a:pt x="1220" y="1901"/>
                  <a:pt x="1218" y="1903"/>
                  <a:pt x="1216" y="1906"/>
                </a:cubicBezTo>
                <a:cubicBezTo>
                  <a:pt x="1208" y="1913"/>
                  <a:pt x="1201" y="1918"/>
                  <a:pt x="1193" y="1921"/>
                </a:cubicBezTo>
                <a:cubicBezTo>
                  <a:pt x="1185" y="1925"/>
                  <a:pt x="1177" y="1926"/>
                  <a:pt x="1169" y="1926"/>
                </a:cubicBezTo>
                <a:cubicBezTo>
                  <a:pt x="1161" y="1926"/>
                  <a:pt x="1153" y="1924"/>
                  <a:pt x="1146" y="1920"/>
                </a:cubicBezTo>
                <a:cubicBezTo>
                  <a:pt x="1138" y="1917"/>
                  <a:pt x="1130" y="1911"/>
                  <a:pt x="1123" y="1904"/>
                </a:cubicBezTo>
                <a:cubicBezTo>
                  <a:pt x="1116" y="1897"/>
                  <a:pt x="1110" y="1889"/>
                  <a:pt x="1106" y="1881"/>
                </a:cubicBezTo>
                <a:cubicBezTo>
                  <a:pt x="1103" y="1873"/>
                  <a:pt x="1101" y="1864"/>
                  <a:pt x="1101" y="1856"/>
                </a:cubicBezTo>
                <a:cubicBezTo>
                  <a:pt x="1100" y="1848"/>
                  <a:pt x="1102" y="1840"/>
                  <a:pt x="1105" y="1832"/>
                </a:cubicBezTo>
                <a:cubicBezTo>
                  <a:pt x="1109" y="1824"/>
                  <a:pt x="1114" y="1816"/>
                  <a:pt x="1121" y="1809"/>
                </a:cubicBezTo>
                <a:cubicBezTo>
                  <a:pt x="1124" y="1806"/>
                  <a:pt x="1128" y="1803"/>
                  <a:pt x="1132" y="1800"/>
                </a:cubicBezTo>
                <a:cubicBezTo>
                  <a:pt x="1135" y="1798"/>
                  <a:pt x="1139" y="1796"/>
                  <a:pt x="1142" y="1794"/>
                </a:cubicBezTo>
                <a:cubicBezTo>
                  <a:pt x="1145" y="1793"/>
                  <a:pt x="1148" y="1792"/>
                  <a:pt x="1151" y="1791"/>
                </a:cubicBezTo>
                <a:cubicBezTo>
                  <a:pt x="1154" y="1790"/>
                  <a:pt x="1156" y="1790"/>
                  <a:pt x="1157" y="1790"/>
                </a:cubicBezTo>
                <a:cubicBezTo>
                  <a:pt x="1158" y="1790"/>
                  <a:pt x="1159" y="1790"/>
                  <a:pt x="1160" y="1791"/>
                </a:cubicBezTo>
                <a:cubicBezTo>
                  <a:pt x="1161" y="1791"/>
                  <a:pt x="1163" y="1792"/>
                  <a:pt x="1164" y="1794"/>
                </a:cubicBezTo>
                <a:close/>
                <a:moveTo>
                  <a:pt x="1239" y="1755"/>
                </a:moveTo>
                <a:cubicBezTo>
                  <a:pt x="1240" y="1756"/>
                  <a:pt x="1241" y="1757"/>
                  <a:pt x="1242" y="1758"/>
                </a:cubicBezTo>
                <a:cubicBezTo>
                  <a:pt x="1243" y="1758"/>
                  <a:pt x="1243" y="1759"/>
                  <a:pt x="1243" y="1760"/>
                </a:cubicBezTo>
                <a:cubicBezTo>
                  <a:pt x="1244" y="1760"/>
                  <a:pt x="1244" y="1761"/>
                  <a:pt x="1244" y="1761"/>
                </a:cubicBezTo>
                <a:cubicBezTo>
                  <a:pt x="1244" y="1762"/>
                  <a:pt x="1244" y="1762"/>
                  <a:pt x="1243" y="1762"/>
                </a:cubicBezTo>
                <a:cubicBezTo>
                  <a:pt x="1243" y="1763"/>
                  <a:pt x="1242" y="1763"/>
                  <a:pt x="1241" y="1763"/>
                </a:cubicBezTo>
                <a:cubicBezTo>
                  <a:pt x="1241" y="1764"/>
                  <a:pt x="1240" y="1764"/>
                  <a:pt x="1239" y="1765"/>
                </a:cubicBezTo>
                <a:cubicBezTo>
                  <a:pt x="1238" y="1765"/>
                  <a:pt x="1237" y="1766"/>
                  <a:pt x="1236" y="1766"/>
                </a:cubicBezTo>
                <a:cubicBezTo>
                  <a:pt x="1235" y="1767"/>
                  <a:pt x="1234" y="1768"/>
                  <a:pt x="1233" y="1769"/>
                </a:cubicBezTo>
                <a:cubicBezTo>
                  <a:pt x="1232" y="1770"/>
                  <a:pt x="1231" y="1771"/>
                  <a:pt x="1230" y="1773"/>
                </a:cubicBezTo>
                <a:cubicBezTo>
                  <a:pt x="1229" y="1775"/>
                  <a:pt x="1229" y="1777"/>
                  <a:pt x="1229" y="1779"/>
                </a:cubicBezTo>
                <a:cubicBezTo>
                  <a:pt x="1229" y="1781"/>
                  <a:pt x="1229" y="1784"/>
                  <a:pt x="1229" y="1787"/>
                </a:cubicBezTo>
                <a:cubicBezTo>
                  <a:pt x="1230" y="1791"/>
                  <a:pt x="1230" y="1794"/>
                  <a:pt x="1231" y="1799"/>
                </a:cubicBezTo>
                <a:lnTo>
                  <a:pt x="1274" y="1841"/>
                </a:lnTo>
                <a:cubicBezTo>
                  <a:pt x="1274" y="1842"/>
                  <a:pt x="1274" y="1842"/>
                  <a:pt x="1274" y="1843"/>
                </a:cubicBezTo>
                <a:cubicBezTo>
                  <a:pt x="1275" y="1843"/>
                  <a:pt x="1274" y="1843"/>
                  <a:pt x="1274" y="1844"/>
                </a:cubicBezTo>
                <a:cubicBezTo>
                  <a:pt x="1274" y="1845"/>
                  <a:pt x="1274" y="1845"/>
                  <a:pt x="1273" y="1846"/>
                </a:cubicBezTo>
                <a:cubicBezTo>
                  <a:pt x="1272" y="1847"/>
                  <a:pt x="1271" y="1848"/>
                  <a:pt x="1270" y="1849"/>
                </a:cubicBezTo>
                <a:cubicBezTo>
                  <a:pt x="1269" y="1851"/>
                  <a:pt x="1268" y="1851"/>
                  <a:pt x="1267" y="1852"/>
                </a:cubicBezTo>
                <a:cubicBezTo>
                  <a:pt x="1266" y="1853"/>
                  <a:pt x="1265" y="1853"/>
                  <a:pt x="1265" y="1854"/>
                </a:cubicBezTo>
                <a:cubicBezTo>
                  <a:pt x="1264" y="1854"/>
                  <a:pt x="1264" y="1854"/>
                  <a:pt x="1263" y="1854"/>
                </a:cubicBezTo>
                <a:cubicBezTo>
                  <a:pt x="1263" y="1854"/>
                  <a:pt x="1262" y="1853"/>
                  <a:pt x="1262" y="1853"/>
                </a:cubicBezTo>
                <a:lnTo>
                  <a:pt x="1197" y="1788"/>
                </a:lnTo>
                <a:cubicBezTo>
                  <a:pt x="1197" y="1788"/>
                  <a:pt x="1197" y="1788"/>
                  <a:pt x="1197" y="1787"/>
                </a:cubicBezTo>
                <a:cubicBezTo>
                  <a:pt x="1196" y="1787"/>
                  <a:pt x="1196" y="1786"/>
                  <a:pt x="1197" y="1786"/>
                </a:cubicBezTo>
                <a:cubicBezTo>
                  <a:pt x="1197" y="1785"/>
                  <a:pt x="1197" y="1784"/>
                  <a:pt x="1198" y="1784"/>
                </a:cubicBezTo>
                <a:cubicBezTo>
                  <a:pt x="1199" y="1783"/>
                  <a:pt x="1199" y="1782"/>
                  <a:pt x="1200" y="1781"/>
                </a:cubicBezTo>
                <a:cubicBezTo>
                  <a:pt x="1202" y="1780"/>
                  <a:pt x="1202" y="1779"/>
                  <a:pt x="1203" y="1778"/>
                </a:cubicBezTo>
                <a:cubicBezTo>
                  <a:pt x="1204" y="1778"/>
                  <a:pt x="1205" y="1777"/>
                  <a:pt x="1205" y="1777"/>
                </a:cubicBezTo>
                <a:cubicBezTo>
                  <a:pt x="1206" y="1777"/>
                  <a:pt x="1206" y="1777"/>
                  <a:pt x="1207" y="1777"/>
                </a:cubicBezTo>
                <a:cubicBezTo>
                  <a:pt x="1207" y="1777"/>
                  <a:pt x="1208" y="1777"/>
                  <a:pt x="1208" y="1778"/>
                </a:cubicBezTo>
                <a:lnTo>
                  <a:pt x="1217" y="1787"/>
                </a:lnTo>
                <a:cubicBezTo>
                  <a:pt x="1217" y="1783"/>
                  <a:pt x="1216" y="1779"/>
                  <a:pt x="1216" y="1776"/>
                </a:cubicBezTo>
                <a:cubicBezTo>
                  <a:pt x="1216" y="1773"/>
                  <a:pt x="1216" y="1770"/>
                  <a:pt x="1217" y="1768"/>
                </a:cubicBezTo>
                <a:cubicBezTo>
                  <a:pt x="1217" y="1765"/>
                  <a:pt x="1218" y="1763"/>
                  <a:pt x="1219" y="1762"/>
                </a:cubicBezTo>
                <a:cubicBezTo>
                  <a:pt x="1220" y="1760"/>
                  <a:pt x="1221" y="1758"/>
                  <a:pt x="1222" y="1757"/>
                </a:cubicBezTo>
                <a:cubicBezTo>
                  <a:pt x="1223" y="1756"/>
                  <a:pt x="1224" y="1756"/>
                  <a:pt x="1225" y="1755"/>
                </a:cubicBezTo>
                <a:cubicBezTo>
                  <a:pt x="1226" y="1754"/>
                  <a:pt x="1226" y="1753"/>
                  <a:pt x="1228" y="1753"/>
                </a:cubicBezTo>
                <a:cubicBezTo>
                  <a:pt x="1229" y="1752"/>
                  <a:pt x="1230" y="1752"/>
                  <a:pt x="1231" y="1751"/>
                </a:cubicBezTo>
                <a:cubicBezTo>
                  <a:pt x="1231" y="1751"/>
                  <a:pt x="1232" y="1750"/>
                  <a:pt x="1233" y="1750"/>
                </a:cubicBezTo>
                <a:cubicBezTo>
                  <a:pt x="1233" y="1750"/>
                  <a:pt x="1234" y="1750"/>
                  <a:pt x="1234" y="1750"/>
                </a:cubicBezTo>
                <a:cubicBezTo>
                  <a:pt x="1234" y="1751"/>
                  <a:pt x="1235" y="1751"/>
                  <a:pt x="1235" y="1751"/>
                </a:cubicBezTo>
                <a:cubicBezTo>
                  <a:pt x="1235" y="1751"/>
                  <a:pt x="1236" y="1752"/>
                  <a:pt x="1237" y="1752"/>
                </a:cubicBezTo>
                <a:cubicBezTo>
                  <a:pt x="1237" y="1753"/>
                  <a:pt x="1238" y="1754"/>
                  <a:pt x="1239" y="1755"/>
                </a:cubicBezTo>
                <a:close/>
                <a:moveTo>
                  <a:pt x="1330" y="1785"/>
                </a:moveTo>
                <a:cubicBezTo>
                  <a:pt x="1331" y="1785"/>
                  <a:pt x="1331" y="1785"/>
                  <a:pt x="1331" y="1786"/>
                </a:cubicBezTo>
                <a:cubicBezTo>
                  <a:pt x="1331" y="1786"/>
                  <a:pt x="1331" y="1787"/>
                  <a:pt x="1331" y="1788"/>
                </a:cubicBezTo>
                <a:cubicBezTo>
                  <a:pt x="1331" y="1788"/>
                  <a:pt x="1330" y="1789"/>
                  <a:pt x="1329" y="1790"/>
                </a:cubicBezTo>
                <a:cubicBezTo>
                  <a:pt x="1329" y="1791"/>
                  <a:pt x="1328" y="1792"/>
                  <a:pt x="1327" y="1793"/>
                </a:cubicBezTo>
                <a:cubicBezTo>
                  <a:pt x="1325" y="1794"/>
                  <a:pt x="1324" y="1795"/>
                  <a:pt x="1324" y="1796"/>
                </a:cubicBezTo>
                <a:cubicBezTo>
                  <a:pt x="1323" y="1796"/>
                  <a:pt x="1322" y="1797"/>
                  <a:pt x="1321" y="1797"/>
                </a:cubicBezTo>
                <a:cubicBezTo>
                  <a:pt x="1321" y="1797"/>
                  <a:pt x="1320" y="1797"/>
                  <a:pt x="1320" y="1797"/>
                </a:cubicBezTo>
                <a:cubicBezTo>
                  <a:pt x="1319" y="1797"/>
                  <a:pt x="1319" y="1797"/>
                  <a:pt x="1319" y="1797"/>
                </a:cubicBezTo>
                <a:lnTo>
                  <a:pt x="1254" y="1732"/>
                </a:lnTo>
                <a:cubicBezTo>
                  <a:pt x="1254" y="1732"/>
                  <a:pt x="1253" y="1731"/>
                  <a:pt x="1253" y="1731"/>
                </a:cubicBezTo>
                <a:cubicBezTo>
                  <a:pt x="1253" y="1730"/>
                  <a:pt x="1253" y="1730"/>
                  <a:pt x="1253" y="1729"/>
                </a:cubicBezTo>
                <a:cubicBezTo>
                  <a:pt x="1254" y="1728"/>
                  <a:pt x="1254" y="1728"/>
                  <a:pt x="1255" y="1727"/>
                </a:cubicBezTo>
                <a:cubicBezTo>
                  <a:pt x="1255" y="1726"/>
                  <a:pt x="1256" y="1725"/>
                  <a:pt x="1258" y="1724"/>
                </a:cubicBezTo>
                <a:cubicBezTo>
                  <a:pt x="1259" y="1723"/>
                  <a:pt x="1260" y="1722"/>
                  <a:pt x="1261" y="1721"/>
                </a:cubicBezTo>
                <a:cubicBezTo>
                  <a:pt x="1261" y="1720"/>
                  <a:pt x="1262" y="1720"/>
                  <a:pt x="1263" y="1720"/>
                </a:cubicBezTo>
                <a:cubicBezTo>
                  <a:pt x="1263" y="1719"/>
                  <a:pt x="1264" y="1719"/>
                  <a:pt x="1265" y="1719"/>
                </a:cubicBezTo>
                <a:cubicBezTo>
                  <a:pt x="1265" y="1719"/>
                  <a:pt x="1265" y="1720"/>
                  <a:pt x="1266" y="1720"/>
                </a:cubicBezTo>
                <a:lnTo>
                  <a:pt x="1330" y="1785"/>
                </a:lnTo>
                <a:close/>
                <a:moveTo>
                  <a:pt x="1245" y="1697"/>
                </a:moveTo>
                <a:cubicBezTo>
                  <a:pt x="1248" y="1700"/>
                  <a:pt x="1249" y="1702"/>
                  <a:pt x="1249" y="1704"/>
                </a:cubicBezTo>
                <a:cubicBezTo>
                  <a:pt x="1249" y="1706"/>
                  <a:pt x="1248" y="1709"/>
                  <a:pt x="1245" y="1711"/>
                </a:cubicBezTo>
                <a:cubicBezTo>
                  <a:pt x="1242" y="1714"/>
                  <a:pt x="1240" y="1716"/>
                  <a:pt x="1238" y="1716"/>
                </a:cubicBezTo>
                <a:cubicBezTo>
                  <a:pt x="1236" y="1716"/>
                  <a:pt x="1233" y="1714"/>
                  <a:pt x="1231" y="1712"/>
                </a:cubicBezTo>
                <a:cubicBezTo>
                  <a:pt x="1228" y="1709"/>
                  <a:pt x="1227" y="1706"/>
                  <a:pt x="1227" y="1704"/>
                </a:cubicBezTo>
                <a:cubicBezTo>
                  <a:pt x="1227" y="1702"/>
                  <a:pt x="1228" y="1700"/>
                  <a:pt x="1231" y="1697"/>
                </a:cubicBezTo>
                <a:cubicBezTo>
                  <a:pt x="1234" y="1694"/>
                  <a:pt x="1236" y="1693"/>
                  <a:pt x="1238" y="1693"/>
                </a:cubicBezTo>
                <a:cubicBezTo>
                  <a:pt x="1240" y="1693"/>
                  <a:pt x="1243" y="1694"/>
                  <a:pt x="1245" y="1697"/>
                </a:cubicBezTo>
                <a:close/>
                <a:moveTo>
                  <a:pt x="1408" y="1707"/>
                </a:moveTo>
                <a:cubicBezTo>
                  <a:pt x="1408" y="1708"/>
                  <a:pt x="1408" y="1708"/>
                  <a:pt x="1409" y="1708"/>
                </a:cubicBezTo>
                <a:cubicBezTo>
                  <a:pt x="1409" y="1709"/>
                  <a:pt x="1409" y="1709"/>
                  <a:pt x="1408" y="1710"/>
                </a:cubicBezTo>
                <a:cubicBezTo>
                  <a:pt x="1408" y="1711"/>
                  <a:pt x="1408" y="1711"/>
                  <a:pt x="1407" y="1712"/>
                </a:cubicBezTo>
                <a:cubicBezTo>
                  <a:pt x="1407" y="1713"/>
                  <a:pt x="1406" y="1714"/>
                  <a:pt x="1405" y="1715"/>
                </a:cubicBezTo>
                <a:cubicBezTo>
                  <a:pt x="1404" y="1716"/>
                  <a:pt x="1403" y="1716"/>
                  <a:pt x="1402" y="1717"/>
                </a:cubicBezTo>
                <a:cubicBezTo>
                  <a:pt x="1401" y="1718"/>
                  <a:pt x="1401" y="1718"/>
                  <a:pt x="1400" y="1718"/>
                </a:cubicBezTo>
                <a:cubicBezTo>
                  <a:pt x="1400" y="1719"/>
                  <a:pt x="1399" y="1719"/>
                  <a:pt x="1399" y="1718"/>
                </a:cubicBezTo>
                <a:cubicBezTo>
                  <a:pt x="1398" y="1718"/>
                  <a:pt x="1398" y="1718"/>
                  <a:pt x="1397" y="1718"/>
                </a:cubicBezTo>
                <a:lnTo>
                  <a:pt x="1389" y="1709"/>
                </a:lnTo>
                <a:cubicBezTo>
                  <a:pt x="1389" y="1716"/>
                  <a:pt x="1388" y="1723"/>
                  <a:pt x="1387" y="1728"/>
                </a:cubicBezTo>
                <a:cubicBezTo>
                  <a:pt x="1385" y="1734"/>
                  <a:pt x="1382" y="1739"/>
                  <a:pt x="1378" y="1744"/>
                </a:cubicBezTo>
                <a:cubicBezTo>
                  <a:pt x="1373" y="1748"/>
                  <a:pt x="1368" y="1751"/>
                  <a:pt x="1363" y="1753"/>
                </a:cubicBezTo>
                <a:cubicBezTo>
                  <a:pt x="1358" y="1754"/>
                  <a:pt x="1353" y="1755"/>
                  <a:pt x="1347" y="1754"/>
                </a:cubicBezTo>
                <a:cubicBezTo>
                  <a:pt x="1342" y="1753"/>
                  <a:pt x="1337" y="1750"/>
                  <a:pt x="1332" y="1747"/>
                </a:cubicBezTo>
                <a:cubicBezTo>
                  <a:pt x="1326" y="1744"/>
                  <a:pt x="1322" y="1740"/>
                  <a:pt x="1317" y="1735"/>
                </a:cubicBezTo>
                <a:cubicBezTo>
                  <a:pt x="1311" y="1730"/>
                  <a:pt x="1307" y="1724"/>
                  <a:pt x="1304" y="1718"/>
                </a:cubicBezTo>
                <a:cubicBezTo>
                  <a:pt x="1300" y="1713"/>
                  <a:pt x="1298" y="1707"/>
                  <a:pt x="1297" y="1702"/>
                </a:cubicBezTo>
                <a:cubicBezTo>
                  <a:pt x="1297" y="1696"/>
                  <a:pt x="1297" y="1691"/>
                  <a:pt x="1299" y="1686"/>
                </a:cubicBezTo>
                <a:cubicBezTo>
                  <a:pt x="1301" y="1680"/>
                  <a:pt x="1304" y="1675"/>
                  <a:pt x="1308" y="1671"/>
                </a:cubicBezTo>
                <a:cubicBezTo>
                  <a:pt x="1312" y="1667"/>
                  <a:pt x="1316" y="1665"/>
                  <a:pt x="1321" y="1663"/>
                </a:cubicBezTo>
                <a:cubicBezTo>
                  <a:pt x="1326" y="1662"/>
                  <a:pt x="1332" y="1661"/>
                  <a:pt x="1338" y="1661"/>
                </a:cubicBezTo>
                <a:lnTo>
                  <a:pt x="1300" y="1623"/>
                </a:lnTo>
                <a:cubicBezTo>
                  <a:pt x="1300" y="1623"/>
                  <a:pt x="1300" y="1623"/>
                  <a:pt x="1300" y="1622"/>
                </a:cubicBezTo>
                <a:cubicBezTo>
                  <a:pt x="1299" y="1622"/>
                  <a:pt x="1299" y="1621"/>
                  <a:pt x="1300" y="1621"/>
                </a:cubicBezTo>
                <a:cubicBezTo>
                  <a:pt x="1300" y="1620"/>
                  <a:pt x="1301" y="1619"/>
                  <a:pt x="1301" y="1618"/>
                </a:cubicBezTo>
                <a:cubicBezTo>
                  <a:pt x="1302" y="1617"/>
                  <a:pt x="1303" y="1616"/>
                  <a:pt x="1304" y="1615"/>
                </a:cubicBezTo>
                <a:cubicBezTo>
                  <a:pt x="1305" y="1614"/>
                  <a:pt x="1306" y="1613"/>
                  <a:pt x="1307" y="1613"/>
                </a:cubicBezTo>
                <a:cubicBezTo>
                  <a:pt x="1308" y="1612"/>
                  <a:pt x="1309" y="1611"/>
                  <a:pt x="1309" y="1611"/>
                </a:cubicBezTo>
                <a:cubicBezTo>
                  <a:pt x="1310" y="1611"/>
                  <a:pt x="1310" y="1611"/>
                  <a:pt x="1311" y="1611"/>
                </a:cubicBezTo>
                <a:cubicBezTo>
                  <a:pt x="1311" y="1611"/>
                  <a:pt x="1312" y="1611"/>
                  <a:pt x="1312" y="1612"/>
                </a:cubicBezTo>
                <a:lnTo>
                  <a:pt x="1408" y="1707"/>
                </a:lnTo>
                <a:close/>
                <a:moveTo>
                  <a:pt x="1350" y="1674"/>
                </a:moveTo>
                <a:cubicBezTo>
                  <a:pt x="1343" y="1673"/>
                  <a:pt x="1337" y="1673"/>
                  <a:pt x="1332" y="1674"/>
                </a:cubicBezTo>
                <a:cubicBezTo>
                  <a:pt x="1327" y="1675"/>
                  <a:pt x="1323" y="1677"/>
                  <a:pt x="1320" y="1680"/>
                </a:cubicBezTo>
                <a:cubicBezTo>
                  <a:pt x="1317" y="1683"/>
                  <a:pt x="1315" y="1686"/>
                  <a:pt x="1314" y="1690"/>
                </a:cubicBezTo>
                <a:cubicBezTo>
                  <a:pt x="1313" y="1694"/>
                  <a:pt x="1314" y="1697"/>
                  <a:pt x="1315" y="1701"/>
                </a:cubicBezTo>
                <a:cubicBezTo>
                  <a:pt x="1316" y="1704"/>
                  <a:pt x="1317" y="1708"/>
                  <a:pt x="1320" y="1712"/>
                </a:cubicBezTo>
                <a:cubicBezTo>
                  <a:pt x="1322" y="1715"/>
                  <a:pt x="1325" y="1719"/>
                  <a:pt x="1328" y="1722"/>
                </a:cubicBezTo>
                <a:cubicBezTo>
                  <a:pt x="1331" y="1725"/>
                  <a:pt x="1335" y="1728"/>
                  <a:pt x="1338" y="1730"/>
                </a:cubicBezTo>
                <a:cubicBezTo>
                  <a:pt x="1342" y="1733"/>
                  <a:pt x="1345" y="1735"/>
                  <a:pt x="1349" y="1736"/>
                </a:cubicBezTo>
                <a:cubicBezTo>
                  <a:pt x="1353" y="1737"/>
                  <a:pt x="1356" y="1738"/>
                  <a:pt x="1360" y="1737"/>
                </a:cubicBezTo>
                <a:cubicBezTo>
                  <a:pt x="1363" y="1736"/>
                  <a:pt x="1367" y="1734"/>
                  <a:pt x="1370" y="1731"/>
                </a:cubicBezTo>
                <a:cubicBezTo>
                  <a:pt x="1371" y="1730"/>
                  <a:pt x="1373" y="1728"/>
                  <a:pt x="1374" y="1726"/>
                </a:cubicBezTo>
                <a:cubicBezTo>
                  <a:pt x="1375" y="1724"/>
                  <a:pt x="1375" y="1722"/>
                  <a:pt x="1376" y="1719"/>
                </a:cubicBezTo>
                <a:cubicBezTo>
                  <a:pt x="1377" y="1717"/>
                  <a:pt x="1377" y="1714"/>
                  <a:pt x="1377" y="1711"/>
                </a:cubicBezTo>
                <a:cubicBezTo>
                  <a:pt x="1377" y="1707"/>
                  <a:pt x="1377" y="1704"/>
                  <a:pt x="1376" y="1700"/>
                </a:cubicBezTo>
                <a:lnTo>
                  <a:pt x="1350" y="1674"/>
                </a:lnTo>
                <a:close/>
                <a:moveTo>
                  <a:pt x="1479" y="1636"/>
                </a:moveTo>
                <a:cubicBezTo>
                  <a:pt x="1480" y="1636"/>
                  <a:pt x="1480" y="1636"/>
                  <a:pt x="1480" y="1637"/>
                </a:cubicBezTo>
                <a:cubicBezTo>
                  <a:pt x="1480" y="1637"/>
                  <a:pt x="1480" y="1638"/>
                  <a:pt x="1480" y="1639"/>
                </a:cubicBezTo>
                <a:cubicBezTo>
                  <a:pt x="1479" y="1639"/>
                  <a:pt x="1479" y="1640"/>
                  <a:pt x="1478" y="1641"/>
                </a:cubicBezTo>
                <a:cubicBezTo>
                  <a:pt x="1477" y="1642"/>
                  <a:pt x="1477" y="1643"/>
                  <a:pt x="1475" y="1644"/>
                </a:cubicBezTo>
                <a:cubicBezTo>
                  <a:pt x="1474" y="1645"/>
                  <a:pt x="1473" y="1646"/>
                  <a:pt x="1472" y="1647"/>
                </a:cubicBezTo>
                <a:cubicBezTo>
                  <a:pt x="1471" y="1648"/>
                  <a:pt x="1471" y="1648"/>
                  <a:pt x="1470" y="1648"/>
                </a:cubicBezTo>
                <a:cubicBezTo>
                  <a:pt x="1469" y="1649"/>
                  <a:pt x="1469" y="1649"/>
                  <a:pt x="1468" y="1649"/>
                </a:cubicBezTo>
                <a:cubicBezTo>
                  <a:pt x="1468" y="1649"/>
                  <a:pt x="1467" y="1648"/>
                  <a:pt x="1467" y="1648"/>
                </a:cubicBezTo>
                <a:lnTo>
                  <a:pt x="1378" y="1559"/>
                </a:lnTo>
                <a:cubicBezTo>
                  <a:pt x="1377" y="1558"/>
                  <a:pt x="1377" y="1558"/>
                  <a:pt x="1377" y="1557"/>
                </a:cubicBezTo>
                <a:cubicBezTo>
                  <a:pt x="1377" y="1557"/>
                  <a:pt x="1377" y="1556"/>
                  <a:pt x="1377" y="1556"/>
                </a:cubicBezTo>
                <a:cubicBezTo>
                  <a:pt x="1378" y="1555"/>
                  <a:pt x="1378" y="1554"/>
                  <a:pt x="1379" y="1553"/>
                </a:cubicBezTo>
                <a:cubicBezTo>
                  <a:pt x="1380" y="1552"/>
                  <a:pt x="1380" y="1551"/>
                  <a:pt x="1382" y="1550"/>
                </a:cubicBezTo>
                <a:cubicBezTo>
                  <a:pt x="1383" y="1549"/>
                  <a:pt x="1384" y="1548"/>
                  <a:pt x="1385" y="1548"/>
                </a:cubicBezTo>
                <a:cubicBezTo>
                  <a:pt x="1386" y="1547"/>
                  <a:pt x="1386" y="1546"/>
                  <a:pt x="1387" y="1546"/>
                </a:cubicBezTo>
                <a:cubicBezTo>
                  <a:pt x="1388" y="1546"/>
                  <a:pt x="1388" y="1546"/>
                  <a:pt x="1389" y="1546"/>
                </a:cubicBezTo>
                <a:cubicBezTo>
                  <a:pt x="1389" y="1546"/>
                  <a:pt x="1390" y="1546"/>
                  <a:pt x="1390" y="1546"/>
                </a:cubicBezTo>
                <a:lnTo>
                  <a:pt x="1479" y="1636"/>
                </a:lnTo>
                <a:close/>
                <a:moveTo>
                  <a:pt x="1555" y="1560"/>
                </a:moveTo>
                <a:cubicBezTo>
                  <a:pt x="1556" y="1560"/>
                  <a:pt x="1556" y="1561"/>
                  <a:pt x="1556" y="1561"/>
                </a:cubicBezTo>
                <a:cubicBezTo>
                  <a:pt x="1556" y="1562"/>
                  <a:pt x="1556" y="1562"/>
                  <a:pt x="1556" y="1563"/>
                </a:cubicBezTo>
                <a:cubicBezTo>
                  <a:pt x="1555" y="1563"/>
                  <a:pt x="1555" y="1564"/>
                  <a:pt x="1554" y="1565"/>
                </a:cubicBezTo>
                <a:cubicBezTo>
                  <a:pt x="1554" y="1566"/>
                  <a:pt x="1553" y="1567"/>
                  <a:pt x="1552" y="1568"/>
                </a:cubicBezTo>
                <a:cubicBezTo>
                  <a:pt x="1550" y="1569"/>
                  <a:pt x="1549" y="1570"/>
                  <a:pt x="1548" y="1571"/>
                </a:cubicBezTo>
                <a:cubicBezTo>
                  <a:pt x="1548" y="1571"/>
                  <a:pt x="1547" y="1572"/>
                  <a:pt x="1546" y="1572"/>
                </a:cubicBezTo>
                <a:cubicBezTo>
                  <a:pt x="1546" y="1572"/>
                  <a:pt x="1545" y="1572"/>
                  <a:pt x="1545" y="1572"/>
                </a:cubicBezTo>
                <a:cubicBezTo>
                  <a:pt x="1544" y="1572"/>
                  <a:pt x="1544" y="1572"/>
                  <a:pt x="1543" y="1572"/>
                </a:cubicBezTo>
                <a:lnTo>
                  <a:pt x="1505" y="1534"/>
                </a:lnTo>
                <a:cubicBezTo>
                  <a:pt x="1502" y="1530"/>
                  <a:pt x="1499" y="1527"/>
                  <a:pt x="1496" y="1526"/>
                </a:cubicBezTo>
                <a:cubicBezTo>
                  <a:pt x="1493" y="1524"/>
                  <a:pt x="1490" y="1523"/>
                  <a:pt x="1487" y="1523"/>
                </a:cubicBezTo>
                <a:cubicBezTo>
                  <a:pt x="1485" y="1522"/>
                  <a:pt x="1482" y="1522"/>
                  <a:pt x="1479" y="1523"/>
                </a:cubicBezTo>
                <a:cubicBezTo>
                  <a:pt x="1477" y="1524"/>
                  <a:pt x="1474" y="1526"/>
                  <a:pt x="1472" y="1528"/>
                </a:cubicBezTo>
                <a:cubicBezTo>
                  <a:pt x="1469" y="1531"/>
                  <a:pt x="1467" y="1535"/>
                  <a:pt x="1466" y="1540"/>
                </a:cubicBezTo>
                <a:cubicBezTo>
                  <a:pt x="1465" y="1545"/>
                  <a:pt x="1465" y="1551"/>
                  <a:pt x="1466" y="1558"/>
                </a:cubicBezTo>
                <a:lnTo>
                  <a:pt x="1511" y="1604"/>
                </a:lnTo>
                <a:cubicBezTo>
                  <a:pt x="1512" y="1604"/>
                  <a:pt x="1512" y="1604"/>
                  <a:pt x="1512" y="1605"/>
                </a:cubicBezTo>
                <a:cubicBezTo>
                  <a:pt x="1512" y="1605"/>
                  <a:pt x="1512" y="1606"/>
                  <a:pt x="1512" y="1607"/>
                </a:cubicBezTo>
                <a:cubicBezTo>
                  <a:pt x="1512" y="1607"/>
                  <a:pt x="1511" y="1608"/>
                  <a:pt x="1510" y="1609"/>
                </a:cubicBezTo>
                <a:cubicBezTo>
                  <a:pt x="1510" y="1610"/>
                  <a:pt x="1509" y="1611"/>
                  <a:pt x="1508" y="1612"/>
                </a:cubicBezTo>
                <a:cubicBezTo>
                  <a:pt x="1506" y="1613"/>
                  <a:pt x="1505" y="1614"/>
                  <a:pt x="1505" y="1615"/>
                </a:cubicBezTo>
                <a:cubicBezTo>
                  <a:pt x="1504" y="1615"/>
                  <a:pt x="1503" y="1616"/>
                  <a:pt x="1502" y="1616"/>
                </a:cubicBezTo>
                <a:cubicBezTo>
                  <a:pt x="1502" y="1616"/>
                  <a:pt x="1501" y="1616"/>
                  <a:pt x="1501" y="1616"/>
                </a:cubicBezTo>
                <a:cubicBezTo>
                  <a:pt x="1500" y="1616"/>
                  <a:pt x="1500" y="1616"/>
                  <a:pt x="1500" y="1616"/>
                </a:cubicBezTo>
                <a:lnTo>
                  <a:pt x="1435" y="1551"/>
                </a:lnTo>
                <a:cubicBezTo>
                  <a:pt x="1435" y="1550"/>
                  <a:pt x="1434" y="1550"/>
                  <a:pt x="1434" y="1550"/>
                </a:cubicBezTo>
                <a:cubicBezTo>
                  <a:pt x="1434" y="1549"/>
                  <a:pt x="1434" y="1549"/>
                  <a:pt x="1434" y="1548"/>
                </a:cubicBezTo>
                <a:cubicBezTo>
                  <a:pt x="1435" y="1547"/>
                  <a:pt x="1435" y="1547"/>
                  <a:pt x="1436" y="1546"/>
                </a:cubicBezTo>
                <a:cubicBezTo>
                  <a:pt x="1436" y="1545"/>
                  <a:pt x="1437" y="1544"/>
                  <a:pt x="1438" y="1543"/>
                </a:cubicBezTo>
                <a:cubicBezTo>
                  <a:pt x="1439" y="1542"/>
                  <a:pt x="1440" y="1541"/>
                  <a:pt x="1441" y="1541"/>
                </a:cubicBezTo>
                <a:cubicBezTo>
                  <a:pt x="1442" y="1540"/>
                  <a:pt x="1442" y="1540"/>
                  <a:pt x="1443" y="1540"/>
                </a:cubicBezTo>
                <a:cubicBezTo>
                  <a:pt x="1443" y="1539"/>
                  <a:pt x="1444" y="1539"/>
                  <a:pt x="1444" y="1539"/>
                </a:cubicBezTo>
                <a:cubicBezTo>
                  <a:pt x="1445" y="1540"/>
                  <a:pt x="1445" y="1540"/>
                  <a:pt x="1446" y="1540"/>
                </a:cubicBezTo>
                <a:lnTo>
                  <a:pt x="1454" y="1549"/>
                </a:lnTo>
                <a:cubicBezTo>
                  <a:pt x="1454" y="1541"/>
                  <a:pt x="1454" y="1534"/>
                  <a:pt x="1456" y="1529"/>
                </a:cubicBezTo>
                <a:cubicBezTo>
                  <a:pt x="1458" y="1523"/>
                  <a:pt x="1461" y="1519"/>
                  <a:pt x="1464" y="1515"/>
                </a:cubicBezTo>
                <a:cubicBezTo>
                  <a:pt x="1469" y="1511"/>
                  <a:pt x="1473" y="1508"/>
                  <a:pt x="1477" y="1506"/>
                </a:cubicBezTo>
                <a:cubicBezTo>
                  <a:pt x="1482" y="1505"/>
                  <a:pt x="1486" y="1505"/>
                  <a:pt x="1490" y="1505"/>
                </a:cubicBezTo>
                <a:cubicBezTo>
                  <a:pt x="1495" y="1506"/>
                  <a:pt x="1499" y="1507"/>
                  <a:pt x="1503" y="1510"/>
                </a:cubicBezTo>
                <a:cubicBezTo>
                  <a:pt x="1507" y="1512"/>
                  <a:pt x="1511" y="1516"/>
                  <a:pt x="1516" y="1520"/>
                </a:cubicBezTo>
                <a:lnTo>
                  <a:pt x="1555" y="1560"/>
                </a:lnTo>
                <a:close/>
                <a:moveTo>
                  <a:pt x="1608" y="1498"/>
                </a:moveTo>
                <a:cubicBezTo>
                  <a:pt x="1609" y="1499"/>
                  <a:pt x="1610" y="1501"/>
                  <a:pt x="1611" y="1502"/>
                </a:cubicBezTo>
                <a:cubicBezTo>
                  <a:pt x="1611" y="1503"/>
                  <a:pt x="1612" y="1503"/>
                  <a:pt x="1612" y="1504"/>
                </a:cubicBezTo>
                <a:cubicBezTo>
                  <a:pt x="1612" y="1505"/>
                  <a:pt x="1611" y="1506"/>
                  <a:pt x="1611" y="1507"/>
                </a:cubicBezTo>
                <a:cubicBezTo>
                  <a:pt x="1610" y="1508"/>
                  <a:pt x="1610" y="1509"/>
                  <a:pt x="1609" y="1510"/>
                </a:cubicBezTo>
                <a:cubicBezTo>
                  <a:pt x="1608" y="1512"/>
                  <a:pt x="1607" y="1513"/>
                  <a:pt x="1607" y="1514"/>
                </a:cubicBezTo>
                <a:cubicBezTo>
                  <a:pt x="1606" y="1515"/>
                  <a:pt x="1605" y="1517"/>
                  <a:pt x="1603" y="1518"/>
                </a:cubicBezTo>
                <a:cubicBezTo>
                  <a:pt x="1600" y="1521"/>
                  <a:pt x="1597" y="1523"/>
                  <a:pt x="1593" y="1525"/>
                </a:cubicBezTo>
                <a:cubicBezTo>
                  <a:pt x="1590" y="1526"/>
                  <a:pt x="1587" y="1527"/>
                  <a:pt x="1584" y="1527"/>
                </a:cubicBezTo>
                <a:cubicBezTo>
                  <a:pt x="1580" y="1527"/>
                  <a:pt x="1577" y="1525"/>
                  <a:pt x="1573" y="1523"/>
                </a:cubicBezTo>
                <a:cubicBezTo>
                  <a:pt x="1570" y="1521"/>
                  <a:pt x="1566" y="1518"/>
                  <a:pt x="1563" y="1515"/>
                </a:cubicBezTo>
                <a:lnTo>
                  <a:pt x="1525" y="1477"/>
                </a:lnTo>
                <a:lnTo>
                  <a:pt x="1516" y="1486"/>
                </a:lnTo>
                <a:cubicBezTo>
                  <a:pt x="1515" y="1487"/>
                  <a:pt x="1514" y="1487"/>
                  <a:pt x="1513" y="1486"/>
                </a:cubicBezTo>
                <a:cubicBezTo>
                  <a:pt x="1512" y="1486"/>
                  <a:pt x="1510" y="1485"/>
                  <a:pt x="1509" y="1483"/>
                </a:cubicBezTo>
                <a:cubicBezTo>
                  <a:pt x="1508" y="1482"/>
                  <a:pt x="1507" y="1482"/>
                  <a:pt x="1506" y="1481"/>
                </a:cubicBezTo>
                <a:cubicBezTo>
                  <a:pt x="1506" y="1480"/>
                  <a:pt x="1506" y="1479"/>
                  <a:pt x="1505" y="1479"/>
                </a:cubicBezTo>
                <a:cubicBezTo>
                  <a:pt x="1505" y="1478"/>
                  <a:pt x="1505" y="1478"/>
                  <a:pt x="1505" y="1477"/>
                </a:cubicBezTo>
                <a:cubicBezTo>
                  <a:pt x="1505" y="1477"/>
                  <a:pt x="1506" y="1476"/>
                  <a:pt x="1506" y="1476"/>
                </a:cubicBezTo>
                <a:lnTo>
                  <a:pt x="1515" y="1467"/>
                </a:lnTo>
                <a:lnTo>
                  <a:pt x="1500" y="1452"/>
                </a:lnTo>
                <a:cubicBezTo>
                  <a:pt x="1499" y="1451"/>
                  <a:pt x="1499" y="1451"/>
                  <a:pt x="1499" y="1450"/>
                </a:cubicBezTo>
                <a:cubicBezTo>
                  <a:pt x="1499" y="1450"/>
                  <a:pt x="1499" y="1449"/>
                  <a:pt x="1499" y="1449"/>
                </a:cubicBezTo>
                <a:cubicBezTo>
                  <a:pt x="1499" y="1448"/>
                  <a:pt x="1500" y="1447"/>
                  <a:pt x="1501" y="1446"/>
                </a:cubicBezTo>
                <a:cubicBezTo>
                  <a:pt x="1501" y="1446"/>
                  <a:pt x="1502" y="1445"/>
                  <a:pt x="1503" y="1443"/>
                </a:cubicBezTo>
                <a:cubicBezTo>
                  <a:pt x="1504" y="1442"/>
                  <a:pt x="1505" y="1441"/>
                  <a:pt x="1506" y="1441"/>
                </a:cubicBezTo>
                <a:cubicBezTo>
                  <a:pt x="1507" y="1440"/>
                  <a:pt x="1508" y="1440"/>
                  <a:pt x="1509" y="1439"/>
                </a:cubicBezTo>
                <a:cubicBezTo>
                  <a:pt x="1509" y="1439"/>
                  <a:pt x="1510" y="1439"/>
                  <a:pt x="1510" y="1439"/>
                </a:cubicBezTo>
                <a:cubicBezTo>
                  <a:pt x="1511" y="1439"/>
                  <a:pt x="1511" y="1439"/>
                  <a:pt x="1512" y="1440"/>
                </a:cubicBezTo>
                <a:lnTo>
                  <a:pt x="1527" y="1455"/>
                </a:lnTo>
                <a:lnTo>
                  <a:pt x="1543" y="1439"/>
                </a:lnTo>
                <a:cubicBezTo>
                  <a:pt x="1544" y="1438"/>
                  <a:pt x="1544" y="1438"/>
                  <a:pt x="1545" y="1438"/>
                </a:cubicBezTo>
                <a:cubicBezTo>
                  <a:pt x="1545" y="1438"/>
                  <a:pt x="1546" y="1438"/>
                  <a:pt x="1546" y="1438"/>
                </a:cubicBezTo>
                <a:cubicBezTo>
                  <a:pt x="1547" y="1438"/>
                  <a:pt x="1548" y="1438"/>
                  <a:pt x="1548" y="1439"/>
                </a:cubicBezTo>
                <a:cubicBezTo>
                  <a:pt x="1549" y="1440"/>
                  <a:pt x="1550" y="1440"/>
                  <a:pt x="1551" y="1441"/>
                </a:cubicBezTo>
                <a:cubicBezTo>
                  <a:pt x="1553" y="1443"/>
                  <a:pt x="1554" y="1444"/>
                  <a:pt x="1554" y="1446"/>
                </a:cubicBezTo>
                <a:cubicBezTo>
                  <a:pt x="1554" y="1447"/>
                  <a:pt x="1554" y="1448"/>
                  <a:pt x="1553" y="1448"/>
                </a:cubicBezTo>
                <a:lnTo>
                  <a:pt x="1537" y="1465"/>
                </a:lnTo>
                <a:lnTo>
                  <a:pt x="1573" y="1501"/>
                </a:lnTo>
                <a:cubicBezTo>
                  <a:pt x="1577" y="1506"/>
                  <a:pt x="1581" y="1508"/>
                  <a:pt x="1585" y="1509"/>
                </a:cubicBezTo>
                <a:cubicBezTo>
                  <a:pt x="1588" y="1510"/>
                  <a:pt x="1592" y="1509"/>
                  <a:pt x="1595" y="1506"/>
                </a:cubicBezTo>
                <a:cubicBezTo>
                  <a:pt x="1596" y="1504"/>
                  <a:pt x="1597" y="1503"/>
                  <a:pt x="1598" y="1502"/>
                </a:cubicBezTo>
                <a:cubicBezTo>
                  <a:pt x="1599" y="1501"/>
                  <a:pt x="1599" y="1500"/>
                  <a:pt x="1600" y="1499"/>
                </a:cubicBezTo>
                <a:cubicBezTo>
                  <a:pt x="1600" y="1498"/>
                  <a:pt x="1600" y="1498"/>
                  <a:pt x="1601" y="1497"/>
                </a:cubicBezTo>
                <a:cubicBezTo>
                  <a:pt x="1601" y="1496"/>
                  <a:pt x="1601" y="1496"/>
                  <a:pt x="1602" y="1495"/>
                </a:cubicBezTo>
                <a:cubicBezTo>
                  <a:pt x="1602" y="1495"/>
                  <a:pt x="1602" y="1495"/>
                  <a:pt x="1602" y="1495"/>
                </a:cubicBezTo>
                <a:cubicBezTo>
                  <a:pt x="1603" y="1495"/>
                  <a:pt x="1603" y="1495"/>
                  <a:pt x="1604" y="1495"/>
                </a:cubicBezTo>
                <a:cubicBezTo>
                  <a:pt x="1604" y="1495"/>
                  <a:pt x="1605" y="1495"/>
                  <a:pt x="1605" y="1496"/>
                </a:cubicBezTo>
                <a:cubicBezTo>
                  <a:pt x="1606" y="1496"/>
                  <a:pt x="1607" y="1497"/>
                  <a:pt x="1608" y="1498"/>
                </a:cubicBezTo>
                <a:close/>
                <a:moveTo>
                  <a:pt x="1644" y="1401"/>
                </a:moveTo>
                <a:cubicBezTo>
                  <a:pt x="1646" y="1403"/>
                  <a:pt x="1647" y="1404"/>
                  <a:pt x="1647" y="1406"/>
                </a:cubicBezTo>
                <a:cubicBezTo>
                  <a:pt x="1646" y="1408"/>
                  <a:pt x="1646" y="1409"/>
                  <a:pt x="1645" y="1411"/>
                </a:cubicBezTo>
                <a:lnTo>
                  <a:pt x="1602" y="1453"/>
                </a:lnTo>
                <a:cubicBezTo>
                  <a:pt x="1606" y="1457"/>
                  <a:pt x="1609" y="1460"/>
                  <a:pt x="1613" y="1462"/>
                </a:cubicBezTo>
                <a:cubicBezTo>
                  <a:pt x="1616" y="1464"/>
                  <a:pt x="1620" y="1465"/>
                  <a:pt x="1624" y="1466"/>
                </a:cubicBezTo>
                <a:cubicBezTo>
                  <a:pt x="1628" y="1466"/>
                  <a:pt x="1631" y="1465"/>
                  <a:pt x="1635" y="1464"/>
                </a:cubicBezTo>
                <a:cubicBezTo>
                  <a:pt x="1639" y="1462"/>
                  <a:pt x="1643" y="1459"/>
                  <a:pt x="1647" y="1455"/>
                </a:cubicBezTo>
                <a:cubicBezTo>
                  <a:pt x="1650" y="1452"/>
                  <a:pt x="1652" y="1449"/>
                  <a:pt x="1654" y="1446"/>
                </a:cubicBezTo>
                <a:cubicBezTo>
                  <a:pt x="1656" y="1444"/>
                  <a:pt x="1658" y="1441"/>
                  <a:pt x="1659" y="1439"/>
                </a:cubicBezTo>
                <a:cubicBezTo>
                  <a:pt x="1660" y="1436"/>
                  <a:pt x="1661" y="1434"/>
                  <a:pt x="1661" y="1433"/>
                </a:cubicBezTo>
                <a:cubicBezTo>
                  <a:pt x="1662" y="1431"/>
                  <a:pt x="1663" y="1430"/>
                  <a:pt x="1663" y="1429"/>
                </a:cubicBezTo>
                <a:cubicBezTo>
                  <a:pt x="1663" y="1429"/>
                  <a:pt x="1664" y="1429"/>
                  <a:pt x="1664" y="1429"/>
                </a:cubicBezTo>
                <a:cubicBezTo>
                  <a:pt x="1665" y="1428"/>
                  <a:pt x="1665" y="1429"/>
                  <a:pt x="1666" y="1429"/>
                </a:cubicBezTo>
                <a:cubicBezTo>
                  <a:pt x="1666" y="1429"/>
                  <a:pt x="1667" y="1429"/>
                  <a:pt x="1667" y="1430"/>
                </a:cubicBezTo>
                <a:cubicBezTo>
                  <a:pt x="1668" y="1430"/>
                  <a:pt x="1669" y="1431"/>
                  <a:pt x="1670" y="1432"/>
                </a:cubicBezTo>
                <a:cubicBezTo>
                  <a:pt x="1670" y="1433"/>
                  <a:pt x="1671" y="1433"/>
                  <a:pt x="1671" y="1434"/>
                </a:cubicBezTo>
                <a:cubicBezTo>
                  <a:pt x="1672" y="1434"/>
                  <a:pt x="1672" y="1435"/>
                  <a:pt x="1672" y="1435"/>
                </a:cubicBezTo>
                <a:cubicBezTo>
                  <a:pt x="1673" y="1435"/>
                  <a:pt x="1673" y="1436"/>
                  <a:pt x="1673" y="1436"/>
                </a:cubicBezTo>
                <a:cubicBezTo>
                  <a:pt x="1673" y="1437"/>
                  <a:pt x="1673" y="1437"/>
                  <a:pt x="1673" y="1438"/>
                </a:cubicBezTo>
                <a:cubicBezTo>
                  <a:pt x="1673" y="1438"/>
                  <a:pt x="1673" y="1440"/>
                  <a:pt x="1672" y="1441"/>
                </a:cubicBezTo>
                <a:cubicBezTo>
                  <a:pt x="1671" y="1443"/>
                  <a:pt x="1670" y="1446"/>
                  <a:pt x="1669" y="1448"/>
                </a:cubicBezTo>
                <a:cubicBezTo>
                  <a:pt x="1667" y="1451"/>
                  <a:pt x="1665" y="1454"/>
                  <a:pt x="1663" y="1457"/>
                </a:cubicBezTo>
                <a:cubicBezTo>
                  <a:pt x="1661" y="1460"/>
                  <a:pt x="1658" y="1463"/>
                  <a:pt x="1655" y="1466"/>
                </a:cubicBezTo>
                <a:cubicBezTo>
                  <a:pt x="1650" y="1472"/>
                  <a:pt x="1644" y="1475"/>
                  <a:pt x="1639" y="1478"/>
                </a:cubicBezTo>
                <a:cubicBezTo>
                  <a:pt x="1633" y="1480"/>
                  <a:pt x="1628" y="1482"/>
                  <a:pt x="1622" y="1481"/>
                </a:cubicBezTo>
                <a:cubicBezTo>
                  <a:pt x="1617" y="1481"/>
                  <a:pt x="1611" y="1480"/>
                  <a:pt x="1605" y="1477"/>
                </a:cubicBezTo>
                <a:cubicBezTo>
                  <a:pt x="1599" y="1474"/>
                  <a:pt x="1593" y="1469"/>
                  <a:pt x="1588" y="1463"/>
                </a:cubicBezTo>
                <a:cubicBezTo>
                  <a:pt x="1582" y="1458"/>
                  <a:pt x="1578" y="1452"/>
                  <a:pt x="1575" y="1446"/>
                </a:cubicBezTo>
                <a:cubicBezTo>
                  <a:pt x="1572" y="1440"/>
                  <a:pt x="1570" y="1435"/>
                  <a:pt x="1570" y="1429"/>
                </a:cubicBezTo>
                <a:cubicBezTo>
                  <a:pt x="1569" y="1423"/>
                  <a:pt x="1570" y="1417"/>
                  <a:pt x="1572" y="1412"/>
                </a:cubicBezTo>
                <a:cubicBezTo>
                  <a:pt x="1575" y="1406"/>
                  <a:pt x="1578" y="1401"/>
                  <a:pt x="1583" y="1396"/>
                </a:cubicBezTo>
                <a:cubicBezTo>
                  <a:pt x="1588" y="1391"/>
                  <a:pt x="1593" y="1388"/>
                  <a:pt x="1598" y="1386"/>
                </a:cubicBezTo>
                <a:cubicBezTo>
                  <a:pt x="1603" y="1384"/>
                  <a:pt x="1609" y="1383"/>
                  <a:pt x="1614" y="1384"/>
                </a:cubicBezTo>
                <a:cubicBezTo>
                  <a:pt x="1619" y="1384"/>
                  <a:pt x="1624" y="1386"/>
                  <a:pt x="1628" y="1388"/>
                </a:cubicBezTo>
                <a:cubicBezTo>
                  <a:pt x="1633" y="1391"/>
                  <a:pt x="1638" y="1394"/>
                  <a:pt x="1642" y="1399"/>
                </a:cubicBezTo>
                <a:lnTo>
                  <a:pt x="1644" y="1401"/>
                </a:lnTo>
                <a:close/>
                <a:moveTo>
                  <a:pt x="1629" y="1409"/>
                </a:moveTo>
                <a:cubicBezTo>
                  <a:pt x="1622" y="1403"/>
                  <a:pt x="1616" y="1399"/>
                  <a:pt x="1610" y="1399"/>
                </a:cubicBezTo>
                <a:cubicBezTo>
                  <a:pt x="1603" y="1398"/>
                  <a:pt x="1597" y="1401"/>
                  <a:pt x="1591" y="1406"/>
                </a:cubicBezTo>
                <a:cubicBezTo>
                  <a:pt x="1589" y="1409"/>
                  <a:pt x="1587" y="1412"/>
                  <a:pt x="1585" y="1416"/>
                </a:cubicBezTo>
                <a:cubicBezTo>
                  <a:pt x="1584" y="1419"/>
                  <a:pt x="1584" y="1422"/>
                  <a:pt x="1584" y="1426"/>
                </a:cubicBezTo>
                <a:cubicBezTo>
                  <a:pt x="1585" y="1429"/>
                  <a:pt x="1586" y="1432"/>
                  <a:pt x="1587" y="1436"/>
                </a:cubicBezTo>
                <a:cubicBezTo>
                  <a:pt x="1589" y="1439"/>
                  <a:pt x="1591" y="1442"/>
                  <a:pt x="1593" y="1444"/>
                </a:cubicBezTo>
                <a:lnTo>
                  <a:pt x="1629" y="1409"/>
                </a:lnTo>
                <a:close/>
                <a:moveTo>
                  <a:pt x="1695" y="1296"/>
                </a:moveTo>
                <a:cubicBezTo>
                  <a:pt x="1697" y="1298"/>
                  <a:pt x="1698" y="1299"/>
                  <a:pt x="1698" y="1300"/>
                </a:cubicBezTo>
                <a:cubicBezTo>
                  <a:pt x="1699" y="1302"/>
                  <a:pt x="1699" y="1303"/>
                  <a:pt x="1698" y="1303"/>
                </a:cubicBezTo>
                <a:lnTo>
                  <a:pt x="1689" y="1313"/>
                </a:lnTo>
                <a:cubicBezTo>
                  <a:pt x="1692" y="1313"/>
                  <a:pt x="1695" y="1313"/>
                  <a:pt x="1698" y="1315"/>
                </a:cubicBezTo>
                <a:cubicBezTo>
                  <a:pt x="1701" y="1316"/>
                  <a:pt x="1703" y="1318"/>
                  <a:pt x="1705" y="1320"/>
                </a:cubicBezTo>
                <a:cubicBezTo>
                  <a:pt x="1709" y="1324"/>
                  <a:pt x="1712" y="1328"/>
                  <a:pt x="1713" y="1332"/>
                </a:cubicBezTo>
                <a:cubicBezTo>
                  <a:pt x="1715" y="1336"/>
                  <a:pt x="1716" y="1340"/>
                  <a:pt x="1716" y="1344"/>
                </a:cubicBezTo>
                <a:cubicBezTo>
                  <a:pt x="1715" y="1349"/>
                  <a:pt x="1714" y="1353"/>
                  <a:pt x="1712" y="1357"/>
                </a:cubicBezTo>
                <a:cubicBezTo>
                  <a:pt x="1710" y="1361"/>
                  <a:pt x="1707" y="1365"/>
                  <a:pt x="1704" y="1369"/>
                </a:cubicBezTo>
                <a:cubicBezTo>
                  <a:pt x="1701" y="1371"/>
                  <a:pt x="1698" y="1373"/>
                  <a:pt x="1695" y="1375"/>
                </a:cubicBezTo>
                <a:cubicBezTo>
                  <a:pt x="1692" y="1377"/>
                  <a:pt x="1689" y="1378"/>
                  <a:pt x="1687" y="1378"/>
                </a:cubicBezTo>
                <a:cubicBezTo>
                  <a:pt x="1687" y="1380"/>
                  <a:pt x="1687" y="1381"/>
                  <a:pt x="1688" y="1383"/>
                </a:cubicBezTo>
                <a:cubicBezTo>
                  <a:pt x="1688" y="1385"/>
                  <a:pt x="1689" y="1386"/>
                  <a:pt x="1691" y="1388"/>
                </a:cubicBezTo>
                <a:cubicBezTo>
                  <a:pt x="1692" y="1389"/>
                  <a:pt x="1695" y="1390"/>
                  <a:pt x="1697" y="1390"/>
                </a:cubicBezTo>
                <a:cubicBezTo>
                  <a:pt x="1700" y="1389"/>
                  <a:pt x="1703" y="1388"/>
                  <a:pt x="1705" y="1385"/>
                </a:cubicBezTo>
                <a:lnTo>
                  <a:pt x="1723" y="1369"/>
                </a:lnTo>
                <a:cubicBezTo>
                  <a:pt x="1726" y="1366"/>
                  <a:pt x="1729" y="1363"/>
                  <a:pt x="1733" y="1361"/>
                </a:cubicBezTo>
                <a:cubicBezTo>
                  <a:pt x="1736" y="1360"/>
                  <a:pt x="1740" y="1358"/>
                  <a:pt x="1743" y="1358"/>
                </a:cubicBezTo>
                <a:cubicBezTo>
                  <a:pt x="1747" y="1357"/>
                  <a:pt x="1750" y="1358"/>
                  <a:pt x="1753" y="1359"/>
                </a:cubicBezTo>
                <a:cubicBezTo>
                  <a:pt x="1757" y="1360"/>
                  <a:pt x="1760" y="1362"/>
                  <a:pt x="1762" y="1364"/>
                </a:cubicBezTo>
                <a:cubicBezTo>
                  <a:pt x="1765" y="1367"/>
                  <a:pt x="1768" y="1371"/>
                  <a:pt x="1769" y="1375"/>
                </a:cubicBezTo>
                <a:cubicBezTo>
                  <a:pt x="1770" y="1379"/>
                  <a:pt x="1771" y="1383"/>
                  <a:pt x="1770" y="1388"/>
                </a:cubicBezTo>
                <a:cubicBezTo>
                  <a:pt x="1770" y="1392"/>
                  <a:pt x="1768" y="1397"/>
                  <a:pt x="1765" y="1402"/>
                </a:cubicBezTo>
                <a:cubicBezTo>
                  <a:pt x="1763" y="1407"/>
                  <a:pt x="1758" y="1413"/>
                  <a:pt x="1753" y="1418"/>
                </a:cubicBezTo>
                <a:cubicBezTo>
                  <a:pt x="1748" y="1423"/>
                  <a:pt x="1743" y="1427"/>
                  <a:pt x="1738" y="1430"/>
                </a:cubicBezTo>
                <a:cubicBezTo>
                  <a:pt x="1734" y="1433"/>
                  <a:pt x="1730" y="1435"/>
                  <a:pt x="1726" y="1435"/>
                </a:cubicBezTo>
                <a:cubicBezTo>
                  <a:pt x="1722" y="1436"/>
                  <a:pt x="1718" y="1436"/>
                  <a:pt x="1715" y="1435"/>
                </a:cubicBezTo>
                <a:cubicBezTo>
                  <a:pt x="1712" y="1434"/>
                  <a:pt x="1709" y="1432"/>
                  <a:pt x="1707" y="1430"/>
                </a:cubicBezTo>
                <a:cubicBezTo>
                  <a:pt x="1705" y="1428"/>
                  <a:pt x="1704" y="1426"/>
                  <a:pt x="1703" y="1425"/>
                </a:cubicBezTo>
                <a:cubicBezTo>
                  <a:pt x="1702" y="1423"/>
                  <a:pt x="1701" y="1421"/>
                  <a:pt x="1700" y="1419"/>
                </a:cubicBezTo>
                <a:cubicBezTo>
                  <a:pt x="1700" y="1416"/>
                  <a:pt x="1699" y="1414"/>
                  <a:pt x="1699" y="1412"/>
                </a:cubicBezTo>
                <a:cubicBezTo>
                  <a:pt x="1699" y="1409"/>
                  <a:pt x="1699" y="1407"/>
                  <a:pt x="1700" y="1404"/>
                </a:cubicBezTo>
                <a:cubicBezTo>
                  <a:pt x="1696" y="1405"/>
                  <a:pt x="1693" y="1405"/>
                  <a:pt x="1690" y="1405"/>
                </a:cubicBezTo>
                <a:cubicBezTo>
                  <a:pt x="1687" y="1404"/>
                  <a:pt x="1684" y="1403"/>
                  <a:pt x="1682" y="1401"/>
                </a:cubicBezTo>
                <a:cubicBezTo>
                  <a:pt x="1679" y="1398"/>
                  <a:pt x="1677" y="1394"/>
                  <a:pt x="1676" y="1391"/>
                </a:cubicBezTo>
                <a:cubicBezTo>
                  <a:pt x="1675" y="1387"/>
                  <a:pt x="1675" y="1384"/>
                  <a:pt x="1675" y="1380"/>
                </a:cubicBezTo>
                <a:cubicBezTo>
                  <a:pt x="1671" y="1380"/>
                  <a:pt x="1668" y="1379"/>
                  <a:pt x="1665" y="1378"/>
                </a:cubicBezTo>
                <a:cubicBezTo>
                  <a:pt x="1662" y="1376"/>
                  <a:pt x="1659" y="1374"/>
                  <a:pt x="1656" y="1371"/>
                </a:cubicBezTo>
                <a:cubicBezTo>
                  <a:pt x="1652" y="1367"/>
                  <a:pt x="1649" y="1363"/>
                  <a:pt x="1648" y="1359"/>
                </a:cubicBezTo>
                <a:cubicBezTo>
                  <a:pt x="1646" y="1355"/>
                  <a:pt x="1645" y="1351"/>
                  <a:pt x="1645" y="1347"/>
                </a:cubicBezTo>
                <a:cubicBezTo>
                  <a:pt x="1646" y="1342"/>
                  <a:pt x="1647" y="1338"/>
                  <a:pt x="1649" y="1334"/>
                </a:cubicBezTo>
                <a:cubicBezTo>
                  <a:pt x="1651" y="1330"/>
                  <a:pt x="1654" y="1326"/>
                  <a:pt x="1657" y="1322"/>
                </a:cubicBezTo>
                <a:cubicBezTo>
                  <a:pt x="1659" y="1320"/>
                  <a:pt x="1661" y="1319"/>
                  <a:pt x="1663" y="1317"/>
                </a:cubicBezTo>
                <a:cubicBezTo>
                  <a:pt x="1665" y="1316"/>
                  <a:pt x="1667" y="1314"/>
                  <a:pt x="1669" y="1313"/>
                </a:cubicBezTo>
                <a:lnTo>
                  <a:pt x="1688" y="1294"/>
                </a:lnTo>
                <a:cubicBezTo>
                  <a:pt x="1689" y="1293"/>
                  <a:pt x="1690" y="1293"/>
                  <a:pt x="1691" y="1293"/>
                </a:cubicBezTo>
                <a:cubicBezTo>
                  <a:pt x="1692" y="1294"/>
                  <a:pt x="1694" y="1295"/>
                  <a:pt x="1695" y="1296"/>
                </a:cubicBezTo>
                <a:close/>
                <a:moveTo>
                  <a:pt x="1694" y="1332"/>
                </a:moveTo>
                <a:cubicBezTo>
                  <a:pt x="1690" y="1327"/>
                  <a:pt x="1685" y="1325"/>
                  <a:pt x="1680" y="1325"/>
                </a:cubicBezTo>
                <a:cubicBezTo>
                  <a:pt x="1675" y="1325"/>
                  <a:pt x="1671" y="1327"/>
                  <a:pt x="1666" y="1332"/>
                </a:cubicBezTo>
                <a:cubicBezTo>
                  <a:pt x="1664" y="1334"/>
                  <a:pt x="1662" y="1336"/>
                  <a:pt x="1661" y="1339"/>
                </a:cubicBezTo>
                <a:cubicBezTo>
                  <a:pt x="1660" y="1341"/>
                  <a:pt x="1660" y="1344"/>
                  <a:pt x="1660" y="1346"/>
                </a:cubicBezTo>
                <a:cubicBezTo>
                  <a:pt x="1660" y="1349"/>
                  <a:pt x="1661" y="1351"/>
                  <a:pt x="1662" y="1353"/>
                </a:cubicBezTo>
                <a:cubicBezTo>
                  <a:pt x="1663" y="1356"/>
                  <a:pt x="1665" y="1358"/>
                  <a:pt x="1667" y="1360"/>
                </a:cubicBezTo>
                <a:cubicBezTo>
                  <a:pt x="1671" y="1364"/>
                  <a:pt x="1676" y="1366"/>
                  <a:pt x="1681" y="1366"/>
                </a:cubicBezTo>
                <a:cubicBezTo>
                  <a:pt x="1685" y="1366"/>
                  <a:pt x="1690" y="1364"/>
                  <a:pt x="1694" y="1360"/>
                </a:cubicBezTo>
                <a:cubicBezTo>
                  <a:pt x="1697" y="1357"/>
                  <a:pt x="1698" y="1355"/>
                  <a:pt x="1699" y="1352"/>
                </a:cubicBezTo>
                <a:cubicBezTo>
                  <a:pt x="1700" y="1350"/>
                  <a:pt x="1701" y="1347"/>
                  <a:pt x="1701" y="1345"/>
                </a:cubicBezTo>
                <a:cubicBezTo>
                  <a:pt x="1700" y="1343"/>
                  <a:pt x="1700" y="1340"/>
                  <a:pt x="1699" y="1338"/>
                </a:cubicBezTo>
                <a:cubicBezTo>
                  <a:pt x="1697" y="1336"/>
                  <a:pt x="1696" y="1334"/>
                  <a:pt x="1694" y="1332"/>
                </a:cubicBezTo>
                <a:close/>
                <a:moveTo>
                  <a:pt x="1751" y="1377"/>
                </a:moveTo>
                <a:cubicBezTo>
                  <a:pt x="1748" y="1374"/>
                  <a:pt x="1745" y="1373"/>
                  <a:pt x="1741" y="1374"/>
                </a:cubicBezTo>
                <a:cubicBezTo>
                  <a:pt x="1738" y="1375"/>
                  <a:pt x="1734" y="1377"/>
                  <a:pt x="1730" y="1381"/>
                </a:cubicBezTo>
                <a:lnTo>
                  <a:pt x="1712" y="1397"/>
                </a:lnTo>
                <a:cubicBezTo>
                  <a:pt x="1712" y="1400"/>
                  <a:pt x="1712" y="1402"/>
                  <a:pt x="1712" y="1404"/>
                </a:cubicBezTo>
                <a:cubicBezTo>
                  <a:pt x="1712" y="1406"/>
                  <a:pt x="1712" y="1408"/>
                  <a:pt x="1713" y="1410"/>
                </a:cubicBezTo>
                <a:cubicBezTo>
                  <a:pt x="1713" y="1411"/>
                  <a:pt x="1714" y="1412"/>
                  <a:pt x="1714" y="1414"/>
                </a:cubicBezTo>
                <a:cubicBezTo>
                  <a:pt x="1715" y="1415"/>
                  <a:pt x="1716" y="1416"/>
                  <a:pt x="1717" y="1417"/>
                </a:cubicBezTo>
                <a:cubicBezTo>
                  <a:pt x="1720" y="1420"/>
                  <a:pt x="1724" y="1421"/>
                  <a:pt x="1729" y="1419"/>
                </a:cubicBezTo>
                <a:cubicBezTo>
                  <a:pt x="1734" y="1418"/>
                  <a:pt x="1739" y="1414"/>
                  <a:pt x="1745" y="1408"/>
                </a:cubicBezTo>
                <a:cubicBezTo>
                  <a:pt x="1748" y="1405"/>
                  <a:pt x="1751" y="1401"/>
                  <a:pt x="1753" y="1398"/>
                </a:cubicBezTo>
                <a:cubicBezTo>
                  <a:pt x="1754" y="1395"/>
                  <a:pt x="1755" y="1392"/>
                  <a:pt x="1756" y="1390"/>
                </a:cubicBezTo>
                <a:cubicBezTo>
                  <a:pt x="1756" y="1387"/>
                  <a:pt x="1756" y="1385"/>
                  <a:pt x="1755" y="1383"/>
                </a:cubicBezTo>
                <a:cubicBezTo>
                  <a:pt x="1754" y="1380"/>
                  <a:pt x="1753" y="1379"/>
                  <a:pt x="1751" y="1377"/>
                </a:cubicBezTo>
                <a:close/>
                <a:moveTo>
                  <a:pt x="1748" y="1246"/>
                </a:moveTo>
                <a:cubicBezTo>
                  <a:pt x="1749" y="1247"/>
                  <a:pt x="1750" y="1248"/>
                  <a:pt x="1751" y="1249"/>
                </a:cubicBezTo>
                <a:cubicBezTo>
                  <a:pt x="1752" y="1249"/>
                  <a:pt x="1752" y="1250"/>
                  <a:pt x="1752" y="1251"/>
                </a:cubicBezTo>
                <a:cubicBezTo>
                  <a:pt x="1753" y="1251"/>
                  <a:pt x="1753" y="1252"/>
                  <a:pt x="1753" y="1252"/>
                </a:cubicBezTo>
                <a:cubicBezTo>
                  <a:pt x="1753" y="1252"/>
                  <a:pt x="1753" y="1253"/>
                  <a:pt x="1752" y="1253"/>
                </a:cubicBezTo>
                <a:cubicBezTo>
                  <a:pt x="1752" y="1254"/>
                  <a:pt x="1751" y="1254"/>
                  <a:pt x="1751" y="1254"/>
                </a:cubicBezTo>
                <a:cubicBezTo>
                  <a:pt x="1750" y="1255"/>
                  <a:pt x="1749" y="1255"/>
                  <a:pt x="1748" y="1256"/>
                </a:cubicBezTo>
                <a:cubicBezTo>
                  <a:pt x="1747" y="1256"/>
                  <a:pt x="1746" y="1257"/>
                  <a:pt x="1745" y="1257"/>
                </a:cubicBezTo>
                <a:cubicBezTo>
                  <a:pt x="1744" y="1258"/>
                  <a:pt x="1743" y="1259"/>
                  <a:pt x="1742" y="1260"/>
                </a:cubicBezTo>
                <a:cubicBezTo>
                  <a:pt x="1741" y="1261"/>
                  <a:pt x="1740" y="1262"/>
                  <a:pt x="1739" y="1264"/>
                </a:cubicBezTo>
                <a:cubicBezTo>
                  <a:pt x="1739" y="1266"/>
                  <a:pt x="1738" y="1268"/>
                  <a:pt x="1738" y="1270"/>
                </a:cubicBezTo>
                <a:cubicBezTo>
                  <a:pt x="1738" y="1272"/>
                  <a:pt x="1738" y="1275"/>
                  <a:pt x="1738" y="1278"/>
                </a:cubicBezTo>
                <a:cubicBezTo>
                  <a:pt x="1739" y="1282"/>
                  <a:pt x="1739" y="1285"/>
                  <a:pt x="1740" y="1290"/>
                </a:cubicBezTo>
                <a:lnTo>
                  <a:pt x="1783" y="1332"/>
                </a:lnTo>
                <a:cubicBezTo>
                  <a:pt x="1783" y="1333"/>
                  <a:pt x="1784" y="1333"/>
                  <a:pt x="1784" y="1333"/>
                </a:cubicBezTo>
                <a:cubicBezTo>
                  <a:pt x="1784" y="1334"/>
                  <a:pt x="1784" y="1334"/>
                  <a:pt x="1783" y="1335"/>
                </a:cubicBezTo>
                <a:cubicBezTo>
                  <a:pt x="1783" y="1336"/>
                  <a:pt x="1783" y="1336"/>
                  <a:pt x="1782" y="1337"/>
                </a:cubicBezTo>
                <a:cubicBezTo>
                  <a:pt x="1781" y="1338"/>
                  <a:pt x="1780" y="1339"/>
                  <a:pt x="1779" y="1340"/>
                </a:cubicBezTo>
                <a:cubicBezTo>
                  <a:pt x="1778" y="1341"/>
                  <a:pt x="1777" y="1342"/>
                  <a:pt x="1776" y="1343"/>
                </a:cubicBezTo>
                <a:cubicBezTo>
                  <a:pt x="1775" y="1344"/>
                  <a:pt x="1775" y="1344"/>
                  <a:pt x="1774" y="1344"/>
                </a:cubicBezTo>
                <a:cubicBezTo>
                  <a:pt x="1773" y="1345"/>
                  <a:pt x="1773" y="1345"/>
                  <a:pt x="1772" y="1345"/>
                </a:cubicBezTo>
                <a:cubicBezTo>
                  <a:pt x="1772" y="1345"/>
                  <a:pt x="1771" y="1344"/>
                  <a:pt x="1771" y="1344"/>
                </a:cubicBezTo>
                <a:lnTo>
                  <a:pt x="1706" y="1279"/>
                </a:lnTo>
                <a:cubicBezTo>
                  <a:pt x="1706" y="1279"/>
                  <a:pt x="1706" y="1279"/>
                  <a:pt x="1706" y="1278"/>
                </a:cubicBezTo>
                <a:cubicBezTo>
                  <a:pt x="1706" y="1278"/>
                  <a:pt x="1706" y="1277"/>
                  <a:pt x="1706" y="1277"/>
                </a:cubicBezTo>
                <a:cubicBezTo>
                  <a:pt x="1706" y="1276"/>
                  <a:pt x="1706" y="1275"/>
                  <a:pt x="1707" y="1274"/>
                </a:cubicBezTo>
                <a:cubicBezTo>
                  <a:pt x="1708" y="1274"/>
                  <a:pt x="1708" y="1273"/>
                  <a:pt x="1710" y="1272"/>
                </a:cubicBezTo>
                <a:cubicBezTo>
                  <a:pt x="1711" y="1271"/>
                  <a:pt x="1712" y="1270"/>
                  <a:pt x="1712" y="1269"/>
                </a:cubicBezTo>
                <a:cubicBezTo>
                  <a:pt x="1713" y="1269"/>
                  <a:pt x="1714" y="1268"/>
                  <a:pt x="1714" y="1268"/>
                </a:cubicBezTo>
                <a:cubicBezTo>
                  <a:pt x="1715" y="1268"/>
                  <a:pt x="1715" y="1268"/>
                  <a:pt x="1716" y="1268"/>
                </a:cubicBezTo>
                <a:cubicBezTo>
                  <a:pt x="1716" y="1268"/>
                  <a:pt x="1717" y="1268"/>
                  <a:pt x="1717" y="1269"/>
                </a:cubicBezTo>
                <a:lnTo>
                  <a:pt x="1727" y="1278"/>
                </a:lnTo>
                <a:cubicBezTo>
                  <a:pt x="1726" y="1274"/>
                  <a:pt x="1725" y="1270"/>
                  <a:pt x="1725" y="1267"/>
                </a:cubicBezTo>
                <a:cubicBezTo>
                  <a:pt x="1725" y="1264"/>
                  <a:pt x="1725" y="1261"/>
                  <a:pt x="1726" y="1258"/>
                </a:cubicBezTo>
                <a:cubicBezTo>
                  <a:pt x="1726" y="1256"/>
                  <a:pt x="1727" y="1254"/>
                  <a:pt x="1728" y="1252"/>
                </a:cubicBezTo>
                <a:cubicBezTo>
                  <a:pt x="1729" y="1251"/>
                  <a:pt x="1730" y="1249"/>
                  <a:pt x="1732" y="1248"/>
                </a:cubicBezTo>
                <a:cubicBezTo>
                  <a:pt x="1732" y="1247"/>
                  <a:pt x="1733" y="1246"/>
                  <a:pt x="1734" y="1246"/>
                </a:cubicBezTo>
                <a:cubicBezTo>
                  <a:pt x="1735" y="1245"/>
                  <a:pt x="1736" y="1244"/>
                  <a:pt x="1737" y="1244"/>
                </a:cubicBezTo>
                <a:cubicBezTo>
                  <a:pt x="1738" y="1243"/>
                  <a:pt x="1739" y="1242"/>
                  <a:pt x="1740" y="1242"/>
                </a:cubicBezTo>
                <a:cubicBezTo>
                  <a:pt x="1741" y="1242"/>
                  <a:pt x="1741" y="1241"/>
                  <a:pt x="1742" y="1241"/>
                </a:cubicBezTo>
                <a:cubicBezTo>
                  <a:pt x="1742" y="1241"/>
                  <a:pt x="1743" y="1241"/>
                  <a:pt x="1743" y="1241"/>
                </a:cubicBezTo>
                <a:cubicBezTo>
                  <a:pt x="1743" y="1241"/>
                  <a:pt x="1744" y="1242"/>
                  <a:pt x="1744" y="1242"/>
                </a:cubicBezTo>
                <a:cubicBezTo>
                  <a:pt x="1745" y="1242"/>
                  <a:pt x="1745" y="1243"/>
                  <a:pt x="1746" y="1243"/>
                </a:cubicBezTo>
                <a:cubicBezTo>
                  <a:pt x="1746" y="1244"/>
                  <a:pt x="1747" y="1245"/>
                  <a:pt x="1748" y="1246"/>
                </a:cubicBezTo>
                <a:close/>
                <a:moveTo>
                  <a:pt x="1876" y="1239"/>
                </a:moveTo>
                <a:cubicBezTo>
                  <a:pt x="1877" y="1239"/>
                  <a:pt x="1877" y="1240"/>
                  <a:pt x="1877" y="1241"/>
                </a:cubicBezTo>
                <a:cubicBezTo>
                  <a:pt x="1877" y="1241"/>
                  <a:pt x="1877" y="1242"/>
                  <a:pt x="1876" y="1243"/>
                </a:cubicBezTo>
                <a:cubicBezTo>
                  <a:pt x="1876" y="1244"/>
                  <a:pt x="1875" y="1245"/>
                  <a:pt x="1873" y="1246"/>
                </a:cubicBezTo>
                <a:cubicBezTo>
                  <a:pt x="1872" y="1247"/>
                  <a:pt x="1871" y="1248"/>
                  <a:pt x="1870" y="1249"/>
                </a:cubicBezTo>
                <a:cubicBezTo>
                  <a:pt x="1869" y="1249"/>
                  <a:pt x="1869" y="1250"/>
                  <a:pt x="1868" y="1250"/>
                </a:cubicBezTo>
                <a:cubicBezTo>
                  <a:pt x="1867" y="1250"/>
                  <a:pt x="1867" y="1250"/>
                  <a:pt x="1866" y="1249"/>
                </a:cubicBezTo>
                <a:lnTo>
                  <a:pt x="1860" y="1243"/>
                </a:lnTo>
                <a:cubicBezTo>
                  <a:pt x="1860" y="1248"/>
                  <a:pt x="1859" y="1254"/>
                  <a:pt x="1857" y="1259"/>
                </a:cubicBezTo>
                <a:cubicBezTo>
                  <a:pt x="1856" y="1264"/>
                  <a:pt x="1853" y="1269"/>
                  <a:pt x="1849" y="1273"/>
                </a:cubicBezTo>
                <a:cubicBezTo>
                  <a:pt x="1845" y="1276"/>
                  <a:pt x="1842" y="1279"/>
                  <a:pt x="1838" y="1280"/>
                </a:cubicBezTo>
                <a:cubicBezTo>
                  <a:pt x="1835" y="1282"/>
                  <a:pt x="1831" y="1283"/>
                  <a:pt x="1827" y="1284"/>
                </a:cubicBezTo>
                <a:cubicBezTo>
                  <a:pt x="1824" y="1284"/>
                  <a:pt x="1820" y="1283"/>
                  <a:pt x="1817" y="1282"/>
                </a:cubicBezTo>
                <a:cubicBezTo>
                  <a:pt x="1813" y="1281"/>
                  <a:pt x="1810" y="1278"/>
                  <a:pt x="1807" y="1275"/>
                </a:cubicBezTo>
                <a:cubicBezTo>
                  <a:pt x="1803" y="1272"/>
                  <a:pt x="1801" y="1268"/>
                  <a:pt x="1799" y="1264"/>
                </a:cubicBezTo>
                <a:cubicBezTo>
                  <a:pt x="1798" y="1259"/>
                  <a:pt x="1798" y="1255"/>
                  <a:pt x="1799" y="1250"/>
                </a:cubicBezTo>
                <a:cubicBezTo>
                  <a:pt x="1800" y="1246"/>
                  <a:pt x="1802" y="1241"/>
                  <a:pt x="1805" y="1236"/>
                </a:cubicBezTo>
                <a:cubicBezTo>
                  <a:pt x="1809" y="1231"/>
                  <a:pt x="1813" y="1226"/>
                  <a:pt x="1818" y="1221"/>
                </a:cubicBezTo>
                <a:lnTo>
                  <a:pt x="1827" y="1213"/>
                </a:lnTo>
                <a:lnTo>
                  <a:pt x="1822" y="1207"/>
                </a:lnTo>
                <a:cubicBezTo>
                  <a:pt x="1819" y="1205"/>
                  <a:pt x="1817" y="1203"/>
                  <a:pt x="1814" y="1202"/>
                </a:cubicBezTo>
                <a:cubicBezTo>
                  <a:pt x="1812" y="1200"/>
                  <a:pt x="1809" y="1200"/>
                  <a:pt x="1807" y="1199"/>
                </a:cubicBezTo>
                <a:cubicBezTo>
                  <a:pt x="1804" y="1199"/>
                  <a:pt x="1802" y="1200"/>
                  <a:pt x="1799" y="1201"/>
                </a:cubicBezTo>
                <a:cubicBezTo>
                  <a:pt x="1797" y="1202"/>
                  <a:pt x="1794" y="1204"/>
                  <a:pt x="1792" y="1207"/>
                </a:cubicBezTo>
                <a:cubicBezTo>
                  <a:pt x="1789" y="1210"/>
                  <a:pt x="1786" y="1213"/>
                  <a:pt x="1785" y="1216"/>
                </a:cubicBezTo>
                <a:cubicBezTo>
                  <a:pt x="1783" y="1219"/>
                  <a:pt x="1782" y="1222"/>
                  <a:pt x="1781" y="1224"/>
                </a:cubicBezTo>
                <a:cubicBezTo>
                  <a:pt x="1780" y="1227"/>
                  <a:pt x="1779" y="1229"/>
                  <a:pt x="1779" y="1231"/>
                </a:cubicBezTo>
                <a:cubicBezTo>
                  <a:pt x="1778" y="1233"/>
                  <a:pt x="1778" y="1234"/>
                  <a:pt x="1777" y="1235"/>
                </a:cubicBezTo>
                <a:cubicBezTo>
                  <a:pt x="1777" y="1235"/>
                  <a:pt x="1776" y="1235"/>
                  <a:pt x="1776" y="1235"/>
                </a:cubicBezTo>
                <a:cubicBezTo>
                  <a:pt x="1775" y="1236"/>
                  <a:pt x="1775" y="1235"/>
                  <a:pt x="1774" y="1235"/>
                </a:cubicBezTo>
                <a:cubicBezTo>
                  <a:pt x="1774" y="1235"/>
                  <a:pt x="1773" y="1235"/>
                  <a:pt x="1772" y="1234"/>
                </a:cubicBezTo>
                <a:cubicBezTo>
                  <a:pt x="1772" y="1234"/>
                  <a:pt x="1771" y="1233"/>
                  <a:pt x="1770" y="1232"/>
                </a:cubicBezTo>
                <a:cubicBezTo>
                  <a:pt x="1769" y="1231"/>
                  <a:pt x="1768" y="1230"/>
                  <a:pt x="1768" y="1229"/>
                </a:cubicBezTo>
                <a:cubicBezTo>
                  <a:pt x="1767" y="1229"/>
                  <a:pt x="1767" y="1227"/>
                  <a:pt x="1767" y="1226"/>
                </a:cubicBezTo>
                <a:cubicBezTo>
                  <a:pt x="1767" y="1225"/>
                  <a:pt x="1767" y="1223"/>
                  <a:pt x="1768" y="1221"/>
                </a:cubicBezTo>
                <a:cubicBezTo>
                  <a:pt x="1769" y="1218"/>
                  <a:pt x="1770" y="1216"/>
                  <a:pt x="1771" y="1213"/>
                </a:cubicBezTo>
                <a:cubicBezTo>
                  <a:pt x="1773" y="1210"/>
                  <a:pt x="1774" y="1207"/>
                  <a:pt x="1776" y="1204"/>
                </a:cubicBezTo>
                <a:cubicBezTo>
                  <a:pt x="1778" y="1202"/>
                  <a:pt x="1780" y="1199"/>
                  <a:pt x="1783" y="1196"/>
                </a:cubicBezTo>
                <a:cubicBezTo>
                  <a:pt x="1788" y="1192"/>
                  <a:pt x="1792" y="1188"/>
                  <a:pt x="1796" y="1186"/>
                </a:cubicBezTo>
                <a:cubicBezTo>
                  <a:pt x="1801" y="1184"/>
                  <a:pt x="1805" y="1183"/>
                  <a:pt x="1809" y="1183"/>
                </a:cubicBezTo>
                <a:cubicBezTo>
                  <a:pt x="1813" y="1183"/>
                  <a:pt x="1817" y="1184"/>
                  <a:pt x="1821" y="1186"/>
                </a:cubicBezTo>
                <a:cubicBezTo>
                  <a:pt x="1825" y="1188"/>
                  <a:pt x="1829" y="1191"/>
                  <a:pt x="1833" y="1195"/>
                </a:cubicBezTo>
                <a:lnTo>
                  <a:pt x="1876" y="1239"/>
                </a:lnTo>
                <a:close/>
                <a:moveTo>
                  <a:pt x="1835" y="1221"/>
                </a:moveTo>
                <a:lnTo>
                  <a:pt x="1825" y="1231"/>
                </a:lnTo>
                <a:cubicBezTo>
                  <a:pt x="1822" y="1234"/>
                  <a:pt x="1819" y="1238"/>
                  <a:pt x="1817" y="1240"/>
                </a:cubicBezTo>
                <a:cubicBezTo>
                  <a:pt x="1815" y="1243"/>
                  <a:pt x="1814" y="1246"/>
                  <a:pt x="1814" y="1249"/>
                </a:cubicBezTo>
                <a:cubicBezTo>
                  <a:pt x="1813" y="1252"/>
                  <a:pt x="1813" y="1254"/>
                  <a:pt x="1814" y="1256"/>
                </a:cubicBezTo>
                <a:cubicBezTo>
                  <a:pt x="1815" y="1258"/>
                  <a:pt x="1816" y="1261"/>
                  <a:pt x="1818" y="1263"/>
                </a:cubicBezTo>
                <a:cubicBezTo>
                  <a:pt x="1822" y="1266"/>
                  <a:pt x="1825" y="1268"/>
                  <a:pt x="1829" y="1267"/>
                </a:cubicBezTo>
                <a:cubicBezTo>
                  <a:pt x="1834" y="1267"/>
                  <a:pt x="1838" y="1265"/>
                  <a:pt x="1841" y="1261"/>
                </a:cubicBezTo>
                <a:cubicBezTo>
                  <a:pt x="1845" y="1258"/>
                  <a:pt x="1847" y="1255"/>
                  <a:pt x="1848" y="1250"/>
                </a:cubicBezTo>
                <a:cubicBezTo>
                  <a:pt x="1849" y="1246"/>
                  <a:pt x="1849" y="1241"/>
                  <a:pt x="1849" y="1235"/>
                </a:cubicBezTo>
                <a:lnTo>
                  <a:pt x="1835" y="1221"/>
                </a:lnTo>
                <a:close/>
                <a:moveTo>
                  <a:pt x="1924" y="1181"/>
                </a:moveTo>
                <a:cubicBezTo>
                  <a:pt x="1926" y="1183"/>
                  <a:pt x="1927" y="1184"/>
                  <a:pt x="1927" y="1185"/>
                </a:cubicBezTo>
                <a:cubicBezTo>
                  <a:pt x="1928" y="1186"/>
                  <a:pt x="1928" y="1187"/>
                  <a:pt x="1928" y="1187"/>
                </a:cubicBezTo>
                <a:cubicBezTo>
                  <a:pt x="1928" y="1188"/>
                  <a:pt x="1928" y="1189"/>
                  <a:pt x="1928" y="1190"/>
                </a:cubicBezTo>
                <a:cubicBezTo>
                  <a:pt x="1927" y="1191"/>
                  <a:pt x="1927" y="1192"/>
                  <a:pt x="1926" y="1194"/>
                </a:cubicBezTo>
                <a:cubicBezTo>
                  <a:pt x="1925" y="1195"/>
                  <a:pt x="1924" y="1196"/>
                  <a:pt x="1923" y="1197"/>
                </a:cubicBezTo>
                <a:cubicBezTo>
                  <a:pt x="1922" y="1199"/>
                  <a:pt x="1921" y="1200"/>
                  <a:pt x="1920" y="1201"/>
                </a:cubicBezTo>
                <a:cubicBezTo>
                  <a:pt x="1917" y="1204"/>
                  <a:pt x="1914" y="1207"/>
                  <a:pt x="1910" y="1208"/>
                </a:cubicBezTo>
                <a:cubicBezTo>
                  <a:pt x="1907" y="1210"/>
                  <a:pt x="1904" y="1210"/>
                  <a:pt x="1900" y="1210"/>
                </a:cubicBezTo>
                <a:cubicBezTo>
                  <a:pt x="1897" y="1210"/>
                  <a:pt x="1894" y="1209"/>
                  <a:pt x="1890" y="1207"/>
                </a:cubicBezTo>
                <a:cubicBezTo>
                  <a:pt x="1887" y="1204"/>
                  <a:pt x="1883" y="1202"/>
                  <a:pt x="1879" y="1198"/>
                </a:cubicBezTo>
                <a:lnTo>
                  <a:pt x="1842" y="1160"/>
                </a:lnTo>
                <a:lnTo>
                  <a:pt x="1833" y="1169"/>
                </a:lnTo>
                <a:cubicBezTo>
                  <a:pt x="1832" y="1170"/>
                  <a:pt x="1831" y="1170"/>
                  <a:pt x="1830" y="1170"/>
                </a:cubicBezTo>
                <a:cubicBezTo>
                  <a:pt x="1829" y="1169"/>
                  <a:pt x="1827" y="1168"/>
                  <a:pt x="1825" y="1167"/>
                </a:cubicBezTo>
                <a:cubicBezTo>
                  <a:pt x="1824" y="1166"/>
                  <a:pt x="1824" y="1165"/>
                  <a:pt x="1823" y="1164"/>
                </a:cubicBezTo>
                <a:cubicBezTo>
                  <a:pt x="1823" y="1163"/>
                  <a:pt x="1822" y="1163"/>
                  <a:pt x="1822" y="1162"/>
                </a:cubicBezTo>
                <a:cubicBezTo>
                  <a:pt x="1822" y="1162"/>
                  <a:pt x="1822" y="1161"/>
                  <a:pt x="1822" y="1160"/>
                </a:cubicBezTo>
                <a:cubicBezTo>
                  <a:pt x="1822" y="1160"/>
                  <a:pt x="1822" y="1160"/>
                  <a:pt x="1823" y="1159"/>
                </a:cubicBezTo>
                <a:lnTo>
                  <a:pt x="1832" y="1150"/>
                </a:lnTo>
                <a:lnTo>
                  <a:pt x="1816" y="1135"/>
                </a:lnTo>
                <a:cubicBezTo>
                  <a:pt x="1816" y="1135"/>
                  <a:pt x="1816" y="1134"/>
                  <a:pt x="1816" y="1134"/>
                </a:cubicBezTo>
                <a:cubicBezTo>
                  <a:pt x="1816" y="1133"/>
                  <a:pt x="1816" y="1133"/>
                  <a:pt x="1816" y="1132"/>
                </a:cubicBezTo>
                <a:cubicBezTo>
                  <a:pt x="1816" y="1131"/>
                  <a:pt x="1817" y="1131"/>
                  <a:pt x="1817" y="1130"/>
                </a:cubicBezTo>
                <a:cubicBezTo>
                  <a:pt x="1818" y="1129"/>
                  <a:pt x="1819" y="1128"/>
                  <a:pt x="1820" y="1127"/>
                </a:cubicBezTo>
                <a:cubicBezTo>
                  <a:pt x="1821" y="1125"/>
                  <a:pt x="1822" y="1125"/>
                  <a:pt x="1823" y="1124"/>
                </a:cubicBezTo>
                <a:cubicBezTo>
                  <a:pt x="1824" y="1123"/>
                  <a:pt x="1825" y="1123"/>
                  <a:pt x="1825" y="1123"/>
                </a:cubicBezTo>
                <a:cubicBezTo>
                  <a:pt x="1826" y="1122"/>
                  <a:pt x="1827" y="1122"/>
                  <a:pt x="1827" y="1122"/>
                </a:cubicBezTo>
                <a:cubicBezTo>
                  <a:pt x="1828" y="1122"/>
                  <a:pt x="1828" y="1123"/>
                  <a:pt x="1828" y="1123"/>
                </a:cubicBezTo>
                <a:lnTo>
                  <a:pt x="1844" y="1138"/>
                </a:lnTo>
                <a:lnTo>
                  <a:pt x="1860" y="1122"/>
                </a:lnTo>
                <a:cubicBezTo>
                  <a:pt x="1861" y="1121"/>
                  <a:pt x="1861" y="1121"/>
                  <a:pt x="1862" y="1121"/>
                </a:cubicBezTo>
                <a:cubicBezTo>
                  <a:pt x="1862" y="1121"/>
                  <a:pt x="1863" y="1121"/>
                  <a:pt x="1863" y="1121"/>
                </a:cubicBezTo>
                <a:cubicBezTo>
                  <a:pt x="1864" y="1121"/>
                  <a:pt x="1864" y="1122"/>
                  <a:pt x="1865" y="1122"/>
                </a:cubicBezTo>
                <a:cubicBezTo>
                  <a:pt x="1866" y="1123"/>
                  <a:pt x="1867" y="1123"/>
                  <a:pt x="1868" y="1124"/>
                </a:cubicBezTo>
                <a:cubicBezTo>
                  <a:pt x="1869" y="1126"/>
                  <a:pt x="1870" y="1128"/>
                  <a:pt x="1871" y="1129"/>
                </a:cubicBezTo>
                <a:cubicBezTo>
                  <a:pt x="1871" y="1130"/>
                  <a:pt x="1871" y="1131"/>
                  <a:pt x="1870" y="1132"/>
                </a:cubicBezTo>
                <a:lnTo>
                  <a:pt x="1853" y="1148"/>
                </a:lnTo>
                <a:lnTo>
                  <a:pt x="1890" y="1184"/>
                </a:lnTo>
                <a:cubicBezTo>
                  <a:pt x="1894" y="1189"/>
                  <a:pt x="1898" y="1191"/>
                  <a:pt x="1902" y="1192"/>
                </a:cubicBezTo>
                <a:cubicBezTo>
                  <a:pt x="1905" y="1193"/>
                  <a:pt x="1909" y="1192"/>
                  <a:pt x="1912" y="1189"/>
                </a:cubicBezTo>
                <a:cubicBezTo>
                  <a:pt x="1913" y="1188"/>
                  <a:pt x="1914" y="1187"/>
                  <a:pt x="1915" y="1185"/>
                </a:cubicBezTo>
                <a:cubicBezTo>
                  <a:pt x="1915" y="1184"/>
                  <a:pt x="1916" y="1183"/>
                  <a:pt x="1916" y="1182"/>
                </a:cubicBezTo>
                <a:cubicBezTo>
                  <a:pt x="1917" y="1182"/>
                  <a:pt x="1917" y="1181"/>
                  <a:pt x="1917" y="1180"/>
                </a:cubicBezTo>
                <a:cubicBezTo>
                  <a:pt x="1918" y="1179"/>
                  <a:pt x="1918" y="1179"/>
                  <a:pt x="1918" y="1178"/>
                </a:cubicBezTo>
                <a:cubicBezTo>
                  <a:pt x="1919" y="1178"/>
                  <a:pt x="1919" y="1178"/>
                  <a:pt x="1919" y="1178"/>
                </a:cubicBezTo>
                <a:cubicBezTo>
                  <a:pt x="1920" y="1178"/>
                  <a:pt x="1920" y="1178"/>
                  <a:pt x="1920" y="1178"/>
                </a:cubicBezTo>
                <a:cubicBezTo>
                  <a:pt x="1921" y="1178"/>
                  <a:pt x="1921" y="1179"/>
                  <a:pt x="1922" y="1179"/>
                </a:cubicBezTo>
                <a:cubicBezTo>
                  <a:pt x="1923" y="1180"/>
                  <a:pt x="1924" y="1180"/>
                  <a:pt x="1924" y="1181"/>
                </a:cubicBezTo>
                <a:close/>
                <a:moveTo>
                  <a:pt x="1953" y="1162"/>
                </a:moveTo>
                <a:cubicBezTo>
                  <a:pt x="1953" y="1163"/>
                  <a:pt x="1953" y="1163"/>
                  <a:pt x="1953" y="1164"/>
                </a:cubicBezTo>
                <a:cubicBezTo>
                  <a:pt x="1953" y="1164"/>
                  <a:pt x="1953" y="1165"/>
                  <a:pt x="1953" y="1165"/>
                </a:cubicBezTo>
                <a:cubicBezTo>
                  <a:pt x="1953" y="1166"/>
                  <a:pt x="1952" y="1167"/>
                  <a:pt x="1952" y="1168"/>
                </a:cubicBezTo>
                <a:cubicBezTo>
                  <a:pt x="1951" y="1168"/>
                  <a:pt x="1950" y="1169"/>
                  <a:pt x="1949" y="1171"/>
                </a:cubicBezTo>
                <a:cubicBezTo>
                  <a:pt x="1948" y="1172"/>
                  <a:pt x="1947" y="1173"/>
                  <a:pt x="1946" y="1173"/>
                </a:cubicBezTo>
                <a:cubicBezTo>
                  <a:pt x="1945" y="1174"/>
                  <a:pt x="1944" y="1174"/>
                  <a:pt x="1944" y="1175"/>
                </a:cubicBezTo>
                <a:cubicBezTo>
                  <a:pt x="1943" y="1175"/>
                  <a:pt x="1942" y="1175"/>
                  <a:pt x="1942" y="1175"/>
                </a:cubicBezTo>
                <a:cubicBezTo>
                  <a:pt x="1942" y="1175"/>
                  <a:pt x="1941" y="1175"/>
                  <a:pt x="1941" y="1174"/>
                </a:cubicBezTo>
                <a:lnTo>
                  <a:pt x="1876" y="1110"/>
                </a:lnTo>
                <a:cubicBezTo>
                  <a:pt x="1876" y="1109"/>
                  <a:pt x="1876" y="1109"/>
                  <a:pt x="1875" y="1108"/>
                </a:cubicBezTo>
                <a:cubicBezTo>
                  <a:pt x="1875" y="1108"/>
                  <a:pt x="1875" y="1107"/>
                  <a:pt x="1876" y="1107"/>
                </a:cubicBezTo>
                <a:cubicBezTo>
                  <a:pt x="1876" y="1106"/>
                  <a:pt x="1876" y="1105"/>
                  <a:pt x="1877" y="1105"/>
                </a:cubicBezTo>
                <a:cubicBezTo>
                  <a:pt x="1878" y="1104"/>
                  <a:pt x="1879" y="1103"/>
                  <a:pt x="1880" y="1102"/>
                </a:cubicBezTo>
                <a:cubicBezTo>
                  <a:pt x="1881" y="1100"/>
                  <a:pt x="1882" y="1099"/>
                  <a:pt x="1883" y="1099"/>
                </a:cubicBezTo>
                <a:cubicBezTo>
                  <a:pt x="1884" y="1098"/>
                  <a:pt x="1884" y="1098"/>
                  <a:pt x="1885" y="1097"/>
                </a:cubicBezTo>
                <a:cubicBezTo>
                  <a:pt x="1886" y="1097"/>
                  <a:pt x="1886" y="1097"/>
                  <a:pt x="1887" y="1097"/>
                </a:cubicBezTo>
                <a:cubicBezTo>
                  <a:pt x="1887" y="1097"/>
                  <a:pt x="1888" y="1097"/>
                  <a:pt x="1888" y="1098"/>
                </a:cubicBezTo>
                <a:lnTo>
                  <a:pt x="1953" y="1162"/>
                </a:lnTo>
                <a:close/>
                <a:moveTo>
                  <a:pt x="1868" y="1075"/>
                </a:moveTo>
                <a:cubicBezTo>
                  <a:pt x="1870" y="1077"/>
                  <a:pt x="1872" y="1080"/>
                  <a:pt x="1872" y="1082"/>
                </a:cubicBezTo>
                <a:cubicBezTo>
                  <a:pt x="1872" y="1084"/>
                  <a:pt x="1870" y="1086"/>
                  <a:pt x="1867" y="1089"/>
                </a:cubicBezTo>
                <a:cubicBezTo>
                  <a:pt x="1865" y="1092"/>
                  <a:pt x="1862" y="1093"/>
                  <a:pt x="1860" y="1093"/>
                </a:cubicBezTo>
                <a:cubicBezTo>
                  <a:pt x="1858" y="1093"/>
                  <a:pt x="1856" y="1092"/>
                  <a:pt x="1853" y="1089"/>
                </a:cubicBezTo>
                <a:cubicBezTo>
                  <a:pt x="1850" y="1087"/>
                  <a:pt x="1849" y="1084"/>
                  <a:pt x="1849" y="1082"/>
                </a:cubicBezTo>
                <a:cubicBezTo>
                  <a:pt x="1849" y="1080"/>
                  <a:pt x="1850" y="1078"/>
                  <a:pt x="1853" y="1075"/>
                </a:cubicBezTo>
                <a:cubicBezTo>
                  <a:pt x="1856" y="1072"/>
                  <a:pt x="1858" y="1071"/>
                  <a:pt x="1860" y="1071"/>
                </a:cubicBezTo>
                <a:cubicBezTo>
                  <a:pt x="1862" y="1071"/>
                  <a:pt x="1865" y="1072"/>
                  <a:pt x="1868" y="1075"/>
                </a:cubicBezTo>
                <a:close/>
                <a:moveTo>
                  <a:pt x="2002" y="1047"/>
                </a:moveTo>
                <a:cubicBezTo>
                  <a:pt x="2007" y="1052"/>
                  <a:pt x="2011" y="1058"/>
                  <a:pt x="2014" y="1064"/>
                </a:cubicBezTo>
                <a:cubicBezTo>
                  <a:pt x="2017" y="1070"/>
                  <a:pt x="2019" y="1076"/>
                  <a:pt x="2019" y="1081"/>
                </a:cubicBezTo>
                <a:cubicBezTo>
                  <a:pt x="2020" y="1087"/>
                  <a:pt x="2019" y="1093"/>
                  <a:pt x="2017" y="1099"/>
                </a:cubicBezTo>
                <a:cubicBezTo>
                  <a:pt x="2014" y="1105"/>
                  <a:pt x="2010" y="1111"/>
                  <a:pt x="2005" y="1116"/>
                </a:cubicBezTo>
                <a:cubicBezTo>
                  <a:pt x="2000" y="1122"/>
                  <a:pt x="1994" y="1126"/>
                  <a:pt x="1989" y="1128"/>
                </a:cubicBezTo>
                <a:cubicBezTo>
                  <a:pt x="1983" y="1130"/>
                  <a:pt x="1978" y="1131"/>
                  <a:pt x="1972" y="1131"/>
                </a:cubicBezTo>
                <a:cubicBezTo>
                  <a:pt x="1966" y="1131"/>
                  <a:pt x="1961" y="1129"/>
                  <a:pt x="1955" y="1126"/>
                </a:cubicBezTo>
                <a:cubicBezTo>
                  <a:pt x="1949" y="1123"/>
                  <a:pt x="1944" y="1119"/>
                  <a:pt x="1938" y="1113"/>
                </a:cubicBezTo>
                <a:cubicBezTo>
                  <a:pt x="1933" y="1108"/>
                  <a:pt x="1929" y="1102"/>
                  <a:pt x="1926" y="1097"/>
                </a:cubicBezTo>
                <a:cubicBezTo>
                  <a:pt x="1923" y="1091"/>
                  <a:pt x="1921" y="1085"/>
                  <a:pt x="1921" y="1079"/>
                </a:cubicBezTo>
                <a:cubicBezTo>
                  <a:pt x="1920" y="1073"/>
                  <a:pt x="1921" y="1067"/>
                  <a:pt x="1924" y="1061"/>
                </a:cubicBezTo>
                <a:cubicBezTo>
                  <a:pt x="1926" y="1055"/>
                  <a:pt x="1930" y="1050"/>
                  <a:pt x="1935" y="1044"/>
                </a:cubicBezTo>
                <a:cubicBezTo>
                  <a:pt x="1941" y="1039"/>
                  <a:pt x="1946" y="1035"/>
                  <a:pt x="1952" y="1033"/>
                </a:cubicBezTo>
                <a:cubicBezTo>
                  <a:pt x="1957" y="1030"/>
                  <a:pt x="1963" y="1029"/>
                  <a:pt x="1968" y="1030"/>
                </a:cubicBezTo>
                <a:cubicBezTo>
                  <a:pt x="1974" y="1030"/>
                  <a:pt x="1980" y="1032"/>
                  <a:pt x="1985" y="1035"/>
                </a:cubicBezTo>
                <a:cubicBezTo>
                  <a:pt x="1991" y="1038"/>
                  <a:pt x="1996" y="1042"/>
                  <a:pt x="2002" y="1047"/>
                </a:cubicBezTo>
                <a:close/>
                <a:moveTo>
                  <a:pt x="1990" y="1060"/>
                </a:moveTo>
                <a:cubicBezTo>
                  <a:pt x="1987" y="1057"/>
                  <a:pt x="1983" y="1054"/>
                  <a:pt x="1979" y="1051"/>
                </a:cubicBezTo>
                <a:cubicBezTo>
                  <a:pt x="1976" y="1049"/>
                  <a:pt x="1972" y="1047"/>
                  <a:pt x="1968" y="1046"/>
                </a:cubicBezTo>
                <a:cubicBezTo>
                  <a:pt x="1964" y="1046"/>
                  <a:pt x="1960" y="1046"/>
                  <a:pt x="1956" y="1047"/>
                </a:cubicBezTo>
                <a:cubicBezTo>
                  <a:pt x="1952" y="1048"/>
                  <a:pt x="1949" y="1051"/>
                  <a:pt x="1945" y="1054"/>
                </a:cubicBezTo>
                <a:cubicBezTo>
                  <a:pt x="1941" y="1058"/>
                  <a:pt x="1939" y="1062"/>
                  <a:pt x="1937" y="1065"/>
                </a:cubicBezTo>
                <a:cubicBezTo>
                  <a:pt x="1936" y="1069"/>
                  <a:pt x="1936" y="1073"/>
                  <a:pt x="1937" y="1077"/>
                </a:cubicBezTo>
                <a:cubicBezTo>
                  <a:pt x="1937" y="1081"/>
                  <a:pt x="1939" y="1085"/>
                  <a:pt x="1941" y="1089"/>
                </a:cubicBezTo>
                <a:cubicBezTo>
                  <a:pt x="1943" y="1093"/>
                  <a:pt x="1946" y="1096"/>
                  <a:pt x="1950" y="1100"/>
                </a:cubicBezTo>
                <a:cubicBezTo>
                  <a:pt x="1953" y="1104"/>
                  <a:pt x="1957" y="1107"/>
                  <a:pt x="1961" y="1109"/>
                </a:cubicBezTo>
                <a:cubicBezTo>
                  <a:pt x="1965" y="1112"/>
                  <a:pt x="1968" y="1113"/>
                  <a:pt x="1972" y="1114"/>
                </a:cubicBezTo>
                <a:cubicBezTo>
                  <a:pt x="1976" y="1115"/>
                  <a:pt x="1980" y="1115"/>
                  <a:pt x="1984" y="1113"/>
                </a:cubicBezTo>
                <a:cubicBezTo>
                  <a:pt x="1988" y="1112"/>
                  <a:pt x="1992" y="1110"/>
                  <a:pt x="1996" y="1106"/>
                </a:cubicBezTo>
                <a:cubicBezTo>
                  <a:pt x="1999" y="1102"/>
                  <a:pt x="2001" y="1099"/>
                  <a:pt x="2003" y="1095"/>
                </a:cubicBezTo>
                <a:cubicBezTo>
                  <a:pt x="2004" y="1091"/>
                  <a:pt x="2004" y="1087"/>
                  <a:pt x="2004" y="1083"/>
                </a:cubicBezTo>
                <a:cubicBezTo>
                  <a:pt x="2003" y="1079"/>
                  <a:pt x="2002" y="1076"/>
                  <a:pt x="1999" y="1072"/>
                </a:cubicBezTo>
                <a:cubicBezTo>
                  <a:pt x="1997" y="1068"/>
                  <a:pt x="1994" y="1064"/>
                  <a:pt x="1990" y="1060"/>
                </a:cubicBezTo>
                <a:close/>
                <a:moveTo>
                  <a:pt x="2110" y="1005"/>
                </a:moveTo>
                <a:cubicBezTo>
                  <a:pt x="2110" y="1006"/>
                  <a:pt x="2110" y="1006"/>
                  <a:pt x="2110" y="1007"/>
                </a:cubicBezTo>
                <a:cubicBezTo>
                  <a:pt x="2110" y="1007"/>
                  <a:pt x="2110" y="1008"/>
                  <a:pt x="2110" y="1008"/>
                </a:cubicBezTo>
                <a:cubicBezTo>
                  <a:pt x="2110" y="1009"/>
                  <a:pt x="2109" y="1010"/>
                  <a:pt x="2109" y="1011"/>
                </a:cubicBezTo>
                <a:cubicBezTo>
                  <a:pt x="2108" y="1011"/>
                  <a:pt x="2107" y="1012"/>
                  <a:pt x="2106" y="1014"/>
                </a:cubicBezTo>
                <a:cubicBezTo>
                  <a:pt x="2105" y="1015"/>
                  <a:pt x="2104" y="1016"/>
                  <a:pt x="2103" y="1016"/>
                </a:cubicBezTo>
                <a:cubicBezTo>
                  <a:pt x="2102" y="1017"/>
                  <a:pt x="2101" y="1018"/>
                  <a:pt x="2101" y="1018"/>
                </a:cubicBezTo>
                <a:cubicBezTo>
                  <a:pt x="2100" y="1018"/>
                  <a:pt x="2099" y="1018"/>
                  <a:pt x="2099" y="1018"/>
                </a:cubicBezTo>
                <a:cubicBezTo>
                  <a:pt x="2099" y="1018"/>
                  <a:pt x="2098" y="1018"/>
                  <a:pt x="2098" y="1017"/>
                </a:cubicBezTo>
                <a:lnTo>
                  <a:pt x="2060" y="979"/>
                </a:lnTo>
                <a:cubicBezTo>
                  <a:pt x="2056" y="976"/>
                  <a:pt x="2053" y="973"/>
                  <a:pt x="2050" y="971"/>
                </a:cubicBezTo>
                <a:cubicBezTo>
                  <a:pt x="2047" y="970"/>
                  <a:pt x="2044" y="969"/>
                  <a:pt x="2042" y="968"/>
                </a:cubicBezTo>
                <a:cubicBezTo>
                  <a:pt x="2039" y="968"/>
                  <a:pt x="2036" y="968"/>
                  <a:pt x="2034" y="969"/>
                </a:cubicBezTo>
                <a:cubicBezTo>
                  <a:pt x="2031" y="970"/>
                  <a:pt x="2029" y="971"/>
                  <a:pt x="2026" y="973"/>
                </a:cubicBezTo>
                <a:cubicBezTo>
                  <a:pt x="2023" y="976"/>
                  <a:pt x="2022" y="980"/>
                  <a:pt x="2021" y="986"/>
                </a:cubicBezTo>
                <a:cubicBezTo>
                  <a:pt x="2020" y="991"/>
                  <a:pt x="2020" y="997"/>
                  <a:pt x="2021" y="1004"/>
                </a:cubicBezTo>
                <a:lnTo>
                  <a:pt x="2066" y="1049"/>
                </a:lnTo>
                <a:cubicBezTo>
                  <a:pt x="2066" y="1050"/>
                  <a:pt x="2066" y="1050"/>
                  <a:pt x="2066" y="1051"/>
                </a:cubicBezTo>
                <a:cubicBezTo>
                  <a:pt x="2067" y="1051"/>
                  <a:pt x="2066" y="1052"/>
                  <a:pt x="2066" y="1052"/>
                </a:cubicBezTo>
                <a:cubicBezTo>
                  <a:pt x="2066" y="1053"/>
                  <a:pt x="2065" y="1054"/>
                  <a:pt x="2065" y="1054"/>
                </a:cubicBezTo>
                <a:cubicBezTo>
                  <a:pt x="2064" y="1055"/>
                  <a:pt x="2063" y="1056"/>
                  <a:pt x="2062" y="1057"/>
                </a:cubicBezTo>
                <a:cubicBezTo>
                  <a:pt x="2061" y="1059"/>
                  <a:pt x="2060" y="1060"/>
                  <a:pt x="2059" y="1060"/>
                </a:cubicBezTo>
                <a:cubicBezTo>
                  <a:pt x="2058" y="1061"/>
                  <a:pt x="2057" y="1061"/>
                  <a:pt x="2057" y="1062"/>
                </a:cubicBezTo>
                <a:cubicBezTo>
                  <a:pt x="2056" y="1062"/>
                  <a:pt x="2056" y="1062"/>
                  <a:pt x="2055" y="1062"/>
                </a:cubicBezTo>
                <a:cubicBezTo>
                  <a:pt x="2055" y="1062"/>
                  <a:pt x="2054" y="1062"/>
                  <a:pt x="2054" y="1061"/>
                </a:cubicBezTo>
                <a:lnTo>
                  <a:pt x="1989" y="997"/>
                </a:lnTo>
                <a:cubicBezTo>
                  <a:pt x="1989" y="996"/>
                  <a:pt x="1989" y="996"/>
                  <a:pt x="1989" y="995"/>
                </a:cubicBezTo>
                <a:cubicBezTo>
                  <a:pt x="1988" y="995"/>
                  <a:pt x="1988" y="994"/>
                  <a:pt x="1989" y="994"/>
                </a:cubicBezTo>
                <a:cubicBezTo>
                  <a:pt x="1989" y="993"/>
                  <a:pt x="1989" y="992"/>
                  <a:pt x="1990" y="992"/>
                </a:cubicBezTo>
                <a:cubicBezTo>
                  <a:pt x="1990" y="991"/>
                  <a:pt x="1991" y="990"/>
                  <a:pt x="1992" y="989"/>
                </a:cubicBezTo>
                <a:cubicBezTo>
                  <a:pt x="1993" y="988"/>
                  <a:pt x="1994" y="987"/>
                  <a:pt x="1995" y="986"/>
                </a:cubicBezTo>
                <a:cubicBezTo>
                  <a:pt x="1996" y="986"/>
                  <a:pt x="1997" y="985"/>
                  <a:pt x="1997" y="985"/>
                </a:cubicBezTo>
                <a:cubicBezTo>
                  <a:pt x="1998" y="985"/>
                  <a:pt x="1998" y="985"/>
                  <a:pt x="1999" y="985"/>
                </a:cubicBezTo>
                <a:cubicBezTo>
                  <a:pt x="1999" y="985"/>
                  <a:pt x="2000" y="985"/>
                  <a:pt x="2000" y="986"/>
                </a:cubicBezTo>
                <a:lnTo>
                  <a:pt x="2009" y="994"/>
                </a:lnTo>
                <a:cubicBezTo>
                  <a:pt x="2008" y="987"/>
                  <a:pt x="2009" y="980"/>
                  <a:pt x="2010" y="975"/>
                </a:cubicBezTo>
                <a:cubicBezTo>
                  <a:pt x="2012" y="969"/>
                  <a:pt x="2015" y="964"/>
                  <a:pt x="2019" y="961"/>
                </a:cubicBezTo>
                <a:cubicBezTo>
                  <a:pt x="2023" y="956"/>
                  <a:pt x="2027" y="954"/>
                  <a:pt x="2032" y="952"/>
                </a:cubicBezTo>
                <a:cubicBezTo>
                  <a:pt x="2036" y="951"/>
                  <a:pt x="2040" y="950"/>
                  <a:pt x="2045" y="951"/>
                </a:cubicBezTo>
                <a:cubicBezTo>
                  <a:pt x="2049" y="951"/>
                  <a:pt x="2053" y="953"/>
                  <a:pt x="2057" y="955"/>
                </a:cubicBezTo>
                <a:cubicBezTo>
                  <a:pt x="2061" y="958"/>
                  <a:pt x="2066" y="961"/>
                  <a:pt x="2070" y="966"/>
                </a:cubicBezTo>
                <a:lnTo>
                  <a:pt x="2110" y="1005"/>
                </a:lnTo>
                <a:close/>
                <a:moveTo>
                  <a:pt x="2217" y="850"/>
                </a:moveTo>
                <a:cubicBezTo>
                  <a:pt x="2221" y="854"/>
                  <a:pt x="2224" y="859"/>
                  <a:pt x="2226" y="864"/>
                </a:cubicBezTo>
                <a:cubicBezTo>
                  <a:pt x="2228" y="869"/>
                  <a:pt x="2228" y="874"/>
                  <a:pt x="2228" y="879"/>
                </a:cubicBezTo>
                <a:cubicBezTo>
                  <a:pt x="2227" y="884"/>
                  <a:pt x="2226" y="890"/>
                  <a:pt x="2223" y="895"/>
                </a:cubicBezTo>
                <a:cubicBezTo>
                  <a:pt x="2221" y="900"/>
                  <a:pt x="2217" y="904"/>
                  <a:pt x="2213" y="909"/>
                </a:cubicBezTo>
                <a:cubicBezTo>
                  <a:pt x="2209" y="912"/>
                  <a:pt x="2206" y="915"/>
                  <a:pt x="2203" y="917"/>
                </a:cubicBezTo>
                <a:cubicBezTo>
                  <a:pt x="2200" y="919"/>
                  <a:pt x="2197" y="921"/>
                  <a:pt x="2194" y="922"/>
                </a:cubicBezTo>
                <a:cubicBezTo>
                  <a:pt x="2191" y="923"/>
                  <a:pt x="2189" y="924"/>
                  <a:pt x="2186" y="925"/>
                </a:cubicBezTo>
                <a:cubicBezTo>
                  <a:pt x="2184" y="925"/>
                  <a:pt x="2182" y="926"/>
                  <a:pt x="2181" y="926"/>
                </a:cubicBezTo>
                <a:cubicBezTo>
                  <a:pt x="2180" y="926"/>
                  <a:pt x="2179" y="925"/>
                  <a:pt x="2178" y="925"/>
                </a:cubicBezTo>
                <a:cubicBezTo>
                  <a:pt x="2177" y="924"/>
                  <a:pt x="2175" y="923"/>
                  <a:pt x="2174" y="921"/>
                </a:cubicBezTo>
                <a:cubicBezTo>
                  <a:pt x="2173" y="920"/>
                  <a:pt x="2172" y="920"/>
                  <a:pt x="2172" y="919"/>
                </a:cubicBezTo>
                <a:cubicBezTo>
                  <a:pt x="2171" y="918"/>
                  <a:pt x="2171" y="917"/>
                  <a:pt x="2170" y="917"/>
                </a:cubicBezTo>
                <a:cubicBezTo>
                  <a:pt x="2170" y="916"/>
                  <a:pt x="2170" y="915"/>
                  <a:pt x="2170" y="915"/>
                </a:cubicBezTo>
                <a:cubicBezTo>
                  <a:pt x="2170" y="915"/>
                  <a:pt x="2170" y="914"/>
                  <a:pt x="2171" y="914"/>
                </a:cubicBezTo>
                <a:cubicBezTo>
                  <a:pt x="2172" y="913"/>
                  <a:pt x="2173" y="913"/>
                  <a:pt x="2175" y="912"/>
                </a:cubicBezTo>
                <a:cubicBezTo>
                  <a:pt x="2177" y="912"/>
                  <a:pt x="2179" y="911"/>
                  <a:pt x="2182" y="910"/>
                </a:cubicBezTo>
                <a:cubicBezTo>
                  <a:pt x="2185" y="909"/>
                  <a:pt x="2188" y="908"/>
                  <a:pt x="2192" y="906"/>
                </a:cubicBezTo>
                <a:cubicBezTo>
                  <a:pt x="2195" y="904"/>
                  <a:pt x="2199" y="901"/>
                  <a:pt x="2203" y="898"/>
                </a:cubicBezTo>
                <a:cubicBezTo>
                  <a:pt x="2205" y="895"/>
                  <a:pt x="2207" y="892"/>
                  <a:pt x="2209" y="889"/>
                </a:cubicBezTo>
                <a:cubicBezTo>
                  <a:pt x="2210" y="886"/>
                  <a:pt x="2211" y="883"/>
                  <a:pt x="2211" y="880"/>
                </a:cubicBezTo>
                <a:cubicBezTo>
                  <a:pt x="2212" y="878"/>
                  <a:pt x="2211" y="875"/>
                  <a:pt x="2210" y="872"/>
                </a:cubicBezTo>
                <a:cubicBezTo>
                  <a:pt x="2209" y="869"/>
                  <a:pt x="2208" y="867"/>
                  <a:pt x="2205" y="864"/>
                </a:cubicBezTo>
                <a:cubicBezTo>
                  <a:pt x="2202" y="861"/>
                  <a:pt x="2200" y="860"/>
                  <a:pt x="2197" y="859"/>
                </a:cubicBezTo>
                <a:cubicBezTo>
                  <a:pt x="2193" y="858"/>
                  <a:pt x="2190" y="858"/>
                  <a:pt x="2187" y="859"/>
                </a:cubicBezTo>
                <a:cubicBezTo>
                  <a:pt x="2184" y="860"/>
                  <a:pt x="2180" y="860"/>
                  <a:pt x="2176" y="862"/>
                </a:cubicBezTo>
                <a:cubicBezTo>
                  <a:pt x="2173" y="863"/>
                  <a:pt x="2169" y="865"/>
                  <a:pt x="2165" y="866"/>
                </a:cubicBezTo>
                <a:cubicBezTo>
                  <a:pt x="2161" y="867"/>
                  <a:pt x="2157" y="869"/>
                  <a:pt x="2153" y="870"/>
                </a:cubicBezTo>
                <a:cubicBezTo>
                  <a:pt x="2149" y="871"/>
                  <a:pt x="2145" y="871"/>
                  <a:pt x="2141" y="871"/>
                </a:cubicBezTo>
                <a:cubicBezTo>
                  <a:pt x="2137" y="871"/>
                  <a:pt x="2133" y="870"/>
                  <a:pt x="2129" y="869"/>
                </a:cubicBezTo>
                <a:cubicBezTo>
                  <a:pt x="2126" y="867"/>
                  <a:pt x="2122" y="865"/>
                  <a:pt x="2118" y="861"/>
                </a:cubicBezTo>
                <a:cubicBezTo>
                  <a:pt x="2114" y="857"/>
                  <a:pt x="2111" y="853"/>
                  <a:pt x="2110" y="848"/>
                </a:cubicBezTo>
                <a:cubicBezTo>
                  <a:pt x="2108" y="844"/>
                  <a:pt x="2107" y="839"/>
                  <a:pt x="2108" y="835"/>
                </a:cubicBezTo>
                <a:cubicBezTo>
                  <a:pt x="2108" y="830"/>
                  <a:pt x="2110" y="826"/>
                  <a:pt x="2112" y="821"/>
                </a:cubicBezTo>
                <a:cubicBezTo>
                  <a:pt x="2115" y="817"/>
                  <a:pt x="2118" y="812"/>
                  <a:pt x="2122" y="808"/>
                </a:cubicBezTo>
                <a:cubicBezTo>
                  <a:pt x="2124" y="806"/>
                  <a:pt x="2126" y="804"/>
                  <a:pt x="2129" y="803"/>
                </a:cubicBezTo>
                <a:cubicBezTo>
                  <a:pt x="2131" y="801"/>
                  <a:pt x="2133" y="799"/>
                  <a:pt x="2136" y="798"/>
                </a:cubicBezTo>
                <a:cubicBezTo>
                  <a:pt x="2138" y="797"/>
                  <a:pt x="2141" y="796"/>
                  <a:pt x="2143" y="795"/>
                </a:cubicBezTo>
                <a:cubicBezTo>
                  <a:pt x="2145" y="795"/>
                  <a:pt x="2147" y="794"/>
                  <a:pt x="2147" y="794"/>
                </a:cubicBezTo>
                <a:cubicBezTo>
                  <a:pt x="2148" y="794"/>
                  <a:pt x="2149" y="794"/>
                  <a:pt x="2149" y="794"/>
                </a:cubicBezTo>
                <a:cubicBezTo>
                  <a:pt x="2150" y="794"/>
                  <a:pt x="2150" y="795"/>
                  <a:pt x="2151" y="795"/>
                </a:cubicBezTo>
                <a:cubicBezTo>
                  <a:pt x="2151" y="795"/>
                  <a:pt x="2152" y="796"/>
                  <a:pt x="2152" y="796"/>
                </a:cubicBezTo>
                <a:cubicBezTo>
                  <a:pt x="2153" y="797"/>
                  <a:pt x="2154" y="797"/>
                  <a:pt x="2155" y="798"/>
                </a:cubicBezTo>
                <a:cubicBezTo>
                  <a:pt x="2156" y="799"/>
                  <a:pt x="2156" y="800"/>
                  <a:pt x="2157" y="801"/>
                </a:cubicBezTo>
                <a:cubicBezTo>
                  <a:pt x="2158" y="802"/>
                  <a:pt x="2158" y="802"/>
                  <a:pt x="2158" y="803"/>
                </a:cubicBezTo>
                <a:cubicBezTo>
                  <a:pt x="2159" y="803"/>
                  <a:pt x="2159" y="804"/>
                  <a:pt x="2159" y="804"/>
                </a:cubicBezTo>
                <a:cubicBezTo>
                  <a:pt x="2159" y="805"/>
                  <a:pt x="2158" y="805"/>
                  <a:pt x="2158" y="806"/>
                </a:cubicBezTo>
                <a:cubicBezTo>
                  <a:pt x="2158" y="806"/>
                  <a:pt x="2156" y="807"/>
                  <a:pt x="2155" y="807"/>
                </a:cubicBezTo>
                <a:cubicBezTo>
                  <a:pt x="2153" y="808"/>
                  <a:pt x="2151" y="808"/>
                  <a:pt x="2148" y="809"/>
                </a:cubicBezTo>
                <a:cubicBezTo>
                  <a:pt x="2146" y="810"/>
                  <a:pt x="2143" y="811"/>
                  <a:pt x="2140" y="812"/>
                </a:cubicBezTo>
                <a:cubicBezTo>
                  <a:pt x="2137" y="814"/>
                  <a:pt x="2134" y="816"/>
                  <a:pt x="2132" y="819"/>
                </a:cubicBezTo>
                <a:cubicBezTo>
                  <a:pt x="2129" y="822"/>
                  <a:pt x="2127" y="824"/>
                  <a:pt x="2126" y="827"/>
                </a:cubicBezTo>
                <a:cubicBezTo>
                  <a:pt x="2125" y="829"/>
                  <a:pt x="2124" y="832"/>
                  <a:pt x="2124" y="834"/>
                </a:cubicBezTo>
                <a:cubicBezTo>
                  <a:pt x="2124" y="837"/>
                  <a:pt x="2124" y="839"/>
                  <a:pt x="2125" y="841"/>
                </a:cubicBezTo>
                <a:cubicBezTo>
                  <a:pt x="2126" y="843"/>
                  <a:pt x="2128" y="845"/>
                  <a:pt x="2129" y="847"/>
                </a:cubicBezTo>
                <a:cubicBezTo>
                  <a:pt x="2132" y="850"/>
                  <a:pt x="2135" y="851"/>
                  <a:pt x="2138" y="852"/>
                </a:cubicBezTo>
                <a:cubicBezTo>
                  <a:pt x="2141" y="853"/>
                  <a:pt x="2144" y="853"/>
                  <a:pt x="2148" y="852"/>
                </a:cubicBezTo>
                <a:cubicBezTo>
                  <a:pt x="2151" y="852"/>
                  <a:pt x="2155" y="851"/>
                  <a:pt x="2158" y="849"/>
                </a:cubicBezTo>
                <a:cubicBezTo>
                  <a:pt x="2162" y="848"/>
                  <a:pt x="2166" y="847"/>
                  <a:pt x="2170" y="845"/>
                </a:cubicBezTo>
                <a:cubicBezTo>
                  <a:pt x="2174" y="844"/>
                  <a:pt x="2177" y="843"/>
                  <a:pt x="2181" y="841"/>
                </a:cubicBezTo>
                <a:cubicBezTo>
                  <a:pt x="2185" y="840"/>
                  <a:pt x="2189" y="840"/>
                  <a:pt x="2193" y="840"/>
                </a:cubicBezTo>
                <a:cubicBezTo>
                  <a:pt x="2197" y="840"/>
                  <a:pt x="2201" y="841"/>
                  <a:pt x="2205" y="842"/>
                </a:cubicBezTo>
                <a:cubicBezTo>
                  <a:pt x="2209" y="844"/>
                  <a:pt x="2213" y="846"/>
                  <a:pt x="2217" y="850"/>
                </a:cubicBezTo>
                <a:close/>
                <a:moveTo>
                  <a:pt x="2313" y="802"/>
                </a:moveTo>
                <a:cubicBezTo>
                  <a:pt x="2314" y="802"/>
                  <a:pt x="2314" y="803"/>
                  <a:pt x="2314" y="803"/>
                </a:cubicBezTo>
                <a:cubicBezTo>
                  <a:pt x="2314" y="804"/>
                  <a:pt x="2314" y="804"/>
                  <a:pt x="2314" y="805"/>
                </a:cubicBezTo>
                <a:cubicBezTo>
                  <a:pt x="2313" y="805"/>
                  <a:pt x="2313" y="806"/>
                  <a:pt x="2312" y="807"/>
                </a:cubicBezTo>
                <a:cubicBezTo>
                  <a:pt x="2312" y="808"/>
                  <a:pt x="2311" y="809"/>
                  <a:pt x="2310" y="810"/>
                </a:cubicBezTo>
                <a:cubicBezTo>
                  <a:pt x="2308" y="811"/>
                  <a:pt x="2307" y="812"/>
                  <a:pt x="2306" y="813"/>
                </a:cubicBezTo>
                <a:cubicBezTo>
                  <a:pt x="2306" y="813"/>
                  <a:pt x="2305" y="814"/>
                  <a:pt x="2304" y="814"/>
                </a:cubicBezTo>
                <a:cubicBezTo>
                  <a:pt x="2304" y="814"/>
                  <a:pt x="2303" y="814"/>
                  <a:pt x="2303" y="814"/>
                </a:cubicBezTo>
                <a:cubicBezTo>
                  <a:pt x="2302" y="814"/>
                  <a:pt x="2302" y="814"/>
                  <a:pt x="2301" y="814"/>
                </a:cubicBezTo>
                <a:lnTo>
                  <a:pt x="2264" y="776"/>
                </a:lnTo>
                <a:cubicBezTo>
                  <a:pt x="2260" y="772"/>
                  <a:pt x="2257" y="769"/>
                  <a:pt x="2254" y="768"/>
                </a:cubicBezTo>
                <a:cubicBezTo>
                  <a:pt x="2251" y="766"/>
                  <a:pt x="2248" y="765"/>
                  <a:pt x="2245" y="764"/>
                </a:cubicBezTo>
                <a:cubicBezTo>
                  <a:pt x="2243" y="764"/>
                  <a:pt x="2240" y="764"/>
                  <a:pt x="2237" y="765"/>
                </a:cubicBezTo>
                <a:cubicBezTo>
                  <a:pt x="2235" y="766"/>
                  <a:pt x="2232" y="768"/>
                  <a:pt x="2230" y="770"/>
                </a:cubicBezTo>
                <a:cubicBezTo>
                  <a:pt x="2227" y="773"/>
                  <a:pt x="2225" y="777"/>
                  <a:pt x="2224" y="782"/>
                </a:cubicBezTo>
                <a:cubicBezTo>
                  <a:pt x="2223" y="787"/>
                  <a:pt x="2223" y="793"/>
                  <a:pt x="2224" y="800"/>
                </a:cubicBezTo>
                <a:lnTo>
                  <a:pt x="2269" y="846"/>
                </a:lnTo>
                <a:cubicBezTo>
                  <a:pt x="2270" y="846"/>
                  <a:pt x="2270" y="846"/>
                  <a:pt x="2270" y="847"/>
                </a:cubicBezTo>
                <a:cubicBezTo>
                  <a:pt x="2270" y="847"/>
                  <a:pt x="2270" y="848"/>
                  <a:pt x="2270" y="849"/>
                </a:cubicBezTo>
                <a:cubicBezTo>
                  <a:pt x="2270" y="849"/>
                  <a:pt x="2269" y="850"/>
                  <a:pt x="2268" y="851"/>
                </a:cubicBezTo>
                <a:cubicBezTo>
                  <a:pt x="2268" y="852"/>
                  <a:pt x="2267" y="853"/>
                  <a:pt x="2266" y="854"/>
                </a:cubicBezTo>
                <a:cubicBezTo>
                  <a:pt x="2265" y="855"/>
                  <a:pt x="2264" y="856"/>
                  <a:pt x="2263" y="857"/>
                </a:cubicBezTo>
                <a:cubicBezTo>
                  <a:pt x="2262" y="857"/>
                  <a:pt x="2261" y="858"/>
                  <a:pt x="2260" y="858"/>
                </a:cubicBezTo>
                <a:cubicBezTo>
                  <a:pt x="2260" y="858"/>
                  <a:pt x="2259" y="858"/>
                  <a:pt x="2259" y="858"/>
                </a:cubicBezTo>
                <a:cubicBezTo>
                  <a:pt x="2258" y="858"/>
                  <a:pt x="2258" y="858"/>
                  <a:pt x="2258" y="857"/>
                </a:cubicBezTo>
                <a:lnTo>
                  <a:pt x="2162" y="762"/>
                </a:lnTo>
                <a:cubicBezTo>
                  <a:pt x="2161" y="761"/>
                  <a:pt x="2161" y="761"/>
                  <a:pt x="2161" y="760"/>
                </a:cubicBezTo>
                <a:cubicBezTo>
                  <a:pt x="2161" y="760"/>
                  <a:pt x="2161" y="759"/>
                  <a:pt x="2161" y="759"/>
                </a:cubicBezTo>
                <a:cubicBezTo>
                  <a:pt x="2161" y="758"/>
                  <a:pt x="2162" y="757"/>
                  <a:pt x="2162" y="756"/>
                </a:cubicBezTo>
                <a:cubicBezTo>
                  <a:pt x="2163" y="756"/>
                  <a:pt x="2164" y="755"/>
                  <a:pt x="2165" y="753"/>
                </a:cubicBezTo>
                <a:cubicBezTo>
                  <a:pt x="2166" y="752"/>
                  <a:pt x="2167" y="751"/>
                  <a:pt x="2168" y="751"/>
                </a:cubicBezTo>
                <a:cubicBezTo>
                  <a:pt x="2169" y="750"/>
                  <a:pt x="2170" y="749"/>
                  <a:pt x="2171" y="749"/>
                </a:cubicBezTo>
                <a:cubicBezTo>
                  <a:pt x="2171" y="749"/>
                  <a:pt x="2172" y="749"/>
                  <a:pt x="2172" y="749"/>
                </a:cubicBezTo>
                <a:cubicBezTo>
                  <a:pt x="2173" y="749"/>
                  <a:pt x="2173" y="749"/>
                  <a:pt x="2173" y="750"/>
                </a:cubicBezTo>
                <a:lnTo>
                  <a:pt x="2212" y="788"/>
                </a:lnTo>
                <a:cubicBezTo>
                  <a:pt x="2212" y="781"/>
                  <a:pt x="2213" y="775"/>
                  <a:pt x="2214" y="770"/>
                </a:cubicBezTo>
                <a:cubicBezTo>
                  <a:pt x="2216" y="765"/>
                  <a:pt x="2219" y="761"/>
                  <a:pt x="2222" y="757"/>
                </a:cubicBezTo>
                <a:cubicBezTo>
                  <a:pt x="2227" y="753"/>
                  <a:pt x="2231" y="750"/>
                  <a:pt x="2235" y="748"/>
                </a:cubicBezTo>
                <a:cubicBezTo>
                  <a:pt x="2240" y="747"/>
                  <a:pt x="2244" y="746"/>
                  <a:pt x="2248" y="747"/>
                </a:cubicBezTo>
                <a:cubicBezTo>
                  <a:pt x="2253" y="748"/>
                  <a:pt x="2257" y="749"/>
                  <a:pt x="2261" y="752"/>
                </a:cubicBezTo>
                <a:cubicBezTo>
                  <a:pt x="2265" y="754"/>
                  <a:pt x="2269" y="758"/>
                  <a:pt x="2274" y="762"/>
                </a:cubicBezTo>
                <a:lnTo>
                  <a:pt x="2313" y="802"/>
                </a:lnTo>
                <a:close/>
                <a:moveTo>
                  <a:pt x="2364" y="685"/>
                </a:moveTo>
                <a:cubicBezTo>
                  <a:pt x="2369" y="690"/>
                  <a:pt x="2373" y="696"/>
                  <a:pt x="2376" y="702"/>
                </a:cubicBezTo>
                <a:cubicBezTo>
                  <a:pt x="2379" y="708"/>
                  <a:pt x="2381" y="713"/>
                  <a:pt x="2382" y="719"/>
                </a:cubicBezTo>
                <a:cubicBezTo>
                  <a:pt x="2382" y="725"/>
                  <a:pt x="2381" y="731"/>
                  <a:pt x="2379" y="737"/>
                </a:cubicBezTo>
                <a:cubicBezTo>
                  <a:pt x="2376" y="743"/>
                  <a:pt x="2372" y="749"/>
                  <a:pt x="2367" y="754"/>
                </a:cubicBezTo>
                <a:cubicBezTo>
                  <a:pt x="2362" y="760"/>
                  <a:pt x="2356" y="764"/>
                  <a:pt x="2351" y="766"/>
                </a:cubicBezTo>
                <a:cubicBezTo>
                  <a:pt x="2345" y="768"/>
                  <a:pt x="2340" y="769"/>
                  <a:pt x="2334" y="769"/>
                </a:cubicBezTo>
                <a:cubicBezTo>
                  <a:pt x="2328" y="769"/>
                  <a:pt x="2323" y="767"/>
                  <a:pt x="2317" y="764"/>
                </a:cubicBezTo>
                <a:cubicBezTo>
                  <a:pt x="2311" y="761"/>
                  <a:pt x="2306" y="757"/>
                  <a:pt x="2300" y="751"/>
                </a:cubicBezTo>
                <a:cubicBezTo>
                  <a:pt x="2295" y="746"/>
                  <a:pt x="2291" y="740"/>
                  <a:pt x="2288" y="734"/>
                </a:cubicBezTo>
                <a:cubicBezTo>
                  <a:pt x="2285" y="729"/>
                  <a:pt x="2283" y="723"/>
                  <a:pt x="2283" y="717"/>
                </a:cubicBezTo>
                <a:cubicBezTo>
                  <a:pt x="2282" y="711"/>
                  <a:pt x="2283" y="705"/>
                  <a:pt x="2286" y="699"/>
                </a:cubicBezTo>
                <a:cubicBezTo>
                  <a:pt x="2288" y="693"/>
                  <a:pt x="2292" y="687"/>
                  <a:pt x="2297" y="682"/>
                </a:cubicBezTo>
                <a:cubicBezTo>
                  <a:pt x="2303" y="677"/>
                  <a:pt x="2308" y="673"/>
                  <a:pt x="2314" y="670"/>
                </a:cubicBezTo>
                <a:cubicBezTo>
                  <a:pt x="2319" y="668"/>
                  <a:pt x="2325" y="667"/>
                  <a:pt x="2330" y="667"/>
                </a:cubicBezTo>
                <a:cubicBezTo>
                  <a:pt x="2336" y="668"/>
                  <a:pt x="2342" y="670"/>
                  <a:pt x="2347" y="673"/>
                </a:cubicBezTo>
                <a:cubicBezTo>
                  <a:pt x="2353" y="676"/>
                  <a:pt x="2358" y="680"/>
                  <a:pt x="2364" y="685"/>
                </a:cubicBezTo>
                <a:close/>
                <a:moveTo>
                  <a:pt x="2352" y="698"/>
                </a:moveTo>
                <a:cubicBezTo>
                  <a:pt x="2349" y="695"/>
                  <a:pt x="2345" y="692"/>
                  <a:pt x="2341" y="689"/>
                </a:cubicBezTo>
                <a:cubicBezTo>
                  <a:pt x="2338" y="687"/>
                  <a:pt x="2334" y="685"/>
                  <a:pt x="2330" y="684"/>
                </a:cubicBezTo>
                <a:cubicBezTo>
                  <a:pt x="2326" y="683"/>
                  <a:pt x="2322" y="684"/>
                  <a:pt x="2318" y="685"/>
                </a:cubicBezTo>
                <a:cubicBezTo>
                  <a:pt x="2314" y="686"/>
                  <a:pt x="2311" y="689"/>
                  <a:pt x="2307" y="692"/>
                </a:cubicBezTo>
                <a:cubicBezTo>
                  <a:pt x="2303" y="696"/>
                  <a:pt x="2301" y="700"/>
                  <a:pt x="2300" y="703"/>
                </a:cubicBezTo>
                <a:cubicBezTo>
                  <a:pt x="2298" y="707"/>
                  <a:pt x="2298" y="711"/>
                  <a:pt x="2299" y="715"/>
                </a:cubicBezTo>
                <a:cubicBezTo>
                  <a:pt x="2299" y="719"/>
                  <a:pt x="2301" y="723"/>
                  <a:pt x="2303" y="727"/>
                </a:cubicBezTo>
                <a:cubicBezTo>
                  <a:pt x="2305" y="731"/>
                  <a:pt x="2308" y="734"/>
                  <a:pt x="2312" y="738"/>
                </a:cubicBezTo>
                <a:cubicBezTo>
                  <a:pt x="2316" y="742"/>
                  <a:pt x="2319" y="745"/>
                  <a:pt x="2323" y="747"/>
                </a:cubicBezTo>
                <a:cubicBezTo>
                  <a:pt x="2327" y="749"/>
                  <a:pt x="2330" y="751"/>
                  <a:pt x="2334" y="752"/>
                </a:cubicBezTo>
                <a:cubicBezTo>
                  <a:pt x="2338" y="753"/>
                  <a:pt x="2342" y="753"/>
                  <a:pt x="2346" y="751"/>
                </a:cubicBezTo>
                <a:cubicBezTo>
                  <a:pt x="2350" y="750"/>
                  <a:pt x="2354" y="748"/>
                  <a:pt x="2358" y="744"/>
                </a:cubicBezTo>
                <a:cubicBezTo>
                  <a:pt x="2361" y="740"/>
                  <a:pt x="2363" y="737"/>
                  <a:pt x="2365" y="733"/>
                </a:cubicBezTo>
                <a:cubicBezTo>
                  <a:pt x="2366" y="729"/>
                  <a:pt x="2366" y="725"/>
                  <a:pt x="2366" y="721"/>
                </a:cubicBezTo>
                <a:cubicBezTo>
                  <a:pt x="2365" y="717"/>
                  <a:pt x="2364" y="714"/>
                  <a:pt x="2361" y="710"/>
                </a:cubicBezTo>
                <a:cubicBezTo>
                  <a:pt x="2359" y="706"/>
                  <a:pt x="2356" y="702"/>
                  <a:pt x="2352" y="698"/>
                </a:cubicBezTo>
                <a:close/>
                <a:moveTo>
                  <a:pt x="2393" y="601"/>
                </a:moveTo>
                <a:cubicBezTo>
                  <a:pt x="2394" y="602"/>
                  <a:pt x="2395" y="603"/>
                  <a:pt x="2396" y="604"/>
                </a:cubicBezTo>
                <a:cubicBezTo>
                  <a:pt x="2397" y="604"/>
                  <a:pt x="2397" y="605"/>
                  <a:pt x="2397" y="606"/>
                </a:cubicBezTo>
                <a:cubicBezTo>
                  <a:pt x="2398" y="606"/>
                  <a:pt x="2398" y="607"/>
                  <a:pt x="2398" y="607"/>
                </a:cubicBezTo>
                <a:cubicBezTo>
                  <a:pt x="2398" y="608"/>
                  <a:pt x="2398" y="608"/>
                  <a:pt x="2397" y="608"/>
                </a:cubicBezTo>
                <a:cubicBezTo>
                  <a:pt x="2397" y="609"/>
                  <a:pt x="2396" y="609"/>
                  <a:pt x="2395" y="609"/>
                </a:cubicBezTo>
                <a:cubicBezTo>
                  <a:pt x="2395" y="610"/>
                  <a:pt x="2394" y="610"/>
                  <a:pt x="2393" y="611"/>
                </a:cubicBezTo>
                <a:cubicBezTo>
                  <a:pt x="2392" y="611"/>
                  <a:pt x="2391" y="612"/>
                  <a:pt x="2390" y="612"/>
                </a:cubicBezTo>
                <a:cubicBezTo>
                  <a:pt x="2389" y="613"/>
                  <a:pt x="2388" y="614"/>
                  <a:pt x="2387" y="615"/>
                </a:cubicBezTo>
                <a:cubicBezTo>
                  <a:pt x="2386" y="616"/>
                  <a:pt x="2385" y="617"/>
                  <a:pt x="2384" y="619"/>
                </a:cubicBezTo>
                <a:cubicBezTo>
                  <a:pt x="2383" y="621"/>
                  <a:pt x="2383" y="623"/>
                  <a:pt x="2383" y="625"/>
                </a:cubicBezTo>
                <a:cubicBezTo>
                  <a:pt x="2383" y="627"/>
                  <a:pt x="2383" y="630"/>
                  <a:pt x="2383" y="633"/>
                </a:cubicBezTo>
                <a:cubicBezTo>
                  <a:pt x="2384" y="637"/>
                  <a:pt x="2384" y="640"/>
                  <a:pt x="2385" y="645"/>
                </a:cubicBezTo>
                <a:lnTo>
                  <a:pt x="2428" y="687"/>
                </a:lnTo>
                <a:cubicBezTo>
                  <a:pt x="2428" y="688"/>
                  <a:pt x="2428" y="688"/>
                  <a:pt x="2428" y="689"/>
                </a:cubicBezTo>
                <a:cubicBezTo>
                  <a:pt x="2429" y="689"/>
                  <a:pt x="2428" y="689"/>
                  <a:pt x="2428" y="690"/>
                </a:cubicBezTo>
                <a:cubicBezTo>
                  <a:pt x="2428" y="691"/>
                  <a:pt x="2428" y="691"/>
                  <a:pt x="2427" y="692"/>
                </a:cubicBezTo>
                <a:cubicBezTo>
                  <a:pt x="2426" y="693"/>
                  <a:pt x="2425" y="694"/>
                  <a:pt x="2424" y="695"/>
                </a:cubicBezTo>
                <a:cubicBezTo>
                  <a:pt x="2423" y="697"/>
                  <a:pt x="2422" y="697"/>
                  <a:pt x="2421" y="698"/>
                </a:cubicBezTo>
                <a:cubicBezTo>
                  <a:pt x="2420" y="699"/>
                  <a:pt x="2419" y="699"/>
                  <a:pt x="2419" y="700"/>
                </a:cubicBezTo>
                <a:cubicBezTo>
                  <a:pt x="2418" y="700"/>
                  <a:pt x="2418" y="700"/>
                  <a:pt x="2417" y="700"/>
                </a:cubicBezTo>
                <a:cubicBezTo>
                  <a:pt x="2417" y="700"/>
                  <a:pt x="2416" y="699"/>
                  <a:pt x="2416" y="699"/>
                </a:cubicBezTo>
                <a:lnTo>
                  <a:pt x="2351" y="634"/>
                </a:lnTo>
                <a:cubicBezTo>
                  <a:pt x="2351" y="634"/>
                  <a:pt x="2351" y="634"/>
                  <a:pt x="2351" y="633"/>
                </a:cubicBezTo>
                <a:cubicBezTo>
                  <a:pt x="2350" y="633"/>
                  <a:pt x="2350" y="632"/>
                  <a:pt x="2351" y="632"/>
                </a:cubicBezTo>
                <a:cubicBezTo>
                  <a:pt x="2351" y="631"/>
                  <a:pt x="2351" y="630"/>
                  <a:pt x="2352" y="630"/>
                </a:cubicBezTo>
                <a:cubicBezTo>
                  <a:pt x="2353" y="629"/>
                  <a:pt x="2353" y="628"/>
                  <a:pt x="2354" y="627"/>
                </a:cubicBezTo>
                <a:cubicBezTo>
                  <a:pt x="2356" y="626"/>
                  <a:pt x="2356" y="625"/>
                  <a:pt x="2357" y="624"/>
                </a:cubicBezTo>
                <a:cubicBezTo>
                  <a:pt x="2358" y="624"/>
                  <a:pt x="2359" y="623"/>
                  <a:pt x="2359" y="623"/>
                </a:cubicBezTo>
                <a:cubicBezTo>
                  <a:pt x="2360" y="623"/>
                  <a:pt x="2360" y="623"/>
                  <a:pt x="2361" y="623"/>
                </a:cubicBezTo>
                <a:cubicBezTo>
                  <a:pt x="2361" y="623"/>
                  <a:pt x="2362" y="623"/>
                  <a:pt x="2362" y="624"/>
                </a:cubicBezTo>
                <a:lnTo>
                  <a:pt x="2371" y="633"/>
                </a:lnTo>
                <a:cubicBezTo>
                  <a:pt x="2371" y="629"/>
                  <a:pt x="2370" y="625"/>
                  <a:pt x="2370" y="622"/>
                </a:cubicBezTo>
                <a:cubicBezTo>
                  <a:pt x="2370" y="619"/>
                  <a:pt x="2370" y="616"/>
                  <a:pt x="2371" y="614"/>
                </a:cubicBezTo>
                <a:cubicBezTo>
                  <a:pt x="2371" y="611"/>
                  <a:pt x="2372" y="609"/>
                  <a:pt x="2373" y="608"/>
                </a:cubicBezTo>
                <a:cubicBezTo>
                  <a:pt x="2374" y="606"/>
                  <a:pt x="2375" y="604"/>
                  <a:pt x="2376" y="603"/>
                </a:cubicBezTo>
                <a:cubicBezTo>
                  <a:pt x="2377" y="602"/>
                  <a:pt x="2378" y="602"/>
                  <a:pt x="2379" y="601"/>
                </a:cubicBezTo>
                <a:cubicBezTo>
                  <a:pt x="2380" y="600"/>
                  <a:pt x="2380" y="599"/>
                  <a:pt x="2382" y="599"/>
                </a:cubicBezTo>
                <a:cubicBezTo>
                  <a:pt x="2383" y="598"/>
                  <a:pt x="2384" y="598"/>
                  <a:pt x="2385" y="597"/>
                </a:cubicBezTo>
                <a:cubicBezTo>
                  <a:pt x="2385" y="597"/>
                  <a:pt x="2386" y="596"/>
                  <a:pt x="2387" y="596"/>
                </a:cubicBezTo>
                <a:cubicBezTo>
                  <a:pt x="2387" y="596"/>
                  <a:pt x="2388" y="596"/>
                  <a:pt x="2388" y="596"/>
                </a:cubicBezTo>
                <a:cubicBezTo>
                  <a:pt x="2388" y="597"/>
                  <a:pt x="2389" y="597"/>
                  <a:pt x="2389" y="597"/>
                </a:cubicBezTo>
                <a:cubicBezTo>
                  <a:pt x="2389" y="597"/>
                  <a:pt x="2390" y="598"/>
                  <a:pt x="2391" y="598"/>
                </a:cubicBezTo>
                <a:cubicBezTo>
                  <a:pt x="2391" y="599"/>
                  <a:pt x="2392" y="600"/>
                  <a:pt x="2393" y="601"/>
                </a:cubicBezTo>
                <a:close/>
                <a:moveTo>
                  <a:pt x="2501" y="604"/>
                </a:moveTo>
                <a:cubicBezTo>
                  <a:pt x="2503" y="606"/>
                  <a:pt x="2504" y="607"/>
                  <a:pt x="2504" y="608"/>
                </a:cubicBezTo>
                <a:cubicBezTo>
                  <a:pt x="2505" y="609"/>
                  <a:pt x="2505" y="610"/>
                  <a:pt x="2505" y="610"/>
                </a:cubicBezTo>
                <a:cubicBezTo>
                  <a:pt x="2505" y="611"/>
                  <a:pt x="2505" y="612"/>
                  <a:pt x="2505" y="613"/>
                </a:cubicBezTo>
                <a:cubicBezTo>
                  <a:pt x="2504" y="614"/>
                  <a:pt x="2504" y="615"/>
                  <a:pt x="2503" y="617"/>
                </a:cubicBezTo>
                <a:cubicBezTo>
                  <a:pt x="2502" y="618"/>
                  <a:pt x="2501" y="619"/>
                  <a:pt x="2500" y="620"/>
                </a:cubicBezTo>
                <a:cubicBezTo>
                  <a:pt x="2499" y="622"/>
                  <a:pt x="2498" y="623"/>
                  <a:pt x="2497" y="624"/>
                </a:cubicBezTo>
                <a:cubicBezTo>
                  <a:pt x="2494" y="627"/>
                  <a:pt x="2491" y="630"/>
                  <a:pt x="2487" y="631"/>
                </a:cubicBezTo>
                <a:cubicBezTo>
                  <a:pt x="2484" y="633"/>
                  <a:pt x="2481" y="633"/>
                  <a:pt x="2477" y="633"/>
                </a:cubicBezTo>
                <a:cubicBezTo>
                  <a:pt x="2474" y="633"/>
                  <a:pt x="2471" y="632"/>
                  <a:pt x="2467" y="630"/>
                </a:cubicBezTo>
                <a:cubicBezTo>
                  <a:pt x="2464" y="627"/>
                  <a:pt x="2460" y="625"/>
                  <a:pt x="2456" y="621"/>
                </a:cubicBezTo>
                <a:lnTo>
                  <a:pt x="2419" y="583"/>
                </a:lnTo>
                <a:lnTo>
                  <a:pt x="2410" y="592"/>
                </a:lnTo>
                <a:cubicBezTo>
                  <a:pt x="2409" y="593"/>
                  <a:pt x="2408" y="593"/>
                  <a:pt x="2407" y="593"/>
                </a:cubicBezTo>
                <a:cubicBezTo>
                  <a:pt x="2406" y="592"/>
                  <a:pt x="2404" y="591"/>
                  <a:pt x="2402" y="590"/>
                </a:cubicBezTo>
                <a:cubicBezTo>
                  <a:pt x="2401" y="589"/>
                  <a:pt x="2401" y="588"/>
                  <a:pt x="2400" y="587"/>
                </a:cubicBezTo>
                <a:cubicBezTo>
                  <a:pt x="2400" y="586"/>
                  <a:pt x="2399" y="586"/>
                  <a:pt x="2399" y="585"/>
                </a:cubicBezTo>
                <a:cubicBezTo>
                  <a:pt x="2399" y="585"/>
                  <a:pt x="2399" y="584"/>
                  <a:pt x="2399" y="583"/>
                </a:cubicBezTo>
                <a:cubicBezTo>
                  <a:pt x="2399" y="583"/>
                  <a:pt x="2399" y="583"/>
                  <a:pt x="2400" y="582"/>
                </a:cubicBezTo>
                <a:lnTo>
                  <a:pt x="2409" y="573"/>
                </a:lnTo>
                <a:lnTo>
                  <a:pt x="2393" y="558"/>
                </a:lnTo>
                <a:cubicBezTo>
                  <a:pt x="2393" y="558"/>
                  <a:pt x="2393" y="557"/>
                  <a:pt x="2393" y="557"/>
                </a:cubicBezTo>
                <a:cubicBezTo>
                  <a:pt x="2393" y="556"/>
                  <a:pt x="2393" y="556"/>
                  <a:pt x="2393" y="555"/>
                </a:cubicBezTo>
                <a:cubicBezTo>
                  <a:pt x="2393" y="554"/>
                  <a:pt x="2394" y="554"/>
                  <a:pt x="2394" y="553"/>
                </a:cubicBezTo>
                <a:cubicBezTo>
                  <a:pt x="2395" y="552"/>
                  <a:pt x="2396" y="551"/>
                  <a:pt x="2397" y="550"/>
                </a:cubicBezTo>
                <a:cubicBezTo>
                  <a:pt x="2398" y="548"/>
                  <a:pt x="2399" y="548"/>
                  <a:pt x="2400" y="547"/>
                </a:cubicBezTo>
                <a:cubicBezTo>
                  <a:pt x="2401" y="546"/>
                  <a:pt x="2402" y="546"/>
                  <a:pt x="2402" y="546"/>
                </a:cubicBezTo>
                <a:cubicBezTo>
                  <a:pt x="2403" y="545"/>
                  <a:pt x="2404" y="545"/>
                  <a:pt x="2404" y="545"/>
                </a:cubicBezTo>
                <a:cubicBezTo>
                  <a:pt x="2405" y="545"/>
                  <a:pt x="2405" y="546"/>
                  <a:pt x="2405" y="546"/>
                </a:cubicBezTo>
                <a:lnTo>
                  <a:pt x="2421" y="561"/>
                </a:lnTo>
                <a:lnTo>
                  <a:pt x="2437" y="545"/>
                </a:lnTo>
                <a:cubicBezTo>
                  <a:pt x="2438" y="544"/>
                  <a:pt x="2438" y="544"/>
                  <a:pt x="2439" y="544"/>
                </a:cubicBezTo>
                <a:cubicBezTo>
                  <a:pt x="2439" y="544"/>
                  <a:pt x="2439" y="544"/>
                  <a:pt x="2440" y="544"/>
                </a:cubicBezTo>
                <a:cubicBezTo>
                  <a:pt x="2441" y="544"/>
                  <a:pt x="2441" y="545"/>
                  <a:pt x="2442" y="545"/>
                </a:cubicBezTo>
                <a:cubicBezTo>
                  <a:pt x="2443" y="546"/>
                  <a:pt x="2444" y="546"/>
                  <a:pt x="2445" y="547"/>
                </a:cubicBezTo>
                <a:cubicBezTo>
                  <a:pt x="2446" y="549"/>
                  <a:pt x="2447" y="551"/>
                  <a:pt x="2448" y="552"/>
                </a:cubicBezTo>
                <a:cubicBezTo>
                  <a:pt x="2448" y="553"/>
                  <a:pt x="2448" y="554"/>
                  <a:pt x="2447" y="555"/>
                </a:cubicBezTo>
                <a:lnTo>
                  <a:pt x="2430" y="571"/>
                </a:lnTo>
                <a:lnTo>
                  <a:pt x="2467" y="607"/>
                </a:lnTo>
                <a:cubicBezTo>
                  <a:pt x="2471" y="612"/>
                  <a:pt x="2475" y="614"/>
                  <a:pt x="2479" y="615"/>
                </a:cubicBezTo>
                <a:cubicBezTo>
                  <a:pt x="2482" y="616"/>
                  <a:pt x="2486" y="615"/>
                  <a:pt x="2489" y="612"/>
                </a:cubicBezTo>
                <a:cubicBezTo>
                  <a:pt x="2490" y="611"/>
                  <a:pt x="2491" y="610"/>
                  <a:pt x="2492" y="608"/>
                </a:cubicBezTo>
                <a:cubicBezTo>
                  <a:pt x="2492" y="607"/>
                  <a:pt x="2493" y="606"/>
                  <a:pt x="2493" y="605"/>
                </a:cubicBezTo>
                <a:cubicBezTo>
                  <a:pt x="2494" y="605"/>
                  <a:pt x="2494" y="604"/>
                  <a:pt x="2494" y="603"/>
                </a:cubicBezTo>
                <a:cubicBezTo>
                  <a:pt x="2495" y="602"/>
                  <a:pt x="2495" y="602"/>
                  <a:pt x="2495" y="601"/>
                </a:cubicBezTo>
                <a:cubicBezTo>
                  <a:pt x="2496" y="601"/>
                  <a:pt x="2496" y="601"/>
                  <a:pt x="2496" y="601"/>
                </a:cubicBezTo>
                <a:cubicBezTo>
                  <a:pt x="2497" y="601"/>
                  <a:pt x="2497" y="601"/>
                  <a:pt x="2497" y="601"/>
                </a:cubicBezTo>
                <a:cubicBezTo>
                  <a:pt x="2498" y="601"/>
                  <a:pt x="2498" y="602"/>
                  <a:pt x="2499" y="602"/>
                </a:cubicBezTo>
                <a:cubicBezTo>
                  <a:pt x="2500" y="603"/>
                  <a:pt x="2501" y="603"/>
                  <a:pt x="2501" y="604"/>
                </a:cubicBezTo>
                <a:close/>
                <a:moveTo>
                  <a:pt x="2578" y="444"/>
                </a:moveTo>
                <a:cubicBezTo>
                  <a:pt x="2587" y="453"/>
                  <a:pt x="2593" y="461"/>
                  <a:pt x="2596" y="469"/>
                </a:cubicBezTo>
                <a:cubicBezTo>
                  <a:pt x="2600" y="477"/>
                  <a:pt x="2602" y="485"/>
                  <a:pt x="2602" y="493"/>
                </a:cubicBezTo>
                <a:cubicBezTo>
                  <a:pt x="2602" y="500"/>
                  <a:pt x="2601" y="508"/>
                  <a:pt x="2597" y="516"/>
                </a:cubicBezTo>
                <a:cubicBezTo>
                  <a:pt x="2593" y="524"/>
                  <a:pt x="2587" y="532"/>
                  <a:pt x="2579" y="539"/>
                </a:cubicBezTo>
                <a:lnTo>
                  <a:pt x="2559" y="559"/>
                </a:lnTo>
                <a:cubicBezTo>
                  <a:pt x="2558" y="560"/>
                  <a:pt x="2557" y="561"/>
                  <a:pt x="2555" y="561"/>
                </a:cubicBezTo>
                <a:cubicBezTo>
                  <a:pt x="2554" y="561"/>
                  <a:pt x="2552" y="561"/>
                  <a:pt x="2550" y="559"/>
                </a:cubicBezTo>
                <a:lnTo>
                  <a:pt x="2467" y="476"/>
                </a:lnTo>
                <a:cubicBezTo>
                  <a:pt x="2465" y="474"/>
                  <a:pt x="2464" y="472"/>
                  <a:pt x="2465" y="470"/>
                </a:cubicBezTo>
                <a:cubicBezTo>
                  <a:pt x="2465" y="469"/>
                  <a:pt x="2465" y="467"/>
                  <a:pt x="2467" y="466"/>
                </a:cubicBezTo>
                <a:lnTo>
                  <a:pt x="2488" y="445"/>
                </a:lnTo>
                <a:cubicBezTo>
                  <a:pt x="2496" y="437"/>
                  <a:pt x="2503" y="431"/>
                  <a:pt x="2511" y="428"/>
                </a:cubicBezTo>
                <a:cubicBezTo>
                  <a:pt x="2519" y="424"/>
                  <a:pt x="2526" y="423"/>
                  <a:pt x="2534" y="423"/>
                </a:cubicBezTo>
                <a:cubicBezTo>
                  <a:pt x="2542" y="423"/>
                  <a:pt x="2549" y="425"/>
                  <a:pt x="2557" y="429"/>
                </a:cubicBezTo>
                <a:cubicBezTo>
                  <a:pt x="2564" y="432"/>
                  <a:pt x="2572" y="437"/>
                  <a:pt x="2578" y="444"/>
                </a:cubicBezTo>
                <a:close/>
                <a:moveTo>
                  <a:pt x="2566" y="458"/>
                </a:moveTo>
                <a:cubicBezTo>
                  <a:pt x="2561" y="453"/>
                  <a:pt x="2556" y="449"/>
                  <a:pt x="2550" y="446"/>
                </a:cubicBezTo>
                <a:cubicBezTo>
                  <a:pt x="2545" y="443"/>
                  <a:pt x="2539" y="441"/>
                  <a:pt x="2533" y="440"/>
                </a:cubicBezTo>
                <a:cubicBezTo>
                  <a:pt x="2527" y="440"/>
                  <a:pt x="2521" y="441"/>
                  <a:pt x="2516" y="443"/>
                </a:cubicBezTo>
                <a:cubicBezTo>
                  <a:pt x="2510" y="445"/>
                  <a:pt x="2504" y="450"/>
                  <a:pt x="2497" y="456"/>
                </a:cubicBezTo>
                <a:lnTo>
                  <a:pt x="2485" y="469"/>
                </a:lnTo>
                <a:lnTo>
                  <a:pt x="2557" y="541"/>
                </a:lnTo>
                <a:lnTo>
                  <a:pt x="2570" y="528"/>
                </a:lnTo>
                <a:cubicBezTo>
                  <a:pt x="2576" y="522"/>
                  <a:pt x="2580" y="517"/>
                  <a:pt x="2582" y="511"/>
                </a:cubicBezTo>
                <a:cubicBezTo>
                  <a:pt x="2585" y="506"/>
                  <a:pt x="2586" y="500"/>
                  <a:pt x="2586" y="494"/>
                </a:cubicBezTo>
                <a:cubicBezTo>
                  <a:pt x="2585" y="488"/>
                  <a:pt x="2584" y="482"/>
                  <a:pt x="2580" y="476"/>
                </a:cubicBezTo>
                <a:cubicBezTo>
                  <a:pt x="2577" y="470"/>
                  <a:pt x="2572" y="464"/>
                  <a:pt x="2566" y="458"/>
                </a:cubicBezTo>
                <a:close/>
                <a:moveTo>
                  <a:pt x="2698" y="417"/>
                </a:moveTo>
                <a:cubicBezTo>
                  <a:pt x="2698" y="418"/>
                  <a:pt x="2698" y="418"/>
                  <a:pt x="2698" y="419"/>
                </a:cubicBezTo>
                <a:cubicBezTo>
                  <a:pt x="2698" y="419"/>
                  <a:pt x="2698" y="420"/>
                  <a:pt x="2698" y="420"/>
                </a:cubicBezTo>
                <a:cubicBezTo>
                  <a:pt x="2698" y="421"/>
                  <a:pt x="2697" y="422"/>
                  <a:pt x="2697" y="422"/>
                </a:cubicBezTo>
                <a:cubicBezTo>
                  <a:pt x="2696" y="423"/>
                  <a:pt x="2695" y="424"/>
                  <a:pt x="2694" y="425"/>
                </a:cubicBezTo>
                <a:cubicBezTo>
                  <a:pt x="2693" y="426"/>
                  <a:pt x="2692" y="427"/>
                  <a:pt x="2692" y="428"/>
                </a:cubicBezTo>
                <a:cubicBezTo>
                  <a:pt x="2691" y="428"/>
                  <a:pt x="2690" y="429"/>
                  <a:pt x="2690" y="429"/>
                </a:cubicBezTo>
                <a:cubicBezTo>
                  <a:pt x="2689" y="429"/>
                  <a:pt x="2688" y="429"/>
                  <a:pt x="2688" y="429"/>
                </a:cubicBezTo>
                <a:cubicBezTo>
                  <a:pt x="2688" y="429"/>
                  <a:pt x="2687" y="429"/>
                  <a:pt x="2687" y="428"/>
                </a:cubicBezTo>
                <a:lnTo>
                  <a:pt x="2678" y="420"/>
                </a:lnTo>
                <a:cubicBezTo>
                  <a:pt x="2679" y="427"/>
                  <a:pt x="2678" y="434"/>
                  <a:pt x="2676" y="440"/>
                </a:cubicBezTo>
                <a:cubicBezTo>
                  <a:pt x="2675" y="445"/>
                  <a:pt x="2672" y="450"/>
                  <a:pt x="2668" y="453"/>
                </a:cubicBezTo>
                <a:cubicBezTo>
                  <a:pt x="2664" y="458"/>
                  <a:pt x="2659" y="460"/>
                  <a:pt x="2655" y="462"/>
                </a:cubicBezTo>
                <a:cubicBezTo>
                  <a:pt x="2651" y="463"/>
                  <a:pt x="2646" y="464"/>
                  <a:pt x="2642" y="463"/>
                </a:cubicBezTo>
                <a:cubicBezTo>
                  <a:pt x="2638" y="463"/>
                  <a:pt x="2634" y="461"/>
                  <a:pt x="2630" y="459"/>
                </a:cubicBezTo>
                <a:cubicBezTo>
                  <a:pt x="2626" y="456"/>
                  <a:pt x="2621" y="452"/>
                  <a:pt x="2616" y="448"/>
                </a:cubicBezTo>
                <a:lnTo>
                  <a:pt x="2577" y="409"/>
                </a:lnTo>
                <a:cubicBezTo>
                  <a:pt x="2577" y="408"/>
                  <a:pt x="2577" y="408"/>
                  <a:pt x="2577" y="407"/>
                </a:cubicBezTo>
                <a:cubicBezTo>
                  <a:pt x="2576" y="407"/>
                  <a:pt x="2576" y="406"/>
                  <a:pt x="2577" y="406"/>
                </a:cubicBezTo>
                <a:cubicBezTo>
                  <a:pt x="2577" y="405"/>
                  <a:pt x="2577" y="404"/>
                  <a:pt x="2578" y="403"/>
                </a:cubicBezTo>
                <a:cubicBezTo>
                  <a:pt x="2579" y="403"/>
                  <a:pt x="2580" y="402"/>
                  <a:pt x="2581" y="400"/>
                </a:cubicBezTo>
                <a:cubicBezTo>
                  <a:pt x="2582" y="399"/>
                  <a:pt x="2583" y="398"/>
                  <a:pt x="2584" y="398"/>
                </a:cubicBezTo>
                <a:cubicBezTo>
                  <a:pt x="2585" y="397"/>
                  <a:pt x="2586" y="396"/>
                  <a:pt x="2586" y="396"/>
                </a:cubicBezTo>
                <a:cubicBezTo>
                  <a:pt x="2587" y="396"/>
                  <a:pt x="2587" y="396"/>
                  <a:pt x="2588" y="396"/>
                </a:cubicBezTo>
                <a:cubicBezTo>
                  <a:pt x="2588" y="396"/>
                  <a:pt x="2589" y="396"/>
                  <a:pt x="2589" y="397"/>
                </a:cubicBezTo>
                <a:lnTo>
                  <a:pt x="2627" y="434"/>
                </a:lnTo>
                <a:cubicBezTo>
                  <a:pt x="2631" y="438"/>
                  <a:pt x="2634" y="441"/>
                  <a:pt x="2637" y="443"/>
                </a:cubicBezTo>
                <a:cubicBezTo>
                  <a:pt x="2640" y="444"/>
                  <a:pt x="2642" y="445"/>
                  <a:pt x="2645" y="446"/>
                </a:cubicBezTo>
                <a:cubicBezTo>
                  <a:pt x="2648" y="446"/>
                  <a:pt x="2650" y="446"/>
                  <a:pt x="2653" y="445"/>
                </a:cubicBezTo>
                <a:cubicBezTo>
                  <a:pt x="2656" y="444"/>
                  <a:pt x="2658" y="443"/>
                  <a:pt x="2660" y="441"/>
                </a:cubicBezTo>
                <a:cubicBezTo>
                  <a:pt x="2663" y="438"/>
                  <a:pt x="2665" y="434"/>
                  <a:pt x="2666" y="429"/>
                </a:cubicBezTo>
                <a:cubicBezTo>
                  <a:pt x="2667" y="423"/>
                  <a:pt x="2667" y="417"/>
                  <a:pt x="2666" y="410"/>
                </a:cubicBezTo>
                <a:lnTo>
                  <a:pt x="2621" y="365"/>
                </a:lnTo>
                <a:cubicBezTo>
                  <a:pt x="2621" y="364"/>
                  <a:pt x="2620" y="364"/>
                  <a:pt x="2620" y="364"/>
                </a:cubicBezTo>
                <a:cubicBezTo>
                  <a:pt x="2620" y="363"/>
                  <a:pt x="2620" y="363"/>
                  <a:pt x="2621" y="362"/>
                </a:cubicBezTo>
                <a:cubicBezTo>
                  <a:pt x="2621" y="361"/>
                  <a:pt x="2621" y="360"/>
                  <a:pt x="2622" y="360"/>
                </a:cubicBezTo>
                <a:cubicBezTo>
                  <a:pt x="2623" y="359"/>
                  <a:pt x="2624" y="358"/>
                  <a:pt x="2625" y="357"/>
                </a:cubicBezTo>
                <a:cubicBezTo>
                  <a:pt x="2626" y="355"/>
                  <a:pt x="2627" y="354"/>
                  <a:pt x="2628" y="354"/>
                </a:cubicBezTo>
                <a:cubicBezTo>
                  <a:pt x="2629" y="353"/>
                  <a:pt x="2629" y="353"/>
                  <a:pt x="2630" y="352"/>
                </a:cubicBezTo>
                <a:cubicBezTo>
                  <a:pt x="2631" y="352"/>
                  <a:pt x="2631" y="352"/>
                  <a:pt x="2632" y="352"/>
                </a:cubicBezTo>
                <a:cubicBezTo>
                  <a:pt x="2632" y="352"/>
                  <a:pt x="2633" y="352"/>
                  <a:pt x="2633" y="353"/>
                </a:cubicBezTo>
                <a:lnTo>
                  <a:pt x="2698" y="417"/>
                </a:lnTo>
                <a:close/>
                <a:moveTo>
                  <a:pt x="2699" y="295"/>
                </a:moveTo>
                <a:cubicBezTo>
                  <a:pt x="2700" y="297"/>
                  <a:pt x="2701" y="297"/>
                  <a:pt x="2701" y="298"/>
                </a:cubicBezTo>
                <a:cubicBezTo>
                  <a:pt x="2702" y="299"/>
                  <a:pt x="2703" y="300"/>
                  <a:pt x="2703" y="300"/>
                </a:cubicBezTo>
                <a:cubicBezTo>
                  <a:pt x="2703" y="301"/>
                  <a:pt x="2703" y="301"/>
                  <a:pt x="2703" y="302"/>
                </a:cubicBezTo>
                <a:cubicBezTo>
                  <a:pt x="2703" y="302"/>
                  <a:pt x="2703" y="302"/>
                  <a:pt x="2703" y="303"/>
                </a:cubicBezTo>
                <a:cubicBezTo>
                  <a:pt x="2702" y="303"/>
                  <a:pt x="2702" y="304"/>
                  <a:pt x="2701" y="304"/>
                </a:cubicBezTo>
                <a:cubicBezTo>
                  <a:pt x="2700" y="304"/>
                  <a:pt x="2699" y="305"/>
                  <a:pt x="2698" y="305"/>
                </a:cubicBezTo>
                <a:cubicBezTo>
                  <a:pt x="2697" y="306"/>
                  <a:pt x="2696" y="306"/>
                  <a:pt x="2695" y="307"/>
                </a:cubicBezTo>
                <a:cubicBezTo>
                  <a:pt x="2694" y="308"/>
                  <a:pt x="2693" y="308"/>
                  <a:pt x="2692" y="309"/>
                </a:cubicBezTo>
                <a:cubicBezTo>
                  <a:pt x="2691" y="311"/>
                  <a:pt x="2690" y="312"/>
                  <a:pt x="2690" y="314"/>
                </a:cubicBezTo>
                <a:cubicBezTo>
                  <a:pt x="2689" y="315"/>
                  <a:pt x="2688" y="317"/>
                  <a:pt x="2688" y="320"/>
                </a:cubicBezTo>
                <a:cubicBezTo>
                  <a:pt x="2688" y="322"/>
                  <a:pt x="2688" y="325"/>
                  <a:pt x="2689" y="328"/>
                </a:cubicBezTo>
                <a:cubicBezTo>
                  <a:pt x="2689" y="331"/>
                  <a:pt x="2690" y="335"/>
                  <a:pt x="2691" y="339"/>
                </a:cubicBezTo>
                <a:lnTo>
                  <a:pt x="2733" y="382"/>
                </a:lnTo>
                <a:cubicBezTo>
                  <a:pt x="2734" y="382"/>
                  <a:pt x="2734" y="383"/>
                  <a:pt x="2734" y="383"/>
                </a:cubicBezTo>
                <a:cubicBezTo>
                  <a:pt x="2734" y="383"/>
                  <a:pt x="2734" y="384"/>
                  <a:pt x="2734" y="385"/>
                </a:cubicBezTo>
                <a:cubicBezTo>
                  <a:pt x="2733" y="385"/>
                  <a:pt x="2733" y="386"/>
                  <a:pt x="2732" y="387"/>
                </a:cubicBezTo>
                <a:cubicBezTo>
                  <a:pt x="2732" y="388"/>
                  <a:pt x="2731" y="389"/>
                  <a:pt x="2730" y="390"/>
                </a:cubicBezTo>
                <a:cubicBezTo>
                  <a:pt x="2728" y="391"/>
                  <a:pt x="2727" y="392"/>
                  <a:pt x="2727" y="393"/>
                </a:cubicBezTo>
                <a:cubicBezTo>
                  <a:pt x="2726" y="393"/>
                  <a:pt x="2725" y="394"/>
                  <a:pt x="2724" y="394"/>
                </a:cubicBezTo>
                <a:cubicBezTo>
                  <a:pt x="2724" y="394"/>
                  <a:pt x="2723" y="394"/>
                  <a:pt x="2723" y="394"/>
                </a:cubicBezTo>
                <a:cubicBezTo>
                  <a:pt x="2722" y="394"/>
                  <a:pt x="2722" y="394"/>
                  <a:pt x="2721" y="394"/>
                </a:cubicBezTo>
                <a:lnTo>
                  <a:pt x="2657" y="329"/>
                </a:lnTo>
                <a:cubicBezTo>
                  <a:pt x="2656" y="329"/>
                  <a:pt x="2656" y="328"/>
                  <a:pt x="2656" y="328"/>
                </a:cubicBezTo>
                <a:cubicBezTo>
                  <a:pt x="2656" y="327"/>
                  <a:pt x="2656" y="327"/>
                  <a:pt x="2656" y="326"/>
                </a:cubicBezTo>
                <a:cubicBezTo>
                  <a:pt x="2656" y="326"/>
                  <a:pt x="2657" y="325"/>
                  <a:pt x="2657" y="324"/>
                </a:cubicBezTo>
                <a:cubicBezTo>
                  <a:pt x="2658" y="323"/>
                  <a:pt x="2659" y="322"/>
                  <a:pt x="2660" y="321"/>
                </a:cubicBezTo>
                <a:cubicBezTo>
                  <a:pt x="2661" y="320"/>
                  <a:pt x="2662" y="319"/>
                  <a:pt x="2663" y="319"/>
                </a:cubicBezTo>
                <a:cubicBezTo>
                  <a:pt x="2663" y="318"/>
                  <a:pt x="2664" y="318"/>
                  <a:pt x="2665" y="318"/>
                </a:cubicBezTo>
                <a:cubicBezTo>
                  <a:pt x="2665" y="318"/>
                  <a:pt x="2666" y="317"/>
                  <a:pt x="2666" y="318"/>
                </a:cubicBezTo>
                <a:cubicBezTo>
                  <a:pt x="2667" y="318"/>
                  <a:pt x="2667" y="318"/>
                  <a:pt x="2667" y="318"/>
                </a:cubicBezTo>
                <a:lnTo>
                  <a:pt x="2677" y="328"/>
                </a:lnTo>
                <a:cubicBezTo>
                  <a:pt x="2676" y="323"/>
                  <a:pt x="2676" y="320"/>
                  <a:pt x="2676" y="316"/>
                </a:cubicBezTo>
                <a:cubicBezTo>
                  <a:pt x="2675" y="313"/>
                  <a:pt x="2676" y="310"/>
                  <a:pt x="2676" y="308"/>
                </a:cubicBezTo>
                <a:cubicBezTo>
                  <a:pt x="2677" y="306"/>
                  <a:pt x="2677" y="304"/>
                  <a:pt x="2678" y="302"/>
                </a:cubicBezTo>
                <a:cubicBezTo>
                  <a:pt x="2679" y="300"/>
                  <a:pt x="2681" y="299"/>
                  <a:pt x="2682" y="297"/>
                </a:cubicBezTo>
                <a:cubicBezTo>
                  <a:pt x="2683" y="297"/>
                  <a:pt x="2683" y="296"/>
                  <a:pt x="2684" y="295"/>
                </a:cubicBezTo>
                <a:cubicBezTo>
                  <a:pt x="2685" y="295"/>
                  <a:pt x="2686" y="294"/>
                  <a:pt x="2687" y="293"/>
                </a:cubicBezTo>
                <a:cubicBezTo>
                  <a:pt x="2688" y="293"/>
                  <a:pt x="2689" y="292"/>
                  <a:pt x="2690" y="292"/>
                </a:cubicBezTo>
                <a:cubicBezTo>
                  <a:pt x="2691" y="291"/>
                  <a:pt x="2692" y="291"/>
                  <a:pt x="2692" y="291"/>
                </a:cubicBezTo>
                <a:cubicBezTo>
                  <a:pt x="2693" y="291"/>
                  <a:pt x="2693" y="291"/>
                  <a:pt x="2693" y="291"/>
                </a:cubicBezTo>
                <a:cubicBezTo>
                  <a:pt x="2694" y="291"/>
                  <a:pt x="2694" y="291"/>
                  <a:pt x="2695" y="292"/>
                </a:cubicBezTo>
                <a:cubicBezTo>
                  <a:pt x="2695" y="292"/>
                  <a:pt x="2695" y="292"/>
                  <a:pt x="2696" y="293"/>
                </a:cubicBezTo>
                <a:cubicBezTo>
                  <a:pt x="2697" y="293"/>
                  <a:pt x="2698" y="294"/>
                  <a:pt x="2699" y="295"/>
                </a:cubicBezTo>
                <a:close/>
                <a:moveTo>
                  <a:pt x="2827" y="288"/>
                </a:moveTo>
                <a:cubicBezTo>
                  <a:pt x="2827" y="289"/>
                  <a:pt x="2828" y="290"/>
                  <a:pt x="2827" y="290"/>
                </a:cubicBezTo>
                <a:cubicBezTo>
                  <a:pt x="2827" y="291"/>
                  <a:pt x="2827" y="292"/>
                  <a:pt x="2827" y="293"/>
                </a:cubicBezTo>
                <a:cubicBezTo>
                  <a:pt x="2826" y="293"/>
                  <a:pt x="2825" y="294"/>
                  <a:pt x="2824" y="296"/>
                </a:cubicBezTo>
                <a:cubicBezTo>
                  <a:pt x="2823" y="297"/>
                  <a:pt x="2821" y="298"/>
                  <a:pt x="2821" y="298"/>
                </a:cubicBezTo>
                <a:cubicBezTo>
                  <a:pt x="2820" y="299"/>
                  <a:pt x="2819" y="299"/>
                  <a:pt x="2818" y="299"/>
                </a:cubicBezTo>
                <a:cubicBezTo>
                  <a:pt x="2818" y="299"/>
                  <a:pt x="2817" y="299"/>
                  <a:pt x="2817" y="299"/>
                </a:cubicBezTo>
                <a:lnTo>
                  <a:pt x="2810" y="292"/>
                </a:lnTo>
                <a:cubicBezTo>
                  <a:pt x="2810" y="298"/>
                  <a:pt x="2809" y="304"/>
                  <a:pt x="2808" y="309"/>
                </a:cubicBezTo>
                <a:cubicBezTo>
                  <a:pt x="2806" y="314"/>
                  <a:pt x="2803" y="318"/>
                  <a:pt x="2799" y="322"/>
                </a:cubicBezTo>
                <a:cubicBezTo>
                  <a:pt x="2796" y="326"/>
                  <a:pt x="2792" y="328"/>
                  <a:pt x="2789" y="330"/>
                </a:cubicBezTo>
                <a:cubicBezTo>
                  <a:pt x="2785" y="332"/>
                  <a:pt x="2781" y="333"/>
                  <a:pt x="2778" y="333"/>
                </a:cubicBezTo>
                <a:cubicBezTo>
                  <a:pt x="2774" y="334"/>
                  <a:pt x="2771" y="333"/>
                  <a:pt x="2767" y="332"/>
                </a:cubicBezTo>
                <a:cubicBezTo>
                  <a:pt x="2764" y="330"/>
                  <a:pt x="2760" y="328"/>
                  <a:pt x="2757" y="325"/>
                </a:cubicBezTo>
                <a:cubicBezTo>
                  <a:pt x="2753" y="321"/>
                  <a:pt x="2751" y="317"/>
                  <a:pt x="2750" y="313"/>
                </a:cubicBezTo>
                <a:cubicBezTo>
                  <a:pt x="2749" y="309"/>
                  <a:pt x="2749" y="305"/>
                  <a:pt x="2750" y="300"/>
                </a:cubicBezTo>
                <a:cubicBezTo>
                  <a:pt x="2751" y="296"/>
                  <a:pt x="2753" y="291"/>
                  <a:pt x="2756" y="286"/>
                </a:cubicBezTo>
                <a:cubicBezTo>
                  <a:pt x="2759" y="281"/>
                  <a:pt x="2763" y="276"/>
                  <a:pt x="2768" y="271"/>
                </a:cubicBezTo>
                <a:lnTo>
                  <a:pt x="2777" y="262"/>
                </a:lnTo>
                <a:lnTo>
                  <a:pt x="2772" y="257"/>
                </a:lnTo>
                <a:cubicBezTo>
                  <a:pt x="2769" y="255"/>
                  <a:pt x="2767" y="253"/>
                  <a:pt x="2764" y="251"/>
                </a:cubicBezTo>
                <a:cubicBezTo>
                  <a:pt x="2762" y="250"/>
                  <a:pt x="2760" y="249"/>
                  <a:pt x="2757" y="249"/>
                </a:cubicBezTo>
                <a:cubicBezTo>
                  <a:pt x="2755" y="249"/>
                  <a:pt x="2752" y="250"/>
                  <a:pt x="2750" y="251"/>
                </a:cubicBezTo>
                <a:cubicBezTo>
                  <a:pt x="2747" y="252"/>
                  <a:pt x="2745" y="254"/>
                  <a:pt x="2742" y="257"/>
                </a:cubicBezTo>
                <a:cubicBezTo>
                  <a:pt x="2739" y="260"/>
                  <a:pt x="2737" y="263"/>
                  <a:pt x="2735" y="266"/>
                </a:cubicBezTo>
                <a:cubicBezTo>
                  <a:pt x="2733" y="269"/>
                  <a:pt x="2732" y="271"/>
                  <a:pt x="2731" y="274"/>
                </a:cubicBezTo>
                <a:cubicBezTo>
                  <a:pt x="2730" y="277"/>
                  <a:pt x="2730" y="279"/>
                  <a:pt x="2729" y="281"/>
                </a:cubicBezTo>
                <a:cubicBezTo>
                  <a:pt x="2729" y="283"/>
                  <a:pt x="2728" y="284"/>
                  <a:pt x="2728" y="284"/>
                </a:cubicBezTo>
                <a:cubicBezTo>
                  <a:pt x="2727" y="285"/>
                  <a:pt x="2727" y="285"/>
                  <a:pt x="2726" y="285"/>
                </a:cubicBezTo>
                <a:cubicBezTo>
                  <a:pt x="2726" y="285"/>
                  <a:pt x="2725" y="285"/>
                  <a:pt x="2725" y="285"/>
                </a:cubicBezTo>
                <a:cubicBezTo>
                  <a:pt x="2724" y="285"/>
                  <a:pt x="2723" y="284"/>
                  <a:pt x="2723" y="284"/>
                </a:cubicBezTo>
                <a:cubicBezTo>
                  <a:pt x="2722" y="283"/>
                  <a:pt x="2721" y="283"/>
                  <a:pt x="2721" y="282"/>
                </a:cubicBezTo>
                <a:cubicBezTo>
                  <a:pt x="2719" y="281"/>
                  <a:pt x="2719" y="280"/>
                  <a:pt x="2718" y="279"/>
                </a:cubicBezTo>
                <a:cubicBezTo>
                  <a:pt x="2717" y="278"/>
                  <a:pt x="2717" y="277"/>
                  <a:pt x="2717" y="276"/>
                </a:cubicBezTo>
                <a:cubicBezTo>
                  <a:pt x="2717" y="275"/>
                  <a:pt x="2718" y="273"/>
                  <a:pt x="2718" y="270"/>
                </a:cubicBezTo>
                <a:cubicBezTo>
                  <a:pt x="2719" y="268"/>
                  <a:pt x="2720" y="265"/>
                  <a:pt x="2722" y="263"/>
                </a:cubicBezTo>
                <a:cubicBezTo>
                  <a:pt x="2723" y="260"/>
                  <a:pt x="2725" y="257"/>
                  <a:pt x="2727" y="254"/>
                </a:cubicBezTo>
                <a:cubicBezTo>
                  <a:pt x="2729" y="251"/>
                  <a:pt x="2731" y="248"/>
                  <a:pt x="2733" y="246"/>
                </a:cubicBezTo>
                <a:cubicBezTo>
                  <a:pt x="2738" y="241"/>
                  <a:pt x="2742" y="238"/>
                  <a:pt x="2747" y="236"/>
                </a:cubicBezTo>
                <a:cubicBezTo>
                  <a:pt x="2751" y="234"/>
                  <a:pt x="2755" y="232"/>
                  <a:pt x="2759" y="232"/>
                </a:cubicBezTo>
                <a:cubicBezTo>
                  <a:pt x="2763" y="232"/>
                  <a:pt x="2767" y="234"/>
                  <a:pt x="2771" y="236"/>
                </a:cubicBezTo>
                <a:cubicBezTo>
                  <a:pt x="2775" y="238"/>
                  <a:pt x="2779" y="241"/>
                  <a:pt x="2783" y="245"/>
                </a:cubicBezTo>
                <a:lnTo>
                  <a:pt x="2827" y="288"/>
                </a:lnTo>
                <a:close/>
                <a:moveTo>
                  <a:pt x="2785" y="271"/>
                </a:moveTo>
                <a:lnTo>
                  <a:pt x="2775" y="281"/>
                </a:lnTo>
                <a:cubicBezTo>
                  <a:pt x="2772" y="284"/>
                  <a:pt x="2770" y="287"/>
                  <a:pt x="2768" y="290"/>
                </a:cubicBezTo>
                <a:cubicBezTo>
                  <a:pt x="2766" y="293"/>
                  <a:pt x="2765" y="296"/>
                  <a:pt x="2764" y="299"/>
                </a:cubicBezTo>
                <a:cubicBezTo>
                  <a:pt x="2764" y="301"/>
                  <a:pt x="2764" y="304"/>
                  <a:pt x="2765" y="306"/>
                </a:cubicBezTo>
                <a:cubicBezTo>
                  <a:pt x="2765" y="308"/>
                  <a:pt x="2767" y="310"/>
                  <a:pt x="2769" y="312"/>
                </a:cubicBezTo>
                <a:cubicBezTo>
                  <a:pt x="2772" y="316"/>
                  <a:pt x="2776" y="317"/>
                  <a:pt x="2780" y="317"/>
                </a:cubicBezTo>
                <a:cubicBezTo>
                  <a:pt x="2784" y="317"/>
                  <a:pt x="2788" y="315"/>
                  <a:pt x="2792" y="311"/>
                </a:cubicBezTo>
                <a:cubicBezTo>
                  <a:pt x="2795" y="308"/>
                  <a:pt x="2797" y="304"/>
                  <a:pt x="2798" y="300"/>
                </a:cubicBezTo>
                <a:cubicBezTo>
                  <a:pt x="2799" y="296"/>
                  <a:pt x="2800" y="291"/>
                  <a:pt x="2799" y="284"/>
                </a:cubicBezTo>
                <a:lnTo>
                  <a:pt x="2785" y="271"/>
                </a:lnTo>
                <a:close/>
                <a:moveTo>
                  <a:pt x="2875" y="231"/>
                </a:moveTo>
                <a:cubicBezTo>
                  <a:pt x="2876" y="232"/>
                  <a:pt x="2877" y="233"/>
                  <a:pt x="2878" y="234"/>
                </a:cubicBezTo>
                <a:cubicBezTo>
                  <a:pt x="2878" y="235"/>
                  <a:pt x="2879" y="236"/>
                  <a:pt x="2879" y="237"/>
                </a:cubicBezTo>
                <a:cubicBezTo>
                  <a:pt x="2879" y="238"/>
                  <a:pt x="2878" y="239"/>
                  <a:pt x="2878" y="240"/>
                </a:cubicBezTo>
                <a:cubicBezTo>
                  <a:pt x="2878" y="241"/>
                  <a:pt x="2877" y="242"/>
                  <a:pt x="2876" y="243"/>
                </a:cubicBezTo>
                <a:cubicBezTo>
                  <a:pt x="2875" y="245"/>
                  <a:pt x="2875" y="246"/>
                  <a:pt x="2874" y="247"/>
                </a:cubicBezTo>
                <a:cubicBezTo>
                  <a:pt x="2873" y="248"/>
                  <a:pt x="2872" y="249"/>
                  <a:pt x="2871" y="251"/>
                </a:cubicBezTo>
                <a:cubicBezTo>
                  <a:pt x="2867" y="254"/>
                  <a:pt x="2864" y="256"/>
                  <a:pt x="2861" y="258"/>
                </a:cubicBezTo>
                <a:cubicBezTo>
                  <a:pt x="2857" y="259"/>
                  <a:pt x="2854" y="260"/>
                  <a:pt x="2851" y="260"/>
                </a:cubicBezTo>
                <a:cubicBezTo>
                  <a:pt x="2847" y="259"/>
                  <a:pt x="2844" y="258"/>
                  <a:pt x="2841" y="256"/>
                </a:cubicBezTo>
                <a:cubicBezTo>
                  <a:pt x="2837" y="254"/>
                  <a:pt x="2834" y="251"/>
                  <a:pt x="2830" y="247"/>
                </a:cubicBezTo>
                <a:lnTo>
                  <a:pt x="2792" y="210"/>
                </a:lnTo>
                <a:lnTo>
                  <a:pt x="2783" y="219"/>
                </a:lnTo>
                <a:cubicBezTo>
                  <a:pt x="2782" y="219"/>
                  <a:pt x="2781" y="220"/>
                  <a:pt x="2780" y="219"/>
                </a:cubicBezTo>
                <a:cubicBezTo>
                  <a:pt x="2779" y="219"/>
                  <a:pt x="2777" y="218"/>
                  <a:pt x="2776" y="216"/>
                </a:cubicBezTo>
                <a:cubicBezTo>
                  <a:pt x="2775" y="215"/>
                  <a:pt x="2774" y="215"/>
                  <a:pt x="2774" y="214"/>
                </a:cubicBezTo>
                <a:cubicBezTo>
                  <a:pt x="2773" y="213"/>
                  <a:pt x="2773" y="212"/>
                  <a:pt x="2773" y="212"/>
                </a:cubicBezTo>
                <a:cubicBezTo>
                  <a:pt x="2772" y="211"/>
                  <a:pt x="2772" y="211"/>
                  <a:pt x="2772" y="210"/>
                </a:cubicBezTo>
                <a:cubicBezTo>
                  <a:pt x="2773" y="210"/>
                  <a:pt x="2773" y="209"/>
                  <a:pt x="2773" y="209"/>
                </a:cubicBezTo>
                <a:lnTo>
                  <a:pt x="2782" y="200"/>
                </a:lnTo>
                <a:lnTo>
                  <a:pt x="2767" y="185"/>
                </a:lnTo>
                <a:cubicBezTo>
                  <a:pt x="2766" y="184"/>
                  <a:pt x="2766" y="184"/>
                  <a:pt x="2766" y="183"/>
                </a:cubicBezTo>
                <a:cubicBezTo>
                  <a:pt x="2766" y="183"/>
                  <a:pt x="2766" y="182"/>
                  <a:pt x="2766" y="182"/>
                </a:cubicBezTo>
                <a:cubicBezTo>
                  <a:pt x="2767" y="181"/>
                  <a:pt x="2767" y="180"/>
                  <a:pt x="2768" y="179"/>
                </a:cubicBezTo>
                <a:cubicBezTo>
                  <a:pt x="2768" y="178"/>
                  <a:pt x="2769" y="177"/>
                  <a:pt x="2770" y="176"/>
                </a:cubicBezTo>
                <a:cubicBezTo>
                  <a:pt x="2772" y="175"/>
                  <a:pt x="2773" y="174"/>
                  <a:pt x="2773" y="174"/>
                </a:cubicBezTo>
                <a:cubicBezTo>
                  <a:pt x="2774" y="173"/>
                  <a:pt x="2775" y="172"/>
                  <a:pt x="2776" y="172"/>
                </a:cubicBezTo>
                <a:cubicBezTo>
                  <a:pt x="2776" y="172"/>
                  <a:pt x="2777" y="172"/>
                  <a:pt x="2777" y="172"/>
                </a:cubicBezTo>
                <a:cubicBezTo>
                  <a:pt x="2778" y="172"/>
                  <a:pt x="2778" y="172"/>
                  <a:pt x="2779" y="173"/>
                </a:cubicBezTo>
                <a:lnTo>
                  <a:pt x="2794" y="188"/>
                </a:lnTo>
                <a:lnTo>
                  <a:pt x="2811" y="171"/>
                </a:lnTo>
                <a:cubicBezTo>
                  <a:pt x="2811" y="171"/>
                  <a:pt x="2811" y="171"/>
                  <a:pt x="2812" y="171"/>
                </a:cubicBezTo>
                <a:cubicBezTo>
                  <a:pt x="2812" y="171"/>
                  <a:pt x="2813" y="171"/>
                  <a:pt x="2813" y="171"/>
                </a:cubicBezTo>
                <a:cubicBezTo>
                  <a:pt x="2814" y="171"/>
                  <a:pt x="2815" y="171"/>
                  <a:pt x="2815" y="172"/>
                </a:cubicBezTo>
                <a:cubicBezTo>
                  <a:pt x="2816" y="172"/>
                  <a:pt x="2817" y="173"/>
                  <a:pt x="2818" y="174"/>
                </a:cubicBezTo>
                <a:cubicBezTo>
                  <a:pt x="2820" y="176"/>
                  <a:pt x="2821" y="177"/>
                  <a:pt x="2821" y="178"/>
                </a:cubicBezTo>
                <a:cubicBezTo>
                  <a:pt x="2821" y="180"/>
                  <a:pt x="2821" y="181"/>
                  <a:pt x="2820" y="181"/>
                </a:cubicBezTo>
                <a:lnTo>
                  <a:pt x="2804" y="198"/>
                </a:lnTo>
                <a:lnTo>
                  <a:pt x="2840" y="234"/>
                </a:lnTo>
                <a:cubicBezTo>
                  <a:pt x="2844" y="238"/>
                  <a:pt x="2848" y="241"/>
                  <a:pt x="2852" y="242"/>
                </a:cubicBezTo>
                <a:cubicBezTo>
                  <a:pt x="2856" y="243"/>
                  <a:pt x="2859" y="242"/>
                  <a:pt x="2862" y="238"/>
                </a:cubicBezTo>
                <a:cubicBezTo>
                  <a:pt x="2864" y="237"/>
                  <a:pt x="2864" y="236"/>
                  <a:pt x="2865" y="235"/>
                </a:cubicBezTo>
                <a:cubicBezTo>
                  <a:pt x="2866" y="234"/>
                  <a:pt x="2866" y="233"/>
                  <a:pt x="2867" y="232"/>
                </a:cubicBezTo>
                <a:cubicBezTo>
                  <a:pt x="2867" y="231"/>
                  <a:pt x="2867" y="230"/>
                  <a:pt x="2868" y="230"/>
                </a:cubicBezTo>
                <a:cubicBezTo>
                  <a:pt x="2868" y="229"/>
                  <a:pt x="2868" y="228"/>
                  <a:pt x="2869" y="228"/>
                </a:cubicBezTo>
                <a:cubicBezTo>
                  <a:pt x="2869" y="228"/>
                  <a:pt x="2869" y="228"/>
                  <a:pt x="2870" y="228"/>
                </a:cubicBezTo>
                <a:cubicBezTo>
                  <a:pt x="2870" y="228"/>
                  <a:pt x="2870" y="228"/>
                  <a:pt x="2871" y="228"/>
                </a:cubicBezTo>
                <a:cubicBezTo>
                  <a:pt x="2871" y="228"/>
                  <a:pt x="2872" y="228"/>
                  <a:pt x="2872" y="229"/>
                </a:cubicBezTo>
                <a:cubicBezTo>
                  <a:pt x="2873" y="229"/>
                  <a:pt x="2874" y="230"/>
                  <a:pt x="2875" y="231"/>
                </a:cubicBezTo>
                <a:close/>
                <a:moveTo>
                  <a:pt x="2903" y="212"/>
                </a:moveTo>
                <a:cubicBezTo>
                  <a:pt x="2903" y="212"/>
                  <a:pt x="2904" y="213"/>
                  <a:pt x="2904" y="213"/>
                </a:cubicBezTo>
                <a:cubicBezTo>
                  <a:pt x="2904" y="214"/>
                  <a:pt x="2904" y="214"/>
                  <a:pt x="2903" y="215"/>
                </a:cubicBezTo>
                <a:cubicBezTo>
                  <a:pt x="2903" y="216"/>
                  <a:pt x="2903" y="216"/>
                  <a:pt x="2902" y="217"/>
                </a:cubicBezTo>
                <a:cubicBezTo>
                  <a:pt x="2901" y="218"/>
                  <a:pt x="2900" y="219"/>
                  <a:pt x="2899" y="220"/>
                </a:cubicBezTo>
                <a:cubicBezTo>
                  <a:pt x="2898" y="221"/>
                  <a:pt x="2897" y="222"/>
                  <a:pt x="2896" y="223"/>
                </a:cubicBezTo>
                <a:cubicBezTo>
                  <a:pt x="2895" y="224"/>
                  <a:pt x="2895" y="224"/>
                  <a:pt x="2894" y="224"/>
                </a:cubicBezTo>
                <a:cubicBezTo>
                  <a:pt x="2893" y="225"/>
                  <a:pt x="2893" y="225"/>
                  <a:pt x="2892" y="225"/>
                </a:cubicBezTo>
                <a:cubicBezTo>
                  <a:pt x="2892" y="225"/>
                  <a:pt x="2892" y="224"/>
                  <a:pt x="2891" y="224"/>
                </a:cubicBezTo>
                <a:lnTo>
                  <a:pt x="2826" y="159"/>
                </a:lnTo>
                <a:cubicBezTo>
                  <a:pt x="2826" y="159"/>
                  <a:pt x="2826" y="159"/>
                  <a:pt x="2826" y="158"/>
                </a:cubicBezTo>
                <a:cubicBezTo>
                  <a:pt x="2826" y="158"/>
                  <a:pt x="2826" y="157"/>
                  <a:pt x="2826" y="156"/>
                </a:cubicBezTo>
                <a:cubicBezTo>
                  <a:pt x="2826" y="156"/>
                  <a:pt x="2827" y="155"/>
                  <a:pt x="2827" y="154"/>
                </a:cubicBezTo>
                <a:cubicBezTo>
                  <a:pt x="2828" y="153"/>
                  <a:pt x="2829" y="152"/>
                  <a:pt x="2830" y="151"/>
                </a:cubicBezTo>
                <a:cubicBezTo>
                  <a:pt x="2831" y="150"/>
                  <a:pt x="2832" y="149"/>
                  <a:pt x="2833" y="148"/>
                </a:cubicBezTo>
                <a:cubicBezTo>
                  <a:pt x="2834" y="148"/>
                  <a:pt x="2835" y="147"/>
                  <a:pt x="2835" y="147"/>
                </a:cubicBezTo>
                <a:cubicBezTo>
                  <a:pt x="2836" y="147"/>
                  <a:pt x="2837" y="147"/>
                  <a:pt x="2837" y="147"/>
                </a:cubicBezTo>
                <a:cubicBezTo>
                  <a:pt x="2838" y="147"/>
                  <a:pt x="2838" y="147"/>
                  <a:pt x="2838" y="147"/>
                </a:cubicBezTo>
                <a:lnTo>
                  <a:pt x="2903" y="212"/>
                </a:lnTo>
                <a:close/>
                <a:moveTo>
                  <a:pt x="2818" y="124"/>
                </a:moveTo>
                <a:cubicBezTo>
                  <a:pt x="2821" y="127"/>
                  <a:pt x="2822" y="129"/>
                  <a:pt x="2822" y="131"/>
                </a:cubicBezTo>
                <a:cubicBezTo>
                  <a:pt x="2822" y="134"/>
                  <a:pt x="2820" y="136"/>
                  <a:pt x="2818" y="139"/>
                </a:cubicBezTo>
                <a:cubicBezTo>
                  <a:pt x="2815" y="142"/>
                  <a:pt x="2812" y="143"/>
                  <a:pt x="2810" y="143"/>
                </a:cubicBezTo>
                <a:cubicBezTo>
                  <a:pt x="2808" y="143"/>
                  <a:pt x="2806" y="142"/>
                  <a:pt x="2803" y="139"/>
                </a:cubicBezTo>
                <a:cubicBezTo>
                  <a:pt x="2801" y="136"/>
                  <a:pt x="2799" y="134"/>
                  <a:pt x="2799" y="132"/>
                </a:cubicBezTo>
                <a:cubicBezTo>
                  <a:pt x="2799" y="130"/>
                  <a:pt x="2801" y="127"/>
                  <a:pt x="2804" y="124"/>
                </a:cubicBezTo>
                <a:cubicBezTo>
                  <a:pt x="2806" y="122"/>
                  <a:pt x="2809" y="120"/>
                  <a:pt x="2811" y="120"/>
                </a:cubicBezTo>
                <a:cubicBezTo>
                  <a:pt x="2813" y="120"/>
                  <a:pt x="2815" y="122"/>
                  <a:pt x="2818" y="124"/>
                </a:cubicBezTo>
                <a:close/>
                <a:moveTo>
                  <a:pt x="2952" y="97"/>
                </a:moveTo>
                <a:cubicBezTo>
                  <a:pt x="2957" y="102"/>
                  <a:pt x="2962" y="108"/>
                  <a:pt x="2965" y="113"/>
                </a:cubicBezTo>
                <a:cubicBezTo>
                  <a:pt x="2968" y="119"/>
                  <a:pt x="2969" y="125"/>
                  <a:pt x="2970" y="131"/>
                </a:cubicBezTo>
                <a:cubicBezTo>
                  <a:pt x="2970" y="137"/>
                  <a:pt x="2969" y="143"/>
                  <a:pt x="2967" y="149"/>
                </a:cubicBezTo>
                <a:cubicBezTo>
                  <a:pt x="2965" y="155"/>
                  <a:pt x="2961" y="161"/>
                  <a:pt x="2955" y="166"/>
                </a:cubicBezTo>
                <a:cubicBezTo>
                  <a:pt x="2950" y="171"/>
                  <a:pt x="2945" y="175"/>
                  <a:pt x="2939" y="178"/>
                </a:cubicBezTo>
                <a:cubicBezTo>
                  <a:pt x="2933" y="180"/>
                  <a:pt x="2928" y="181"/>
                  <a:pt x="2922" y="181"/>
                </a:cubicBezTo>
                <a:cubicBezTo>
                  <a:pt x="2917" y="180"/>
                  <a:pt x="2911" y="178"/>
                  <a:pt x="2905" y="175"/>
                </a:cubicBezTo>
                <a:cubicBezTo>
                  <a:pt x="2900" y="172"/>
                  <a:pt x="2894" y="168"/>
                  <a:pt x="2889" y="163"/>
                </a:cubicBezTo>
                <a:cubicBezTo>
                  <a:pt x="2884" y="157"/>
                  <a:pt x="2879" y="152"/>
                  <a:pt x="2876" y="146"/>
                </a:cubicBezTo>
                <a:cubicBezTo>
                  <a:pt x="2873" y="140"/>
                  <a:pt x="2871" y="135"/>
                  <a:pt x="2871" y="129"/>
                </a:cubicBezTo>
                <a:cubicBezTo>
                  <a:pt x="2871" y="123"/>
                  <a:pt x="2872" y="117"/>
                  <a:pt x="2874" y="111"/>
                </a:cubicBezTo>
                <a:cubicBezTo>
                  <a:pt x="2876" y="105"/>
                  <a:pt x="2880" y="99"/>
                  <a:pt x="2886" y="94"/>
                </a:cubicBezTo>
                <a:cubicBezTo>
                  <a:pt x="2891" y="88"/>
                  <a:pt x="2896" y="85"/>
                  <a:pt x="2902" y="82"/>
                </a:cubicBezTo>
                <a:cubicBezTo>
                  <a:pt x="2907" y="80"/>
                  <a:pt x="2913" y="79"/>
                  <a:pt x="2919" y="79"/>
                </a:cubicBezTo>
                <a:cubicBezTo>
                  <a:pt x="2924" y="80"/>
                  <a:pt x="2930" y="81"/>
                  <a:pt x="2936" y="84"/>
                </a:cubicBezTo>
                <a:cubicBezTo>
                  <a:pt x="2941" y="87"/>
                  <a:pt x="2947" y="91"/>
                  <a:pt x="2952" y="97"/>
                </a:cubicBezTo>
                <a:close/>
                <a:moveTo>
                  <a:pt x="2941" y="110"/>
                </a:moveTo>
                <a:cubicBezTo>
                  <a:pt x="2937" y="106"/>
                  <a:pt x="2934" y="103"/>
                  <a:pt x="2930" y="101"/>
                </a:cubicBezTo>
                <a:cubicBezTo>
                  <a:pt x="2926" y="99"/>
                  <a:pt x="2922" y="97"/>
                  <a:pt x="2918" y="96"/>
                </a:cubicBezTo>
                <a:cubicBezTo>
                  <a:pt x="2914" y="95"/>
                  <a:pt x="2911" y="95"/>
                  <a:pt x="2907" y="97"/>
                </a:cubicBezTo>
                <a:cubicBezTo>
                  <a:pt x="2903" y="98"/>
                  <a:pt x="2899" y="100"/>
                  <a:pt x="2895" y="104"/>
                </a:cubicBezTo>
                <a:cubicBezTo>
                  <a:pt x="2892" y="108"/>
                  <a:pt x="2889" y="111"/>
                  <a:pt x="2888" y="115"/>
                </a:cubicBezTo>
                <a:cubicBezTo>
                  <a:pt x="2887" y="119"/>
                  <a:pt x="2886" y="123"/>
                  <a:pt x="2887" y="127"/>
                </a:cubicBezTo>
                <a:cubicBezTo>
                  <a:pt x="2887" y="130"/>
                  <a:pt x="2889" y="134"/>
                  <a:pt x="2891" y="138"/>
                </a:cubicBezTo>
                <a:cubicBezTo>
                  <a:pt x="2894" y="142"/>
                  <a:pt x="2897" y="146"/>
                  <a:pt x="2900" y="150"/>
                </a:cubicBezTo>
                <a:cubicBezTo>
                  <a:pt x="2904" y="153"/>
                  <a:pt x="2907" y="156"/>
                  <a:pt x="2911" y="159"/>
                </a:cubicBezTo>
                <a:cubicBezTo>
                  <a:pt x="2915" y="161"/>
                  <a:pt x="2919" y="163"/>
                  <a:pt x="2923" y="164"/>
                </a:cubicBezTo>
                <a:cubicBezTo>
                  <a:pt x="2926" y="164"/>
                  <a:pt x="2930" y="164"/>
                  <a:pt x="2934" y="163"/>
                </a:cubicBezTo>
                <a:cubicBezTo>
                  <a:pt x="2938" y="162"/>
                  <a:pt x="2942" y="159"/>
                  <a:pt x="2946" y="155"/>
                </a:cubicBezTo>
                <a:cubicBezTo>
                  <a:pt x="2949" y="152"/>
                  <a:pt x="2952" y="148"/>
                  <a:pt x="2953" y="145"/>
                </a:cubicBezTo>
                <a:cubicBezTo>
                  <a:pt x="2954" y="141"/>
                  <a:pt x="2955" y="137"/>
                  <a:pt x="2954" y="133"/>
                </a:cubicBezTo>
                <a:cubicBezTo>
                  <a:pt x="2954" y="129"/>
                  <a:pt x="2952" y="125"/>
                  <a:pt x="2950" y="121"/>
                </a:cubicBezTo>
                <a:cubicBezTo>
                  <a:pt x="2947" y="117"/>
                  <a:pt x="2944" y="114"/>
                  <a:pt x="2941" y="110"/>
                </a:cubicBezTo>
                <a:close/>
                <a:moveTo>
                  <a:pt x="3060" y="55"/>
                </a:moveTo>
                <a:cubicBezTo>
                  <a:pt x="3060" y="56"/>
                  <a:pt x="3061" y="56"/>
                  <a:pt x="3061" y="56"/>
                </a:cubicBezTo>
                <a:cubicBezTo>
                  <a:pt x="3061" y="57"/>
                  <a:pt x="3061" y="57"/>
                  <a:pt x="3060" y="58"/>
                </a:cubicBezTo>
                <a:cubicBezTo>
                  <a:pt x="3060" y="59"/>
                  <a:pt x="3060" y="59"/>
                  <a:pt x="3059" y="60"/>
                </a:cubicBezTo>
                <a:cubicBezTo>
                  <a:pt x="3058" y="61"/>
                  <a:pt x="3057" y="62"/>
                  <a:pt x="3056" y="63"/>
                </a:cubicBezTo>
                <a:cubicBezTo>
                  <a:pt x="3055" y="64"/>
                  <a:pt x="3054" y="65"/>
                  <a:pt x="3053" y="66"/>
                </a:cubicBezTo>
                <a:cubicBezTo>
                  <a:pt x="3052" y="67"/>
                  <a:pt x="3052" y="67"/>
                  <a:pt x="3051" y="67"/>
                </a:cubicBezTo>
                <a:cubicBezTo>
                  <a:pt x="3050" y="68"/>
                  <a:pt x="3050" y="68"/>
                  <a:pt x="3049" y="68"/>
                </a:cubicBezTo>
                <a:cubicBezTo>
                  <a:pt x="3049" y="68"/>
                  <a:pt x="3048" y="67"/>
                  <a:pt x="3048" y="67"/>
                </a:cubicBezTo>
                <a:lnTo>
                  <a:pt x="3010" y="29"/>
                </a:lnTo>
                <a:cubicBezTo>
                  <a:pt x="3007" y="25"/>
                  <a:pt x="3003" y="23"/>
                  <a:pt x="3000" y="21"/>
                </a:cubicBezTo>
                <a:cubicBezTo>
                  <a:pt x="2998" y="19"/>
                  <a:pt x="2995" y="18"/>
                  <a:pt x="2992" y="18"/>
                </a:cubicBezTo>
                <a:cubicBezTo>
                  <a:pt x="2989" y="17"/>
                  <a:pt x="2987" y="17"/>
                  <a:pt x="2984" y="18"/>
                </a:cubicBezTo>
                <a:cubicBezTo>
                  <a:pt x="2982" y="19"/>
                  <a:pt x="2979" y="21"/>
                  <a:pt x="2977" y="23"/>
                </a:cubicBezTo>
                <a:cubicBezTo>
                  <a:pt x="2974" y="26"/>
                  <a:pt x="2972" y="30"/>
                  <a:pt x="2971" y="35"/>
                </a:cubicBezTo>
                <a:cubicBezTo>
                  <a:pt x="2970" y="40"/>
                  <a:pt x="2970" y="46"/>
                  <a:pt x="2971" y="54"/>
                </a:cubicBezTo>
                <a:lnTo>
                  <a:pt x="3016" y="99"/>
                </a:lnTo>
                <a:cubicBezTo>
                  <a:pt x="3016" y="99"/>
                  <a:pt x="3017" y="100"/>
                  <a:pt x="3017" y="100"/>
                </a:cubicBezTo>
                <a:cubicBezTo>
                  <a:pt x="3017" y="101"/>
                  <a:pt x="3017" y="101"/>
                  <a:pt x="3017" y="102"/>
                </a:cubicBezTo>
                <a:cubicBezTo>
                  <a:pt x="3016" y="102"/>
                  <a:pt x="3016" y="103"/>
                  <a:pt x="3015" y="104"/>
                </a:cubicBezTo>
                <a:cubicBezTo>
                  <a:pt x="3015" y="105"/>
                  <a:pt x="3014" y="106"/>
                  <a:pt x="3012" y="107"/>
                </a:cubicBezTo>
                <a:cubicBezTo>
                  <a:pt x="3011" y="108"/>
                  <a:pt x="3010" y="109"/>
                  <a:pt x="3009" y="110"/>
                </a:cubicBezTo>
                <a:cubicBezTo>
                  <a:pt x="3008" y="111"/>
                  <a:pt x="3008" y="111"/>
                  <a:pt x="3007" y="111"/>
                </a:cubicBezTo>
                <a:cubicBezTo>
                  <a:pt x="3006" y="112"/>
                  <a:pt x="3006" y="112"/>
                  <a:pt x="3005" y="112"/>
                </a:cubicBezTo>
                <a:cubicBezTo>
                  <a:pt x="3005" y="111"/>
                  <a:pt x="3005" y="111"/>
                  <a:pt x="3004" y="111"/>
                </a:cubicBezTo>
                <a:lnTo>
                  <a:pt x="2940" y="46"/>
                </a:lnTo>
                <a:cubicBezTo>
                  <a:pt x="2939" y="46"/>
                  <a:pt x="2939" y="45"/>
                  <a:pt x="2939" y="45"/>
                </a:cubicBezTo>
                <a:cubicBezTo>
                  <a:pt x="2939" y="45"/>
                  <a:pt x="2939" y="44"/>
                  <a:pt x="2939" y="43"/>
                </a:cubicBezTo>
                <a:cubicBezTo>
                  <a:pt x="2939" y="43"/>
                  <a:pt x="2940" y="42"/>
                  <a:pt x="2940" y="41"/>
                </a:cubicBezTo>
                <a:cubicBezTo>
                  <a:pt x="2941" y="41"/>
                  <a:pt x="2942" y="40"/>
                  <a:pt x="2943" y="39"/>
                </a:cubicBezTo>
                <a:cubicBezTo>
                  <a:pt x="2944" y="37"/>
                  <a:pt x="2945" y="37"/>
                  <a:pt x="2946" y="36"/>
                </a:cubicBezTo>
                <a:cubicBezTo>
                  <a:pt x="2946" y="35"/>
                  <a:pt x="2947" y="35"/>
                  <a:pt x="2948" y="35"/>
                </a:cubicBezTo>
                <a:cubicBezTo>
                  <a:pt x="2948" y="35"/>
                  <a:pt x="2949" y="35"/>
                  <a:pt x="2949" y="35"/>
                </a:cubicBezTo>
                <a:cubicBezTo>
                  <a:pt x="2950" y="35"/>
                  <a:pt x="2950" y="35"/>
                  <a:pt x="2950" y="35"/>
                </a:cubicBezTo>
                <a:lnTo>
                  <a:pt x="2959" y="44"/>
                </a:lnTo>
                <a:cubicBezTo>
                  <a:pt x="2958" y="36"/>
                  <a:pt x="2959" y="30"/>
                  <a:pt x="2961" y="24"/>
                </a:cubicBezTo>
                <a:cubicBezTo>
                  <a:pt x="2963" y="19"/>
                  <a:pt x="2965" y="14"/>
                  <a:pt x="2969" y="10"/>
                </a:cubicBezTo>
                <a:cubicBezTo>
                  <a:pt x="2973" y="6"/>
                  <a:pt x="2978" y="3"/>
                  <a:pt x="2982" y="2"/>
                </a:cubicBezTo>
                <a:cubicBezTo>
                  <a:pt x="2986" y="0"/>
                  <a:pt x="2991" y="0"/>
                  <a:pt x="2995" y="0"/>
                </a:cubicBezTo>
                <a:cubicBezTo>
                  <a:pt x="2999" y="1"/>
                  <a:pt x="3003" y="3"/>
                  <a:pt x="3007" y="5"/>
                </a:cubicBezTo>
                <a:cubicBezTo>
                  <a:pt x="3012" y="8"/>
                  <a:pt x="3016" y="11"/>
                  <a:pt x="3020" y="16"/>
                </a:cubicBezTo>
                <a:lnTo>
                  <a:pt x="3060" y="55"/>
                </a:lnTo>
                <a:close/>
              </a:path>
            </a:pathLst>
          </a:custGeom>
          <a:solidFill>
            <a:srgbClr val="000000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100" name="Freeform 44"/>
          <p:cNvSpPr>
            <a:spLocks noEditPoints="1"/>
          </p:cNvSpPr>
          <p:nvPr/>
        </p:nvSpPr>
        <p:spPr bwMode="auto">
          <a:xfrm>
            <a:off x="4088072" y="3982331"/>
            <a:ext cx="1174750" cy="1163638"/>
          </a:xfrm>
          <a:custGeom>
            <a:avLst/>
            <a:gdLst/>
            <a:ahLst/>
            <a:cxnLst>
              <a:cxn ang="0">
                <a:pos x="58" y="1716"/>
              </a:cxn>
              <a:cxn ang="0">
                <a:pos x="133" y="1790"/>
              </a:cxn>
              <a:cxn ang="0">
                <a:pos x="69" y="1674"/>
              </a:cxn>
              <a:cxn ang="0">
                <a:pos x="233" y="1687"/>
              </a:cxn>
              <a:cxn ang="0">
                <a:pos x="164" y="1643"/>
              </a:cxn>
              <a:cxn ang="0">
                <a:pos x="309" y="1626"/>
              </a:cxn>
              <a:cxn ang="0">
                <a:pos x="257" y="1565"/>
              </a:cxn>
              <a:cxn ang="0">
                <a:pos x="299" y="1608"/>
              </a:cxn>
              <a:cxn ang="0">
                <a:pos x="266" y="1548"/>
              </a:cxn>
              <a:cxn ang="0">
                <a:pos x="304" y="1502"/>
              </a:cxn>
              <a:cxn ang="0">
                <a:pos x="362" y="1460"/>
              </a:cxn>
              <a:cxn ang="0">
                <a:pos x="385" y="1556"/>
              </a:cxn>
              <a:cxn ang="0">
                <a:pos x="347" y="1455"/>
              </a:cxn>
              <a:cxn ang="0">
                <a:pos x="373" y="1432"/>
              </a:cxn>
              <a:cxn ang="0">
                <a:pos x="511" y="1411"/>
              </a:cxn>
              <a:cxn ang="0">
                <a:pos x="450" y="1360"/>
              </a:cxn>
              <a:cxn ang="0">
                <a:pos x="497" y="1424"/>
              </a:cxn>
              <a:cxn ang="0">
                <a:pos x="547" y="1371"/>
              </a:cxn>
              <a:cxn ang="0">
                <a:pos x="515" y="1320"/>
              </a:cxn>
              <a:cxn ang="0">
                <a:pos x="531" y="1255"/>
              </a:cxn>
              <a:cxn ang="0">
                <a:pos x="653" y="1222"/>
              </a:cxn>
              <a:cxn ang="0">
                <a:pos x="680" y="1253"/>
              </a:cxn>
              <a:cxn ang="0">
                <a:pos x="635" y="1225"/>
              </a:cxn>
              <a:cxn ang="0">
                <a:pos x="677" y="1153"/>
              </a:cxn>
              <a:cxn ang="0">
                <a:pos x="653" y="1152"/>
              </a:cxn>
              <a:cxn ang="0">
                <a:pos x="756" y="1055"/>
              </a:cxn>
              <a:cxn ang="0">
                <a:pos x="694" y="1110"/>
              </a:cxn>
              <a:cxn ang="0">
                <a:pos x="846" y="1091"/>
              </a:cxn>
              <a:cxn ang="0">
                <a:pos x="846" y="1091"/>
              </a:cxn>
              <a:cxn ang="0">
                <a:pos x="896" y="1048"/>
              </a:cxn>
              <a:cxn ang="0">
                <a:pos x="862" y="975"/>
              </a:cxn>
              <a:cxn ang="0">
                <a:pos x="905" y="1013"/>
              </a:cxn>
              <a:cxn ang="0">
                <a:pos x="985" y="945"/>
              </a:cxn>
              <a:cxn ang="0">
                <a:pos x="954" y="909"/>
              </a:cxn>
              <a:cxn ang="0">
                <a:pos x="1052" y="889"/>
              </a:cxn>
              <a:cxn ang="0">
                <a:pos x="1009" y="784"/>
              </a:cxn>
              <a:cxn ang="0">
                <a:pos x="1098" y="806"/>
              </a:cxn>
              <a:cxn ang="0">
                <a:pos x="1092" y="780"/>
              </a:cxn>
              <a:cxn ang="0">
                <a:pos x="1255" y="686"/>
              </a:cxn>
              <a:cxn ang="0">
                <a:pos x="1124" y="682"/>
              </a:cxn>
              <a:cxn ang="0">
                <a:pos x="1178" y="628"/>
              </a:cxn>
              <a:cxn ang="0">
                <a:pos x="1287" y="610"/>
              </a:cxn>
              <a:cxn ang="0">
                <a:pos x="1337" y="605"/>
              </a:cxn>
              <a:cxn ang="0">
                <a:pos x="1260" y="564"/>
              </a:cxn>
              <a:cxn ang="0">
                <a:pos x="1389" y="548"/>
              </a:cxn>
              <a:cxn ang="0">
                <a:pos x="1333" y="494"/>
              </a:cxn>
              <a:cxn ang="0">
                <a:pos x="1555" y="411"/>
              </a:cxn>
              <a:cxn ang="0">
                <a:pos x="1501" y="368"/>
              </a:cxn>
              <a:cxn ang="0">
                <a:pos x="1421" y="427"/>
              </a:cxn>
              <a:cxn ang="0">
                <a:pos x="1595" y="326"/>
              </a:cxn>
              <a:cxn ang="0">
                <a:pos x="1561" y="352"/>
              </a:cxn>
              <a:cxn ang="0">
                <a:pos x="1684" y="258"/>
              </a:cxn>
              <a:cxn ang="0">
                <a:pos x="1617" y="212"/>
              </a:cxn>
              <a:cxn ang="0">
                <a:pos x="1619" y="195"/>
              </a:cxn>
              <a:cxn ang="0">
                <a:pos x="1716" y="225"/>
              </a:cxn>
              <a:cxn ang="0">
                <a:pos x="1752" y="189"/>
              </a:cxn>
              <a:cxn ang="0">
                <a:pos x="1670" y="105"/>
              </a:cxn>
              <a:cxn ang="0">
                <a:pos x="1757" y="142"/>
              </a:cxn>
              <a:cxn ang="0">
                <a:pos x="1706" y="67"/>
              </a:cxn>
              <a:cxn ang="0">
                <a:pos x="1798" y="123"/>
              </a:cxn>
              <a:cxn ang="0">
                <a:pos x="1749" y="54"/>
              </a:cxn>
            </a:cxnLst>
            <a:rect l="0" t="0" r="r" b="b"/>
            <a:pathLst>
              <a:path w="1866" h="1848">
                <a:moveTo>
                  <a:pt x="137" y="1793"/>
                </a:moveTo>
                <a:cubicBezTo>
                  <a:pt x="138" y="1794"/>
                  <a:pt x="139" y="1795"/>
                  <a:pt x="140" y="1796"/>
                </a:cubicBezTo>
                <a:cubicBezTo>
                  <a:pt x="140" y="1796"/>
                  <a:pt x="141" y="1797"/>
                  <a:pt x="141" y="1798"/>
                </a:cubicBezTo>
                <a:cubicBezTo>
                  <a:pt x="141" y="1799"/>
                  <a:pt x="141" y="1799"/>
                  <a:pt x="141" y="1800"/>
                </a:cubicBezTo>
                <a:cubicBezTo>
                  <a:pt x="141" y="1800"/>
                  <a:pt x="140" y="1801"/>
                  <a:pt x="140" y="1801"/>
                </a:cubicBezTo>
                <a:lnTo>
                  <a:pt x="95" y="1846"/>
                </a:lnTo>
                <a:cubicBezTo>
                  <a:pt x="94" y="1847"/>
                  <a:pt x="93" y="1847"/>
                  <a:pt x="91" y="1848"/>
                </a:cubicBezTo>
                <a:cubicBezTo>
                  <a:pt x="90" y="1848"/>
                  <a:pt x="88" y="1847"/>
                  <a:pt x="86" y="1845"/>
                </a:cubicBezTo>
                <a:lnTo>
                  <a:pt x="3" y="1762"/>
                </a:lnTo>
                <a:cubicBezTo>
                  <a:pt x="1" y="1760"/>
                  <a:pt x="0" y="1759"/>
                  <a:pt x="1" y="1757"/>
                </a:cubicBezTo>
                <a:cubicBezTo>
                  <a:pt x="1" y="1755"/>
                  <a:pt x="1" y="1754"/>
                  <a:pt x="3" y="1753"/>
                </a:cubicBezTo>
                <a:lnTo>
                  <a:pt x="47" y="1709"/>
                </a:lnTo>
                <a:cubicBezTo>
                  <a:pt x="47" y="1708"/>
                  <a:pt x="47" y="1708"/>
                  <a:pt x="48" y="1708"/>
                </a:cubicBezTo>
                <a:cubicBezTo>
                  <a:pt x="48" y="1708"/>
                  <a:pt x="49" y="1708"/>
                  <a:pt x="50" y="1708"/>
                </a:cubicBezTo>
                <a:cubicBezTo>
                  <a:pt x="50" y="1708"/>
                  <a:pt x="51" y="1709"/>
                  <a:pt x="52" y="1709"/>
                </a:cubicBezTo>
                <a:cubicBezTo>
                  <a:pt x="53" y="1710"/>
                  <a:pt x="53" y="1710"/>
                  <a:pt x="54" y="1711"/>
                </a:cubicBezTo>
                <a:cubicBezTo>
                  <a:pt x="55" y="1712"/>
                  <a:pt x="56" y="1713"/>
                  <a:pt x="56" y="1714"/>
                </a:cubicBezTo>
                <a:cubicBezTo>
                  <a:pt x="57" y="1715"/>
                  <a:pt x="57" y="1715"/>
                  <a:pt x="58" y="1716"/>
                </a:cubicBezTo>
                <a:cubicBezTo>
                  <a:pt x="58" y="1716"/>
                  <a:pt x="58" y="1717"/>
                  <a:pt x="58" y="1717"/>
                </a:cubicBezTo>
                <a:cubicBezTo>
                  <a:pt x="58" y="1718"/>
                  <a:pt x="57" y="1718"/>
                  <a:pt x="57" y="1719"/>
                </a:cubicBezTo>
                <a:lnTo>
                  <a:pt x="21" y="1755"/>
                </a:lnTo>
                <a:lnTo>
                  <a:pt x="50" y="1784"/>
                </a:lnTo>
                <a:lnTo>
                  <a:pt x="81" y="1753"/>
                </a:lnTo>
                <a:cubicBezTo>
                  <a:pt x="81" y="1753"/>
                  <a:pt x="82" y="1752"/>
                  <a:pt x="82" y="1752"/>
                </a:cubicBezTo>
                <a:cubicBezTo>
                  <a:pt x="83" y="1752"/>
                  <a:pt x="83" y="1752"/>
                  <a:pt x="84" y="1752"/>
                </a:cubicBezTo>
                <a:cubicBezTo>
                  <a:pt x="85" y="1753"/>
                  <a:pt x="85" y="1753"/>
                  <a:pt x="86" y="1754"/>
                </a:cubicBezTo>
                <a:cubicBezTo>
                  <a:pt x="87" y="1754"/>
                  <a:pt x="88" y="1755"/>
                  <a:pt x="89" y="1756"/>
                </a:cubicBezTo>
                <a:cubicBezTo>
                  <a:pt x="89" y="1757"/>
                  <a:pt x="90" y="1757"/>
                  <a:pt x="91" y="1758"/>
                </a:cubicBezTo>
                <a:cubicBezTo>
                  <a:pt x="91" y="1759"/>
                  <a:pt x="91" y="1760"/>
                  <a:pt x="92" y="1760"/>
                </a:cubicBezTo>
                <a:cubicBezTo>
                  <a:pt x="92" y="1761"/>
                  <a:pt x="92" y="1761"/>
                  <a:pt x="92" y="1762"/>
                </a:cubicBezTo>
                <a:cubicBezTo>
                  <a:pt x="92" y="1762"/>
                  <a:pt x="91" y="1763"/>
                  <a:pt x="91" y="1763"/>
                </a:cubicBezTo>
                <a:lnTo>
                  <a:pt x="60" y="1794"/>
                </a:lnTo>
                <a:lnTo>
                  <a:pt x="93" y="1828"/>
                </a:lnTo>
                <a:lnTo>
                  <a:pt x="130" y="1791"/>
                </a:lnTo>
                <a:cubicBezTo>
                  <a:pt x="130" y="1790"/>
                  <a:pt x="131" y="1790"/>
                  <a:pt x="131" y="1790"/>
                </a:cubicBezTo>
                <a:cubicBezTo>
                  <a:pt x="132" y="1790"/>
                  <a:pt x="132" y="1790"/>
                  <a:pt x="133" y="1790"/>
                </a:cubicBezTo>
                <a:cubicBezTo>
                  <a:pt x="133" y="1790"/>
                  <a:pt x="134" y="1791"/>
                  <a:pt x="135" y="1791"/>
                </a:cubicBezTo>
                <a:cubicBezTo>
                  <a:pt x="136" y="1792"/>
                  <a:pt x="137" y="1792"/>
                  <a:pt x="137" y="1793"/>
                </a:cubicBezTo>
                <a:close/>
                <a:moveTo>
                  <a:pt x="167" y="1770"/>
                </a:moveTo>
                <a:cubicBezTo>
                  <a:pt x="168" y="1770"/>
                  <a:pt x="168" y="1771"/>
                  <a:pt x="168" y="1771"/>
                </a:cubicBezTo>
                <a:cubicBezTo>
                  <a:pt x="168" y="1772"/>
                  <a:pt x="168" y="1772"/>
                  <a:pt x="168" y="1773"/>
                </a:cubicBezTo>
                <a:cubicBezTo>
                  <a:pt x="168" y="1773"/>
                  <a:pt x="167" y="1774"/>
                  <a:pt x="167" y="1775"/>
                </a:cubicBezTo>
                <a:cubicBezTo>
                  <a:pt x="166" y="1776"/>
                  <a:pt x="165" y="1777"/>
                  <a:pt x="164" y="1778"/>
                </a:cubicBezTo>
                <a:cubicBezTo>
                  <a:pt x="163" y="1779"/>
                  <a:pt x="162" y="1780"/>
                  <a:pt x="161" y="1781"/>
                </a:cubicBezTo>
                <a:cubicBezTo>
                  <a:pt x="160" y="1782"/>
                  <a:pt x="159" y="1782"/>
                  <a:pt x="158" y="1782"/>
                </a:cubicBezTo>
                <a:cubicBezTo>
                  <a:pt x="158" y="1783"/>
                  <a:pt x="157" y="1783"/>
                  <a:pt x="157" y="1783"/>
                </a:cubicBezTo>
                <a:cubicBezTo>
                  <a:pt x="156" y="1782"/>
                  <a:pt x="156" y="1782"/>
                  <a:pt x="156" y="1782"/>
                </a:cubicBezTo>
                <a:lnTo>
                  <a:pt x="60" y="1686"/>
                </a:lnTo>
                <a:cubicBezTo>
                  <a:pt x="59" y="1685"/>
                  <a:pt x="59" y="1685"/>
                  <a:pt x="59" y="1685"/>
                </a:cubicBezTo>
                <a:cubicBezTo>
                  <a:pt x="59" y="1684"/>
                  <a:pt x="59" y="1684"/>
                  <a:pt x="59" y="1683"/>
                </a:cubicBezTo>
                <a:cubicBezTo>
                  <a:pt x="59" y="1682"/>
                  <a:pt x="60" y="1682"/>
                  <a:pt x="61" y="1681"/>
                </a:cubicBezTo>
                <a:cubicBezTo>
                  <a:pt x="61" y="1680"/>
                  <a:pt x="62" y="1679"/>
                  <a:pt x="63" y="1678"/>
                </a:cubicBezTo>
                <a:cubicBezTo>
                  <a:pt x="64" y="1676"/>
                  <a:pt x="65" y="1676"/>
                  <a:pt x="66" y="1675"/>
                </a:cubicBezTo>
                <a:cubicBezTo>
                  <a:pt x="67" y="1674"/>
                  <a:pt x="68" y="1674"/>
                  <a:pt x="69" y="1674"/>
                </a:cubicBezTo>
                <a:cubicBezTo>
                  <a:pt x="69" y="1673"/>
                  <a:pt x="70" y="1673"/>
                  <a:pt x="70" y="1673"/>
                </a:cubicBezTo>
                <a:cubicBezTo>
                  <a:pt x="71" y="1673"/>
                  <a:pt x="71" y="1674"/>
                  <a:pt x="72" y="1674"/>
                </a:cubicBezTo>
                <a:lnTo>
                  <a:pt x="167" y="1770"/>
                </a:lnTo>
                <a:close/>
                <a:moveTo>
                  <a:pt x="210" y="1658"/>
                </a:moveTo>
                <a:cubicBezTo>
                  <a:pt x="211" y="1659"/>
                  <a:pt x="212" y="1661"/>
                  <a:pt x="212" y="1663"/>
                </a:cubicBezTo>
                <a:cubicBezTo>
                  <a:pt x="212" y="1665"/>
                  <a:pt x="211" y="1666"/>
                  <a:pt x="210" y="1667"/>
                </a:cubicBezTo>
                <a:lnTo>
                  <a:pt x="168" y="1710"/>
                </a:lnTo>
                <a:cubicBezTo>
                  <a:pt x="171" y="1714"/>
                  <a:pt x="175" y="1716"/>
                  <a:pt x="178" y="1719"/>
                </a:cubicBezTo>
                <a:cubicBezTo>
                  <a:pt x="182" y="1721"/>
                  <a:pt x="186" y="1722"/>
                  <a:pt x="189" y="1722"/>
                </a:cubicBezTo>
                <a:cubicBezTo>
                  <a:pt x="193" y="1723"/>
                  <a:pt x="197" y="1722"/>
                  <a:pt x="201" y="1721"/>
                </a:cubicBezTo>
                <a:cubicBezTo>
                  <a:pt x="204" y="1719"/>
                  <a:pt x="208" y="1716"/>
                  <a:pt x="212" y="1712"/>
                </a:cubicBezTo>
                <a:cubicBezTo>
                  <a:pt x="215" y="1709"/>
                  <a:pt x="218" y="1706"/>
                  <a:pt x="220" y="1703"/>
                </a:cubicBezTo>
                <a:cubicBezTo>
                  <a:pt x="222" y="1700"/>
                  <a:pt x="223" y="1698"/>
                  <a:pt x="224" y="1695"/>
                </a:cubicBezTo>
                <a:cubicBezTo>
                  <a:pt x="225" y="1693"/>
                  <a:pt x="226" y="1691"/>
                  <a:pt x="227" y="1689"/>
                </a:cubicBezTo>
                <a:cubicBezTo>
                  <a:pt x="227" y="1688"/>
                  <a:pt x="228" y="1687"/>
                  <a:pt x="229" y="1686"/>
                </a:cubicBezTo>
                <a:cubicBezTo>
                  <a:pt x="229" y="1686"/>
                  <a:pt x="229" y="1685"/>
                  <a:pt x="230" y="1685"/>
                </a:cubicBezTo>
                <a:cubicBezTo>
                  <a:pt x="230" y="1685"/>
                  <a:pt x="231" y="1685"/>
                  <a:pt x="231" y="1686"/>
                </a:cubicBezTo>
                <a:cubicBezTo>
                  <a:pt x="232" y="1686"/>
                  <a:pt x="232" y="1686"/>
                  <a:pt x="233" y="1687"/>
                </a:cubicBezTo>
                <a:cubicBezTo>
                  <a:pt x="234" y="1687"/>
                  <a:pt x="234" y="1688"/>
                  <a:pt x="235" y="1689"/>
                </a:cubicBezTo>
                <a:cubicBezTo>
                  <a:pt x="236" y="1689"/>
                  <a:pt x="236" y="1690"/>
                  <a:pt x="237" y="1690"/>
                </a:cubicBezTo>
                <a:cubicBezTo>
                  <a:pt x="237" y="1691"/>
                  <a:pt x="238" y="1691"/>
                  <a:pt x="238" y="1692"/>
                </a:cubicBezTo>
                <a:cubicBezTo>
                  <a:pt x="238" y="1692"/>
                  <a:pt x="238" y="1693"/>
                  <a:pt x="238" y="1693"/>
                </a:cubicBezTo>
                <a:cubicBezTo>
                  <a:pt x="239" y="1694"/>
                  <a:pt x="239" y="1694"/>
                  <a:pt x="239" y="1695"/>
                </a:cubicBezTo>
                <a:cubicBezTo>
                  <a:pt x="239" y="1695"/>
                  <a:pt x="238" y="1696"/>
                  <a:pt x="238" y="1698"/>
                </a:cubicBezTo>
                <a:cubicBezTo>
                  <a:pt x="237" y="1700"/>
                  <a:pt x="236" y="1702"/>
                  <a:pt x="234" y="1705"/>
                </a:cubicBezTo>
                <a:cubicBezTo>
                  <a:pt x="233" y="1708"/>
                  <a:pt x="231" y="1711"/>
                  <a:pt x="229" y="1714"/>
                </a:cubicBezTo>
                <a:cubicBezTo>
                  <a:pt x="226" y="1717"/>
                  <a:pt x="224" y="1720"/>
                  <a:pt x="221" y="1723"/>
                </a:cubicBezTo>
                <a:cubicBezTo>
                  <a:pt x="215" y="1728"/>
                  <a:pt x="210" y="1732"/>
                  <a:pt x="205" y="1735"/>
                </a:cubicBezTo>
                <a:cubicBezTo>
                  <a:pt x="199" y="1737"/>
                  <a:pt x="193" y="1738"/>
                  <a:pt x="188" y="1738"/>
                </a:cubicBezTo>
                <a:cubicBezTo>
                  <a:pt x="182" y="1738"/>
                  <a:pt x="176" y="1736"/>
                  <a:pt x="171" y="1733"/>
                </a:cubicBezTo>
                <a:cubicBezTo>
                  <a:pt x="165" y="1730"/>
                  <a:pt x="159" y="1726"/>
                  <a:pt x="153" y="1720"/>
                </a:cubicBezTo>
                <a:cubicBezTo>
                  <a:pt x="148" y="1715"/>
                  <a:pt x="143" y="1709"/>
                  <a:pt x="140" y="1703"/>
                </a:cubicBezTo>
                <a:cubicBezTo>
                  <a:pt x="137" y="1697"/>
                  <a:pt x="136" y="1691"/>
                  <a:pt x="135" y="1686"/>
                </a:cubicBezTo>
                <a:cubicBezTo>
                  <a:pt x="135" y="1680"/>
                  <a:pt x="136" y="1674"/>
                  <a:pt x="138" y="1669"/>
                </a:cubicBezTo>
                <a:cubicBezTo>
                  <a:pt x="140" y="1663"/>
                  <a:pt x="144" y="1658"/>
                  <a:pt x="148" y="1653"/>
                </a:cubicBezTo>
                <a:cubicBezTo>
                  <a:pt x="153" y="1648"/>
                  <a:pt x="159" y="1645"/>
                  <a:pt x="164" y="1643"/>
                </a:cubicBezTo>
                <a:cubicBezTo>
                  <a:pt x="169" y="1641"/>
                  <a:pt x="174" y="1640"/>
                  <a:pt x="179" y="1641"/>
                </a:cubicBezTo>
                <a:cubicBezTo>
                  <a:pt x="184" y="1641"/>
                  <a:pt x="189" y="1643"/>
                  <a:pt x="194" y="1645"/>
                </a:cubicBezTo>
                <a:cubicBezTo>
                  <a:pt x="199" y="1648"/>
                  <a:pt x="203" y="1651"/>
                  <a:pt x="207" y="1655"/>
                </a:cubicBezTo>
                <a:lnTo>
                  <a:pt x="210" y="1658"/>
                </a:lnTo>
                <a:close/>
                <a:moveTo>
                  <a:pt x="194" y="1666"/>
                </a:moveTo>
                <a:cubicBezTo>
                  <a:pt x="188" y="1660"/>
                  <a:pt x="182" y="1656"/>
                  <a:pt x="175" y="1656"/>
                </a:cubicBezTo>
                <a:cubicBezTo>
                  <a:pt x="169" y="1655"/>
                  <a:pt x="163" y="1657"/>
                  <a:pt x="157" y="1663"/>
                </a:cubicBezTo>
                <a:cubicBezTo>
                  <a:pt x="154" y="1666"/>
                  <a:pt x="152" y="1669"/>
                  <a:pt x="151" y="1673"/>
                </a:cubicBezTo>
                <a:cubicBezTo>
                  <a:pt x="150" y="1676"/>
                  <a:pt x="149" y="1679"/>
                  <a:pt x="150" y="1682"/>
                </a:cubicBezTo>
                <a:cubicBezTo>
                  <a:pt x="150" y="1686"/>
                  <a:pt x="151" y="1689"/>
                  <a:pt x="153" y="1692"/>
                </a:cubicBezTo>
                <a:cubicBezTo>
                  <a:pt x="154" y="1696"/>
                  <a:pt x="156" y="1699"/>
                  <a:pt x="159" y="1701"/>
                </a:cubicBezTo>
                <a:lnTo>
                  <a:pt x="194" y="1666"/>
                </a:lnTo>
                <a:close/>
                <a:moveTo>
                  <a:pt x="305" y="1612"/>
                </a:moveTo>
                <a:cubicBezTo>
                  <a:pt x="306" y="1613"/>
                  <a:pt x="307" y="1614"/>
                  <a:pt x="307" y="1615"/>
                </a:cubicBezTo>
                <a:cubicBezTo>
                  <a:pt x="308" y="1615"/>
                  <a:pt x="308" y="1616"/>
                  <a:pt x="309" y="1616"/>
                </a:cubicBezTo>
                <a:cubicBezTo>
                  <a:pt x="309" y="1617"/>
                  <a:pt x="309" y="1617"/>
                  <a:pt x="309" y="1618"/>
                </a:cubicBezTo>
                <a:cubicBezTo>
                  <a:pt x="309" y="1618"/>
                  <a:pt x="310" y="1619"/>
                  <a:pt x="310" y="1620"/>
                </a:cubicBezTo>
                <a:cubicBezTo>
                  <a:pt x="310" y="1622"/>
                  <a:pt x="309" y="1623"/>
                  <a:pt x="309" y="1626"/>
                </a:cubicBezTo>
                <a:cubicBezTo>
                  <a:pt x="308" y="1628"/>
                  <a:pt x="307" y="1630"/>
                  <a:pt x="306" y="1633"/>
                </a:cubicBezTo>
                <a:cubicBezTo>
                  <a:pt x="305" y="1635"/>
                  <a:pt x="304" y="1638"/>
                  <a:pt x="302" y="1640"/>
                </a:cubicBezTo>
                <a:cubicBezTo>
                  <a:pt x="300" y="1643"/>
                  <a:pt x="298" y="1645"/>
                  <a:pt x="296" y="1648"/>
                </a:cubicBezTo>
                <a:cubicBezTo>
                  <a:pt x="292" y="1652"/>
                  <a:pt x="287" y="1656"/>
                  <a:pt x="282" y="1658"/>
                </a:cubicBezTo>
                <a:cubicBezTo>
                  <a:pt x="276" y="1660"/>
                  <a:pt x="271" y="1660"/>
                  <a:pt x="266" y="1660"/>
                </a:cubicBezTo>
                <a:cubicBezTo>
                  <a:pt x="260" y="1659"/>
                  <a:pt x="255" y="1658"/>
                  <a:pt x="249" y="1655"/>
                </a:cubicBezTo>
                <a:cubicBezTo>
                  <a:pt x="244" y="1652"/>
                  <a:pt x="238" y="1647"/>
                  <a:pt x="233" y="1642"/>
                </a:cubicBezTo>
                <a:cubicBezTo>
                  <a:pt x="226" y="1635"/>
                  <a:pt x="222" y="1629"/>
                  <a:pt x="219" y="1623"/>
                </a:cubicBezTo>
                <a:cubicBezTo>
                  <a:pt x="216" y="1617"/>
                  <a:pt x="214" y="1611"/>
                  <a:pt x="214" y="1605"/>
                </a:cubicBezTo>
                <a:cubicBezTo>
                  <a:pt x="214" y="1600"/>
                  <a:pt x="215" y="1594"/>
                  <a:pt x="217" y="1589"/>
                </a:cubicBezTo>
                <a:cubicBezTo>
                  <a:pt x="219" y="1584"/>
                  <a:pt x="222" y="1580"/>
                  <a:pt x="227" y="1575"/>
                </a:cubicBezTo>
                <a:cubicBezTo>
                  <a:pt x="229" y="1573"/>
                  <a:pt x="231" y="1571"/>
                  <a:pt x="233" y="1570"/>
                </a:cubicBezTo>
                <a:cubicBezTo>
                  <a:pt x="235" y="1568"/>
                  <a:pt x="238" y="1567"/>
                  <a:pt x="240" y="1566"/>
                </a:cubicBezTo>
                <a:cubicBezTo>
                  <a:pt x="242" y="1565"/>
                  <a:pt x="244" y="1564"/>
                  <a:pt x="247" y="1564"/>
                </a:cubicBezTo>
                <a:cubicBezTo>
                  <a:pt x="249" y="1563"/>
                  <a:pt x="250" y="1563"/>
                  <a:pt x="251" y="1563"/>
                </a:cubicBezTo>
                <a:cubicBezTo>
                  <a:pt x="253" y="1563"/>
                  <a:pt x="253" y="1563"/>
                  <a:pt x="254" y="1563"/>
                </a:cubicBezTo>
                <a:cubicBezTo>
                  <a:pt x="254" y="1563"/>
                  <a:pt x="255" y="1564"/>
                  <a:pt x="256" y="1564"/>
                </a:cubicBezTo>
                <a:cubicBezTo>
                  <a:pt x="256" y="1564"/>
                  <a:pt x="257" y="1565"/>
                  <a:pt x="257" y="1565"/>
                </a:cubicBezTo>
                <a:cubicBezTo>
                  <a:pt x="258" y="1566"/>
                  <a:pt x="259" y="1566"/>
                  <a:pt x="260" y="1567"/>
                </a:cubicBezTo>
                <a:cubicBezTo>
                  <a:pt x="262" y="1569"/>
                  <a:pt x="263" y="1571"/>
                  <a:pt x="263" y="1572"/>
                </a:cubicBezTo>
                <a:cubicBezTo>
                  <a:pt x="263" y="1573"/>
                  <a:pt x="263" y="1574"/>
                  <a:pt x="262" y="1575"/>
                </a:cubicBezTo>
                <a:cubicBezTo>
                  <a:pt x="262" y="1575"/>
                  <a:pt x="261" y="1576"/>
                  <a:pt x="259" y="1576"/>
                </a:cubicBezTo>
                <a:cubicBezTo>
                  <a:pt x="257" y="1576"/>
                  <a:pt x="255" y="1576"/>
                  <a:pt x="253" y="1577"/>
                </a:cubicBezTo>
                <a:cubicBezTo>
                  <a:pt x="250" y="1577"/>
                  <a:pt x="248" y="1578"/>
                  <a:pt x="245" y="1579"/>
                </a:cubicBezTo>
                <a:cubicBezTo>
                  <a:pt x="242" y="1581"/>
                  <a:pt x="239" y="1583"/>
                  <a:pt x="236" y="1585"/>
                </a:cubicBezTo>
                <a:cubicBezTo>
                  <a:pt x="231" y="1591"/>
                  <a:pt x="229" y="1598"/>
                  <a:pt x="230" y="1605"/>
                </a:cubicBezTo>
                <a:cubicBezTo>
                  <a:pt x="231" y="1612"/>
                  <a:pt x="236" y="1620"/>
                  <a:pt x="244" y="1629"/>
                </a:cubicBezTo>
                <a:cubicBezTo>
                  <a:pt x="249" y="1633"/>
                  <a:pt x="253" y="1636"/>
                  <a:pt x="257" y="1638"/>
                </a:cubicBezTo>
                <a:cubicBezTo>
                  <a:pt x="260" y="1641"/>
                  <a:pt x="264" y="1642"/>
                  <a:pt x="268" y="1643"/>
                </a:cubicBezTo>
                <a:cubicBezTo>
                  <a:pt x="272" y="1643"/>
                  <a:pt x="275" y="1643"/>
                  <a:pt x="278" y="1642"/>
                </a:cubicBezTo>
                <a:cubicBezTo>
                  <a:pt x="281" y="1641"/>
                  <a:pt x="285" y="1639"/>
                  <a:pt x="287" y="1636"/>
                </a:cubicBezTo>
                <a:cubicBezTo>
                  <a:pt x="290" y="1633"/>
                  <a:pt x="292" y="1630"/>
                  <a:pt x="293" y="1627"/>
                </a:cubicBezTo>
                <a:cubicBezTo>
                  <a:pt x="294" y="1624"/>
                  <a:pt x="295" y="1622"/>
                  <a:pt x="296" y="1619"/>
                </a:cubicBezTo>
                <a:cubicBezTo>
                  <a:pt x="296" y="1617"/>
                  <a:pt x="297" y="1614"/>
                  <a:pt x="297" y="1613"/>
                </a:cubicBezTo>
                <a:cubicBezTo>
                  <a:pt x="297" y="1611"/>
                  <a:pt x="297" y="1609"/>
                  <a:pt x="298" y="1609"/>
                </a:cubicBezTo>
                <a:cubicBezTo>
                  <a:pt x="298" y="1609"/>
                  <a:pt x="299" y="1608"/>
                  <a:pt x="299" y="1608"/>
                </a:cubicBezTo>
                <a:cubicBezTo>
                  <a:pt x="300" y="1608"/>
                  <a:pt x="300" y="1608"/>
                  <a:pt x="301" y="1609"/>
                </a:cubicBezTo>
                <a:cubicBezTo>
                  <a:pt x="301" y="1609"/>
                  <a:pt x="302" y="1609"/>
                  <a:pt x="303" y="1610"/>
                </a:cubicBezTo>
                <a:cubicBezTo>
                  <a:pt x="304" y="1611"/>
                  <a:pt x="304" y="1611"/>
                  <a:pt x="305" y="1612"/>
                </a:cubicBezTo>
                <a:close/>
                <a:moveTo>
                  <a:pt x="365" y="1562"/>
                </a:moveTo>
                <a:cubicBezTo>
                  <a:pt x="367" y="1564"/>
                  <a:pt x="368" y="1565"/>
                  <a:pt x="369" y="1566"/>
                </a:cubicBezTo>
                <a:cubicBezTo>
                  <a:pt x="369" y="1567"/>
                  <a:pt x="369" y="1568"/>
                  <a:pt x="369" y="1569"/>
                </a:cubicBezTo>
                <a:cubicBezTo>
                  <a:pt x="369" y="1569"/>
                  <a:pt x="369" y="1570"/>
                  <a:pt x="369" y="1571"/>
                </a:cubicBezTo>
                <a:cubicBezTo>
                  <a:pt x="368" y="1573"/>
                  <a:pt x="368" y="1574"/>
                  <a:pt x="367" y="1575"/>
                </a:cubicBezTo>
                <a:cubicBezTo>
                  <a:pt x="366" y="1576"/>
                  <a:pt x="365" y="1577"/>
                  <a:pt x="364" y="1579"/>
                </a:cubicBezTo>
                <a:cubicBezTo>
                  <a:pt x="363" y="1580"/>
                  <a:pt x="362" y="1581"/>
                  <a:pt x="361" y="1582"/>
                </a:cubicBezTo>
                <a:cubicBezTo>
                  <a:pt x="358" y="1585"/>
                  <a:pt x="355" y="1588"/>
                  <a:pt x="351" y="1589"/>
                </a:cubicBezTo>
                <a:cubicBezTo>
                  <a:pt x="348" y="1591"/>
                  <a:pt x="345" y="1592"/>
                  <a:pt x="341" y="1591"/>
                </a:cubicBezTo>
                <a:cubicBezTo>
                  <a:pt x="338" y="1591"/>
                  <a:pt x="335" y="1590"/>
                  <a:pt x="331" y="1588"/>
                </a:cubicBezTo>
                <a:cubicBezTo>
                  <a:pt x="328" y="1586"/>
                  <a:pt x="324" y="1583"/>
                  <a:pt x="321" y="1579"/>
                </a:cubicBezTo>
                <a:lnTo>
                  <a:pt x="283" y="1541"/>
                </a:lnTo>
                <a:lnTo>
                  <a:pt x="274" y="1550"/>
                </a:lnTo>
                <a:cubicBezTo>
                  <a:pt x="273" y="1551"/>
                  <a:pt x="272" y="1551"/>
                  <a:pt x="271" y="1551"/>
                </a:cubicBezTo>
                <a:cubicBezTo>
                  <a:pt x="270" y="1551"/>
                  <a:pt x="268" y="1550"/>
                  <a:pt x="266" y="1548"/>
                </a:cubicBezTo>
                <a:cubicBezTo>
                  <a:pt x="266" y="1547"/>
                  <a:pt x="265" y="1546"/>
                  <a:pt x="264" y="1545"/>
                </a:cubicBezTo>
                <a:cubicBezTo>
                  <a:pt x="264" y="1545"/>
                  <a:pt x="263" y="1544"/>
                  <a:pt x="263" y="1543"/>
                </a:cubicBezTo>
                <a:cubicBezTo>
                  <a:pt x="263" y="1543"/>
                  <a:pt x="263" y="1542"/>
                  <a:pt x="263" y="1542"/>
                </a:cubicBezTo>
                <a:cubicBezTo>
                  <a:pt x="263" y="1541"/>
                  <a:pt x="264" y="1541"/>
                  <a:pt x="264" y="1540"/>
                </a:cubicBezTo>
                <a:lnTo>
                  <a:pt x="273" y="1531"/>
                </a:lnTo>
                <a:lnTo>
                  <a:pt x="258" y="1516"/>
                </a:lnTo>
                <a:cubicBezTo>
                  <a:pt x="257" y="1516"/>
                  <a:pt x="257" y="1515"/>
                  <a:pt x="257" y="1515"/>
                </a:cubicBezTo>
                <a:cubicBezTo>
                  <a:pt x="257" y="1514"/>
                  <a:pt x="257" y="1514"/>
                  <a:pt x="257" y="1513"/>
                </a:cubicBezTo>
                <a:cubicBezTo>
                  <a:pt x="257" y="1513"/>
                  <a:pt x="258" y="1512"/>
                  <a:pt x="258" y="1511"/>
                </a:cubicBezTo>
                <a:cubicBezTo>
                  <a:pt x="259" y="1510"/>
                  <a:pt x="260" y="1509"/>
                  <a:pt x="261" y="1508"/>
                </a:cubicBezTo>
                <a:cubicBezTo>
                  <a:pt x="262" y="1507"/>
                  <a:pt x="263" y="1506"/>
                  <a:pt x="264" y="1505"/>
                </a:cubicBezTo>
                <a:cubicBezTo>
                  <a:pt x="265" y="1504"/>
                  <a:pt x="266" y="1504"/>
                  <a:pt x="266" y="1504"/>
                </a:cubicBezTo>
                <a:cubicBezTo>
                  <a:pt x="267" y="1504"/>
                  <a:pt x="268" y="1504"/>
                  <a:pt x="268" y="1504"/>
                </a:cubicBezTo>
                <a:cubicBezTo>
                  <a:pt x="269" y="1504"/>
                  <a:pt x="269" y="1504"/>
                  <a:pt x="269" y="1504"/>
                </a:cubicBezTo>
                <a:lnTo>
                  <a:pt x="285" y="1520"/>
                </a:lnTo>
                <a:lnTo>
                  <a:pt x="301" y="1503"/>
                </a:lnTo>
                <a:cubicBezTo>
                  <a:pt x="302" y="1503"/>
                  <a:pt x="302" y="1502"/>
                  <a:pt x="303" y="1502"/>
                </a:cubicBezTo>
                <a:cubicBezTo>
                  <a:pt x="303" y="1502"/>
                  <a:pt x="304" y="1502"/>
                  <a:pt x="304" y="1502"/>
                </a:cubicBezTo>
                <a:cubicBezTo>
                  <a:pt x="305" y="1503"/>
                  <a:pt x="306" y="1503"/>
                  <a:pt x="306" y="1503"/>
                </a:cubicBezTo>
                <a:cubicBezTo>
                  <a:pt x="307" y="1504"/>
                  <a:pt x="308" y="1505"/>
                  <a:pt x="309" y="1506"/>
                </a:cubicBezTo>
                <a:cubicBezTo>
                  <a:pt x="310" y="1507"/>
                  <a:pt x="311" y="1509"/>
                  <a:pt x="312" y="1510"/>
                </a:cubicBezTo>
                <a:cubicBezTo>
                  <a:pt x="312" y="1511"/>
                  <a:pt x="312" y="1512"/>
                  <a:pt x="311" y="1513"/>
                </a:cubicBezTo>
                <a:lnTo>
                  <a:pt x="295" y="1529"/>
                </a:lnTo>
                <a:lnTo>
                  <a:pt x="331" y="1566"/>
                </a:lnTo>
                <a:cubicBezTo>
                  <a:pt x="335" y="1570"/>
                  <a:pt x="339" y="1573"/>
                  <a:pt x="343" y="1574"/>
                </a:cubicBezTo>
                <a:cubicBezTo>
                  <a:pt x="346" y="1575"/>
                  <a:pt x="350" y="1573"/>
                  <a:pt x="353" y="1570"/>
                </a:cubicBezTo>
                <a:cubicBezTo>
                  <a:pt x="354" y="1569"/>
                  <a:pt x="355" y="1568"/>
                  <a:pt x="356" y="1567"/>
                </a:cubicBezTo>
                <a:cubicBezTo>
                  <a:pt x="356" y="1566"/>
                  <a:pt x="357" y="1565"/>
                  <a:pt x="357" y="1564"/>
                </a:cubicBezTo>
                <a:cubicBezTo>
                  <a:pt x="358" y="1563"/>
                  <a:pt x="358" y="1562"/>
                  <a:pt x="358" y="1561"/>
                </a:cubicBezTo>
                <a:cubicBezTo>
                  <a:pt x="359" y="1561"/>
                  <a:pt x="359" y="1560"/>
                  <a:pt x="359" y="1560"/>
                </a:cubicBezTo>
                <a:cubicBezTo>
                  <a:pt x="360" y="1559"/>
                  <a:pt x="360" y="1559"/>
                  <a:pt x="360" y="1559"/>
                </a:cubicBezTo>
                <a:cubicBezTo>
                  <a:pt x="361" y="1559"/>
                  <a:pt x="361" y="1559"/>
                  <a:pt x="361" y="1559"/>
                </a:cubicBezTo>
                <a:cubicBezTo>
                  <a:pt x="362" y="1560"/>
                  <a:pt x="363" y="1560"/>
                  <a:pt x="363" y="1560"/>
                </a:cubicBezTo>
                <a:cubicBezTo>
                  <a:pt x="364" y="1561"/>
                  <a:pt x="365" y="1562"/>
                  <a:pt x="365" y="1562"/>
                </a:cubicBezTo>
                <a:close/>
                <a:moveTo>
                  <a:pt x="359" y="1457"/>
                </a:moveTo>
                <a:cubicBezTo>
                  <a:pt x="360" y="1458"/>
                  <a:pt x="361" y="1459"/>
                  <a:pt x="362" y="1460"/>
                </a:cubicBezTo>
                <a:cubicBezTo>
                  <a:pt x="363" y="1461"/>
                  <a:pt x="363" y="1462"/>
                  <a:pt x="363" y="1462"/>
                </a:cubicBezTo>
                <a:cubicBezTo>
                  <a:pt x="363" y="1463"/>
                  <a:pt x="364" y="1463"/>
                  <a:pt x="364" y="1464"/>
                </a:cubicBezTo>
                <a:cubicBezTo>
                  <a:pt x="364" y="1464"/>
                  <a:pt x="363" y="1464"/>
                  <a:pt x="363" y="1465"/>
                </a:cubicBezTo>
                <a:cubicBezTo>
                  <a:pt x="363" y="1465"/>
                  <a:pt x="362" y="1466"/>
                  <a:pt x="361" y="1466"/>
                </a:cubicBezTo>
                <a:cubicBezTo>
                  <a:pt x="361" y="1466"/>
                  <a:pt x="360" y="1467"/>
                  <a:pt x="359" y="1467"/>
                </a:cubicBezTo>
                <a:cubicBezTo>
                  <a:pt x="358" y="1468"/>
                  <a:pt x="357" y="1468"/>
                  <a:pt x="356" y="1469"/>
                </a:cubicBezTo>
                <a:cubicBezTo>
                  <a:pt x="355" y="1469"/>
                  <a:pt x="354" y="1470"/>
                  <a:pt x="353" y="1471"/>
                </a:cubicBezTo>
                <a:cubicBezTo>
                  <a:pt x="352" y="1473"/>
                  <a:pt x="351" y="1474"/>
                  <a:pt x="350" y="1476"/>
                </a:cubicBezTo>
                <a:cubicBezTo>
                  <a:pt x="349" y="1477"/>
                  <a:pt x="349" y="1479"/>
                  <a:pt x="349" y="1482"/>
                </a:cubicBezTo>
                <a:cubicBezTo>
                  <a:pt x="349" y="1484"/>
                  <a:pt x="349" y="1487"/>
                  <a:pt x="349" y="1490"/>
                </a:cubicBezTo>
                <a:cubicBezTo>
                  <a:pt x="350" y="1493"/>
                  <a:pt x="350" y="1497"/>
                  <a:pt x="351" y="1501"/>
                </a:cubicBezTo>
                <a:lnTo>
                  <a:pt x="394" y="1544"/>
                </a:lnTo>
                <a:cubicBezTo>
                  <a:pt x="394" y="1544"/>
                  <a:pt x="394" y="1544"/>
                  <a:pt x="394" y="1545"/>
                </a:cubicBezTo>
                <a:cubicBezTo>
                  <a:pt x="394" y="1545"/>
                  <a:pt x="394" y="1546"/>
                  <a:pt x="394" y="1547"/>
                </a:cubicBezTo>
                <a:cubicBezTo>
                  <a:pt x="394" y="1547"/>
                  <a:pt x="393" y="1548"/>
                  <a:pt x="393" y="1549"/>
                </a:cubicBezTo>
                <a:cubicBezTo>
                  <a:pt x="392" y="1550"/>
                  <a:pt x="391" y="1551"/>
                  <a:pt x="390" y="1552"/>
                </a:cubicBezTo>
                <a:cubicBezTo>
                  <a:pt x="389" y="1553"/>
                  <a:pt x="388" y="1554"/>
                  <a:pt x="387" y="1555"/>
                </a:cubicBezTo>
                <a:cubicBezTo>
                  <a:pt x="386" y="1555"/>
                  <a:pt x="385" y="1556"/>
                  <a:pt x="385" y="1556"/>
                </a:cubicBezTo>
                <a:cubicBezTo>
                  <a:pt x="384" y="1556"/>
                  <a:pt x="384" y="1556"/>
                  <a:pt x="383" y="1556"/>
                </a:cubicBezTo>
                <a:cubicBezTo>
                  <a:pt x="383" y="1556"/>
                  <a:pt x="382" y="1556"/>
                  <a:pt x="382" y="1556"/>
                </a:cubicBezTo>
                <a:lnTo>
                  <a:pt x="317" y="1491"/>
                </a:lnTo>
                <a:cubicBezTo>
                  <a:pt x="317" y="1491"/>
                  <a:pt x="317" y="1490"/>
                  <a:pt x="316" y="1490"/>
                </a:cubicBezTo>
                <a:cubicBezTo>
                  <a:pt x="316" y="1489"/>
                  <a:pt x="316" y="1489"/>
                  <a:pt x="317" y="1488"/>
                </a:cubicBezTo>
                <a:cubicBezTo>
                  <a:pt x="317" y="1487"/>
                  <a:pt x="317" y="1487"/>
                  <a:pt x="318" y="1486"/>
                </a:cubicBezTo>
                <a:cubicBezTo>
                  <a:pt x="318" y="1485"/>
                  <a:pt x="319" y="1484"/>
                  <a:pt x="320" y="1483"/>
                </a:cubicBezTo>
                <a:cubicBezTo>
                  <a:pt x="321" y="1482"/>
                  <a:pt x="322" y="1481"/>
                  <a:pt x="323" y="1481"/>
                </a:cubicBezTo>
                <a:cubicBezTo>
                  <a:pt x="324" y="1480"/>
                  <a:pt x="325" y="1480"/>
                  <a:pt x="325" y="1480"/>
                </a:cubicBezTo>
                <a:cubicBezTo>
                  <a:pt x="326" y="1479"/>
                  <a:pt x="326" y="1479"/>
                  <a:pt x="327" y="1479"/>
                </a:cubicBezTo>
                <a:cubicBezTo>
                  <a:pt x="327" y="1480"/>
                  <a:pt x="328" y="1480"/>
                  <a:pt x="328" y="1480"/>
                </a:cubicBezTo>
                <a:lnTo>
                  <a:pt x="337" y="1490"/>
                </a:lnTo>
                <a:cubicBezTo>
                  <a:pt x="337" y="1485"/>
                  <a:pt x="336" y="1481"/>
                  <a:pt x="336" y="1478"/>
                </a:cubicBezTo>
                <a:cubicBezTo>
                  <a:pt x="336" y="1475"/>
                  <a:pt x="336" y="1472"/>
                  <a:pt x="337" y="1470"/>
                </a:cubicBezTo>
                <a:cubicBezTo>
                  <a:pt x="337" y="1468"/>
                  <a:pt x="338" y="1466"/>
                  <a:pt x="339" y="1464"/>
                </a:cubicBezTo>
                <a:cubicBezTo>
                  <a:pt x="340" y="1462"/>
                  <a:pt x="341" y="1461"/>
                  <a:pt x="342" y="1459"/>
                </a:cubicBezTo>
                <a:cubicBezTo>
                  <a:pt x="343" y="1459"/>
                  <a:pt x="344" y="1458"/>
                  <a:pt x="345" y="1457"/>
                </a:cubicBezTo>
                <a:cubicBezTo>
                  <a:pt x="345" y="1457"/>
                  <a:pt x="346" y="1456"/>
                  <a:pt x="347" y="1455"/>
                </a:cubicBezTo>
                <a:cubicBezTo>
                  <a:pt x="349" y="1455"/>
                  <a:pt x="350" y="1454"/>
                  <a:pt x="350" y="1454"/>
                </a:cubicBezTo>
                <a:cubicBezTo>
                  <a:pt x="351" y="1453"/>
                  <a:pt x="352" y="1453"/>
                  <a:pt x="353" y="1453"/>
                </a:cubicBezTo>
                <a:cubicBezTo>
                  <a:pt x="353" y="1453"/>
                  <a:pt x="354" y="1453"/>
                  <a:pt x="354" y="1453"/>
                </a:cubicBezTo>
                <a:cubicBezTo>
                  <a:pt x="354" y="1453"/>
                  <a:pt x="355" y="1453"/>
                  <a:pt x="355" y="1453"/>
                </a:cubicBezTo>
                <a:cubicBezTo>
                  <a:pt x="355" y="1454"/>
                  <a:pt x="356" y="1454"/>
                  <a:pt x="357" y="1455"/>
                </a:cubicBezTo>
                <a:cubicBezTo>
                  <a:pt x="357" y="1455"/>
                  <a:pt x="358" y="1456"/>
                  <a:pt x="359" y="1457"/>
                </a:cubicBezTo>
                <a:close/>
                <a:moveTo>
                  <a:pt x="450" y="1487"/>
                </a:moveTo>
                <a:cubicBezTo>
                  <a:pt x="451" y="1488"/>
                  <a:pt x="451" y="1488"/>
                  <a:pt x="451" y="1488"/>
                </a:cubicBezTo>
                <a:cubicBezTo>
                  <a:pt x="451" y="1489"/>
                  <a:pt x="451" y="1489"/>
                  <a:pt x="451" y="1490"/>
                </a:cubicBezTo>
                <a:cubicBezTo>
                  <a:pt x="450" y="1491"/>
                  <a:pt x="450" y="1491"/>
                  <a:pt x="449" y="1492"/>
                </a:cubicBezTo>
                <a:cubicBezTo>
                  <a:pt x="449" y="1493"/>
                  <a:pt x="448" y="1494"/>
                  <a:pt x="447" y="1495"/>
                </a:cubicBezTo>
                <a:cubicBezTo>
                  <a:pt x="445" y="1496"/>
                  <a:pt x="444" y="1497"/>
                  <a:pt x="444" y="1498"/>
                </a:cubicBezTo>
                <a:cubicBezTo>
                  <a:pt x="443" y="1499"/>
                  <a:pt x="442" y="1499"/>
                  <a:pt x="441" y="1499"/>
                </a:cubicBezTo>
                <a:cubicBezTo>
                  <a:pt x="441" y="1500"/>
                  <a:pt x="440" y="1500"/>
                  <a:pt x="440" y="1500"/>
                </a:cubicBezTo>
                <a:cubicBezTo>
                  <a:pt x="439" y="1500"/>
                  <a:pt x="439" y="1499"/>
                  <a:pt x="438" y="1499"/>
                </a:cubicBezTo>
                <a:lnTo>
                  <a:pt x="374" y="1434"/>
                </a:lnTo>
                <a:cubicBezTo>
                  <a:pt x="373" y="1434"/>
                  <a:pt x="373" y="1434"/>
                  <a:pt x="373" y="1433"/>
                </a:cubicBezTo>
                <a:cubicBezTo>
                  <a:pt x="373" y="1433"/>
                  <a:pt x="373" y="1432"/>
                  <a:pt x="373" y="1432"/>
                </a:cubicBezTo>
                <a:cubicBezTo>
                  <a:pt x="374" y="1431"/>
                  <a:pt x="374" y="1430"/>
                  <a:pt x="375" y="1429"/>
                </a:cubicBezTo>
                <a:cubicBezTo>
                  <a:pt x="375" y="1428"/>
                  <a:pt x="376" y="1427"/>
                  <a:pt x="377" y="1426"/>
                </a:cubicBezTo>
                <a:cubicBezTo>
                  <a:pt x="379" y="1425"/>
                  <a:pt x="380" y="1424"/>
                  <a:pt x="381" y="1423"/>
                </a:cubicBezTo>
                <a:cubicBezTo>
                  <a:pt x="381" y="1423"/>
                  <a:pt x="382" y="1422"/>
                  <a:pt x="383" y="1422"/>
                </a:cubicBezTo>
                <a:cubicBezTo>
                  <a:pt x="383" y="1422"/>
                  <a:pt x="384" y="1422"/>
                  <a:pt x="384" y="1422"/>
                </a:cubicBezTo>
                <a:cubicBezTo>
                  <a:pt x="385" y="1422"/>
                  <a:pt x="385" y="1422"/>
                  <a:pt x="386" y="1422"/>
                </a:cubicBezTo>
                <a:lnTo>
                  <a:pt x="450" y="1487"/>
                </a:lnTo>
                <a:close/>
                <a:moveTo>
                  <a:pt x="365" y="1399"/>
                </a:moveTo>
                <a:cubicBezTo>
                  <a:pt x="368" y="1402"/>
                  <a:pt x="369" y="1404"/>
                  <a:pt x="369" y="1407"/>
                </a:cubicBezTo>
                <a:cubicBezTo>
                  <a:pt x="369" y="1409"/>
                  <a:pt x="368" y="1411"/>
                  <a:pt x="365" y="1414"/>
                </a:cubicBezTo>
                <a:cubicBezTo>
                  <a:pt x="362" y="1417"/>
                  <a:pt x="360" y="1418"/>
                  <a:pt x="358" y="1418"/>
                </a:cubicBezTo>
                <a:cubicBezTo>
                  <a:pt x="356" y="1418"/>
                  <a:pt x="353" y="1417"/>
                  <a:pt x="351" y="1414"/>
                </a:cubicBezTo>
                <a:cubicBezTo>
                  <a:pt x="348" y="1411"/>
                  <a:pt x="347" y="1409"/>
                  <a:pt x="347" y="1407"/>
                </a:cubicBezTo>
                <a:cubicBezTo>
                  <a:pt x="347" y="1405"/>
                  <a:pt x="348" y="1402"/>
                  <a:pt x="351" y="1400"/>
                </a:cubicBezTo>
                <a:cubicBezTo>
                  <a:pt x="354" y="1397"/>
                  <a:pt x="356" y="1395"/>
                  <a:pt x="358" y="1395"/>
                </a:cubicBezTo>
                <a:cubicBezTo>
                  <a:pt x="360" y="1395"/>
                  <a:pt x="362" y="1397"/>
                  <a:pt x="365" y="1399"/>
                </a:cubicBezTo>
                <a:close/>
                <a:moveTo>
                  <a:pt x="509" y="1409"/>
                </a:moveTo>
                <a:cubicBezTo>
                  <a:pt x="510" y="1410"/>
                  <a:pt x="511" y="1410"/>
                  <a:pt x="511" y="1411"/>
                </a:cubicBezTo>
                <a:cubicBezTo>
                  <a:pt x="512" y="1412"/>
                  <a:pt x="512" y="1412"/>
                  <a:pt x="512" y="1413"/>
                </a:cubicBezTo>
                <a:cubicBezTo>
                  <a:pt x="513" y="1413"/>
                  <a:pt x="513" y="1414"/>
                  <a:pt x="513" y="1414"/>
                </a:cubicBezTo>
                <a:cubicBezTo>
                  <a:pt x="513" y="1415"/>
                  <a:pt x="513" y="1416"/>
                  <a:pt x="513" y="1417"/>
                </a:cubicBezTo>
                <a:cubicBezTo>
                  <a:pt x="513" y="1418"/>
                  <a:pt x="513" y="1420"/>
                  <a:pt x="512" y="1422"/>
                </a:cubicBezTo>
                <a:cubicBezTo>
                  <a:pt x="512" y="1424"/>
                  <a:pt x="511" y="1427"/>
                  <a:pt x="510" y="1429"/>
                </a:cubicBezTo>
                <a:cubicBezTo>
                  <a:pt x="509" y="1432"/>
                  <a:pt x="507" y="1434"/>
                  <a:pt x="506" y="1437"/>
                </a:cubicBezTo>
                <a:cubicBezTo>
                  <a:pt x="504" y="1439"/>
                  <a:pt x="502" y="1442"/>
                  <a:pt x="500" y="1444"/>
                </a:cubicBezTo>
                <a:cubicBezTo>
                  <a:pt x="495" y="1449"/>
                  <a:pt x="490" y="1452"/>
                  <a:pt x="485" y="1454"/>
                </a:cubicBezTo>
                <a:cubicBezTo>
                  <a:pt x="480" y="1456"/>
                  <a:pt x="475" y="1457"/>
                  <a:pt x="469" y="1456"/>
                </a:cubicBezTo>
                <a:cubicBezTo>
                  <a:pt x="464" y="1456"/>
                  <a:pt x="459" y="1454"/>
                  <a:pt x="453" y="1451"/>
                </a:cubicBezTo>
                <a:cubicBezTo>
                  <a:pt x="448" y="1448"/>
                  <a:pt x="442" y="1444"/>
                  <a:pt x="436" y="1438"/>
                </a:cubicBezTo>
                <a:cubicBezTo>
                  <a:pt x="430" y="1432"/>
                  <a:pt x="425" y="1425"/>
                  <a:pt x="422" y="1419"/>
                </a:cubicBezTo>
                <a:cubicBezTo>
                  <a:pt x="419" y="1413"/>
                  <a:pt x="418" y="1407"/>
                  <a:pt x="417" y="1402"/>
                </a:cubicBezTo>
                <a:cubicBezTo>
                  <a:pt x="417" y="1396"/>
                  <a:pt x="418" y="1391"/>
                  <a:pt x="420" y="1386"/>
                </a:cubicBezTo>
                <a:cubicBezTo>
                  <a:pt x="423" y="1381"/>
                  <a:pt x="426" y="1376"/>
                  <a:pt x="430" y="1372"/>
                </a:cubicBezTo>
                <a:cubicBezTo>
                  <a:pt x="432" y="1370"/>
                  <a:pt x="434" y="1368"/>
                  <a:pt x="437" y="1366"/>
                </a:cubicBezTo>
                <a:cubicBezTo>
                  <a:pt x="439" y="1365"/>
                  <a:pt x="441" y="1363"/>
                  <a:pt x="444" y="1362"/>
                </a:cubicBezTo>
                <a:cubicBezTo>
                  <a:pt x="446" y="1361"/>
                  <a:pt x="448" y="1361"/>
                  <a:pt x="450" y="1360"/>
                </a:cubicBezTo>
                <a:cubicBezTo>
                  <a:pt x="452" y="1360"/>
                  <a:pt x="454" y="1359"/>
                  <a:pt x="455" y="1359"/>
                </a:cubicBezTo>
                <a:cubicBezTo>
                  <a:pt x="456" y="1359"/>
                  <a:pt x="457" y="1360"/>
                  <a:pt x="458" y="1360"/>
                </a:cubicBezTo>
                <a:cubicBezTo>
                  <a:pt x="458" y="1360"/>
                  <a:pt x="459" y="1360"/>
                  <a:pt x="459" y="1360"/>
                </a:cubicBezTo>
                <a:cubicBezTo>
                  <a:pt x="460" y="1361"/>
                  <a:pt x="460" y="1361"/>
                  <a:pt x="461" y="1362"/>
                </a:cubicBezTo>
                <a:cubicBezTo>
                  <a:pt x="462" y="1362"/>
                  <a:pt x="462" y="1363"/>
                  <a:pt x="463" y="1364"/>
                </a:cubicBezTo>
                <a:cubicBezTo>
                  <a:pt x="465" y="1365"/>
                  <a:pt x="466" y="1367"/>
                  <a:pt x="467" y="1368"/>
                </a:cubicBezTo>
                <a:cubicBezTo>
                  <a:pt x="467" y="1369"/>
                  <a:pt x="467" y="1370"/>
                  <a:pt x="466" y="1371"/>
                </a:cubicBezTo>
                <a:cubicBezTo>
                  <a:pt x="465" y="1372"/>
                  <a:pt x="464" y="1372"/>
                  <a:pt x="462" y="1372"/>
                </a:cubicBezTo>
                <a:cubicBezTo>
                  <a:pt x="461" y="1372"/>
                  <a:pt x="459" y="1373"/>
                  <a:pt x="456" y="1373"/>
                </a:cubicBezTo>
                <a:cubicBezTo>
                  <a:pt x="454" y="1374"/>
                  <a:pt x="451" y="1374"/>
                  <a:pt x="448" y="1376"/>
                </a:cubicBezTo>
                <a:cubicBezTo>
                  <a:pt x="446" y="1377"/>
                  <a:pt x="443" y="1379"/>
                  <a:pt x="440" y="1382"/>
                </a:cubicBezTo>
                <a:cubicBezTo>
                  <a:pt x="434" y="1387"/>
                  <a:pt x="432" y="1394"/>
                  <a:pt x="434" y="1401"/>
                </a:cubicBezTo>
                <a:cubicBezTo>
                  <a:pt x="435" y="1409"/>
                  <a:pt x="440" y="1417"/>
                  <a:pt x="448" y="1425"/>
                </a:cubicBezTo>
                <a:cubicBezTo>
                  <a:pt x="452" y="1429"/>
                  <a:pt x="456" y="1432"/>
                  <a:pt x="460" y="1435"/>
                </a:cubicBezTo>
                <a:cubicBezTo>
                  <a:pt x="464" y="1437"/>
                  <a:pt x="468" y="1439"/>
                  <a:pt x="472" y="1439"/>
                </a:cubicBezTo>
                <a:cubicBezTo>
                  <a:pt x="475" y="1440"/>
                  <a:pt x="479" y="1439"/>
                  <a:pt x="482" y="1438"/>
                </a:cubicBezTo>
                <a:cubicBezTo>
                  <a:pt x="485" y="1437"/>
                  <a:pt x="488" y="1435"/>
                  <a:pt x="491" y="1432"/>
                </a:cubicBezTo>
                <a:cubicBezTo>
                  <a:pt x="494" y="1429"/>
                  <a:pt x="496" y="1427"/>
                  <a:pt x="497" y="1424"/>
                </a:cubicBezTo>
                <a:cubicBezTo>
                  <a:pt x="498" y="1421"/>
                  <a:pt x="499" y="1418"/>
                  <a:pt x="499" y="1415"/>
                </a:cubicBezTo>
                <a:cubicBezTo>
                  <a:pt x="500" y="1413"/>
                  <a:pt x="500" y="1411"/>
                  <a:pt x="500" y="1409"/>
                </a:cubicBezTo>
                <a:cubicBezTo>
                  <a:pt x="501" y="1407"/>
                  <a:pt x="501" y="1406"/>
                  <a:pt x="502" y="1405"/>
                </a:cubicBezTo>
                <a:cubicBezTo>
                  <a:pt x="502" y="1405"/>
                  <a:pt x="502" y="1405"/>
                  <a:pt x="503" y="1405"/>
                </a:cubicBezTo>
                <a:cubicBezTo>
                  <a:pt x="503" y="1405"/>
                  <a:pt x="504" y="1405"/>
                  <a:pt x="504" y="1405"/>
                </a:cubicBezTo>
                <a:cubicBezTo>
                  <a:pt x="505" y="1405"/>
                  <a:pt x="506" y="1406"/>
                  <a:pt x="506" y="1406"/>
                </a:cubicBezTo>
                <a:cubicBezTo>
                  <a:pt x="507" y="1407"/>
                  <a:pt x="508" y="1408"/>
                  <a:pt x="509" y="1409"/>
                </a:cubicBezTo>
                <a:close/>
                <a:moveTo>
                  <a:pt x="590" y="1299"/>
                </a:moveTo>
                <a:cubicBezTo>
                  <a:pt x="594" y="1303"/>
                  <a:pt x="597" y="1308"/>
                  <a:pt x="599" y="1313"/>
                </a:cubicBezTo>
                <a:cubicBezTo>
                  <a:pt x="601" y="1318"/>
                  <a:pt x="602" y="1323"/>
                  <a:pt x="601" y="1328"/>
                </a:cubicBezTo>
                <a:cubicBezTo>
                  <a:pt x="601" y="1334"/>
                  <a:pt x="599" y="1339"/>
                  <a:pt x="596" y="1344"/>
                </a:cubicBezTo>
                <a:cubicBezTo>
                  <a:pt x="594" y="1349"/>
                  <a:pt x="590" y="1354"/>
                  <a:pt x="586" y="1358"/>
                </a:cubicBezTo>
                <a:cubicBezTo>
                  <a:pt x="583" y="1361"/>
                  <a:pt x="579" y="1364"/>
                  <a:pt x="576" y="1366"/>
                </a:cubicBezTo>
                <a:cubicBezTo>
                  <a:pt x="573" y="1368"/>
                  <a:pt x="570" y="1370"/>
                  <a:pt x="567" y="1371"/>
                </a:cubicBezTo>
                <a:cubicBezTo>
                  <a:pt x="564" y="1372"/>
                  <a:pt x="562" y="1373"/>
                  <a:pt x="560" y="1374"/>
                </a:cubicBezTo>
                <a:cubicBezTo>
                  <a:pt x="557" y="1375"/>
                  <a:pt x="556" y="1375"/>
                  <a:pt x="555" y="1375"/>
                </a:cubicBezTo>
                <a:cubicBezTo>
                  <a:pt x="553" y="1375"/>
                  <a:pt x="552" y="1374"/>
                  <a:pt x="551" y="1374"/>
                </a:cubicBezTo>
                <a:cubicBezTo>
                  <a:pt x="550" y="1373"/>
                  <a:pt x="549" y="1372"/>
                  <a:pt x="547" y="1371"/>
                </a:cubicBezTo>
                <a:cubicBezTo>
                  <a:pt x="546" y="1370"/>
                  <a:pt x="545" y="1369"/>
                  <a:pt x="545" y="1368"/>
                </a:cubicBezTo>
                <a:cubicBezTo>
                  <a:pt x="544" y="1367"/>
                  <a:pt x="544" y="1366"/>
                  <a:pt x="543" y="1366"/>
                </a:cubicBezTo>
                <a:cubicBezTo>
                  <a:pt x="543" y="1365"/>
                  <a:pt x="543" y="1365"/>
                  <a:pt x="543" y="1364"/>
                </a:cubicBezTo>
                <a:cubicBezTo>
                  <a:pt x="543" y="1364"/>
                  <a:pt x="544" y="1363"/>
                  <a:pt x="544" y="1363"/>
                </a:cubicBezTo>
                <a:cubicBezTo>
                  <a:pt x="545" y="1362"/>
                  <a:pt x="546" y="1362"/>
                  <a:pt x="548" y="1361"/>
                </a:cubicBezTo>
                <a:cubicBezTo>
                  <a:pt x="550" y="1361"/>
                  <a:pt x="553" y="1360"/>
                  <a:pt x="555" y="1359"/>
                </a:cubicBezTo>
                <a:cubicBezTo>
                  <a:pt x="558" y="1358"/>
                  <a:pt x="562" y="1357"/>
                  <a:pt x="565" y="1355"/>
                </a:cubicBezTo>
                <a:cubicBezTo>
                  <a:pt x="569" y="1353"/>
                  <a:pt x="572" y="1350"/>
                  <a:pt x="576" y="1347"/>
                </a:cubicBezTo>
                <a:cubicBezTo>
                  <a:pt x="578" y="1344"/>
                  <a:pt x="581" y="1341"/>
                  <a:pt x="582" y="1338"/>
                </a:cubicBezTo>
                <a:cubicBezTo>
                  <a:pt x="584" y="1335"/>
                  <a:pt x="584" y="1333"/>
                  <a:pt x="585" y="1330"/>
                </a:cubicBezTo>
                <a:cubicBezTo>
                  <a:pt x="585" y="1327"/>
                  <a:pt x="585" y="1324"/>
                  <a:pt x="584" y="1321"/>
                </a:cubicBezTo>
                <a:cubicBezTo>
                  <a:pt x="583" y="1318"/>
                  <a:pt x="581" y="1316"/>
                  <a:pt x="578" y="1313"/>
                </a:cubicBezTo>
                <a:cubicBezTo>
                  <a:pt x="576" y="1311"/>
                  <a:pt x="573" y="1309"/>
                  <a:pt x="570" y="1308"/>
                </a:cubicBezTo>
                <a:cubicBezTo>
                  <a:pt x="567" y="1308"/>
                  <a:pt x="563" y="1308"/>
                  <a:pt x="560" y="1308"/>
                </a:cubicBezTo>
                <a:cubicBezTo>
                  <a:pt x="557" y="1309"/>
                  <a:pt x="553" y="1310"/>
                  <a:pt x="550" y="1311"/>
                </a:cubicBezTo>
                <a:cubicBezTo>
                  <a:pt x="546" y="1312"/>
                  <a:pt x="542" y="1314"/>
                  <a:pt x="538" y="1315"/>
                </a:cubicBezTo>
                <a:cubicBezTo>
                  <a:pt x="534" y="1317"/>
                  <a:pt x="530" y="1318"/>
                  <a:pt x="526" y="1319"/>
                </a:cubicBezTo>
                <a:cubicBezTo>
                  <a:pt x="523" y="1320"/>
                  <a:pt x="519" y="1320"/>
                  <a:pt x="515" y="1320"/>
                </a:cubicBezTo>
                <a:cubicBezTo>
                  <a:pt x="511" y="1320"/>
                  <a:pt x="507" y="1319"/>
                  <a:pt x="503" y="1318"/>
                </a:cubicBezTo>
                <a:cubicBezTo>
                  <a:pt x="499" y="1316"/>
                  <a:pt x="495" y="1314"/>
                  <a:pt x="491" y="1310"/>
                </a:cubicBezTo>
                <a:cubicBezTo>
                  <a:pt x="487" y="1306"/>
                  <a:pt x="485" y="1302"/>
                  <a:pt x="483" y="1297"/>
                </a:cubicBezTo>
                <a:cubicBezTo>
                  <a:pt x="481" y="1293"/>
                  <a:pt x="481" y="1289"/>
                  <a:pt x="481" y="1284"/>
                </a:cubicBezTo>
                <a:cubicBezTo>
                  <a:pt x="482" y="1279"/>
                  <a:pt x="483" y="1275"/>
                  <a:pt x="485" y="1270"/>
                </a:cubicBezTo>
                <a:cubicBezTo>
                  <a:pt x="488" y="1266"/>
                  <a:pt x="491" y="1261"/>
                  <a:pt x="495" y="1257"/>
                </a:cubicBezTo>
                <a:cubicBezTo>
                  <a:pt x="497" y="1255"/>
                  <a:pt x="499" y="1253"/>
                  <a:pt x="502" y="1252"/>
                </a:cubicBezTo>
                <a:cubicBezTo>
                  <a:pt x="504" y="1250"/>
                  <a:pt x="507" y="1249"/>
                  <a:pt x="509" y="1247"/>
                </a:cubicBezTo>
                <a:cubicBezTo>
                  <a:pt x="512" y="1246"/>
                  <a:pt x="514" y="1245"/>
                  <a:pt x="516" y="1244"/>
                </a:cubicBezTo>
                <a:cubicBezTo>
                  <a:pt x="518" y="1244"/>
                  <a:pt x="520" y="1243"/>
                  <a:pt x="521" y="1243"/>
                </a:cubicBezTo>
                <a:cubicBezTo>
                  <a:pt x="522" y="1243"/>
                  <a:pt x="522" y="1243"/>
                  <a:pt x="523" y="1243"/>
                </a:cubicBezTo>
                <a:cubicBezTo>
                  <a:pt x="523" y="1244"/>
                  <a:pt x="523" y="1244"/>
                  <a:pt x="524" y="1244"/>
                </a:cubicBezTo>
                <a:cubicBezTo>
                  <a:pt x="525" y="1244"/>
                  <a:pt x="525" y="1245"/>
                  <a:pt x="526" y="1245"/>
                </a:cubicBezTo>
                <a:cubicBezTo>
                  <a:pt x="526" y="1246"/>
                  <a:pt x="527" y="1247"/>
                  <a:pt x="528" y="1248"/>
                </a:cubicBezTo>
                <a:cubicBezTo>
                  <a:pt x="529" y="1248"/>
                  <a:pt x="530" y="1249"/>
                  <a:pt x="530" y="1250"/>
                </a:cubicBezTo>
                <a:cubicBezTo>
                  <a:pt x="531" y="1251"/>
                  <a:pt x="531" y="1251"/>
                  <a:pt x="532" y="1252"/>
                </a:cubicBezTo>
                <a:cubicBezTo>
                  <a:pt x="532" y="1253"/>
                  <a:pt x="532" y="1253"/>
                  <a:pt x="532" y="1254"/>
                </a:cubicBezTo>
                <a:cubicBezTo>
                  <a:pt x="532" y="1254"/>
                  <a:pt x="532" y="1254"/>
                  <a:pt x="531" y="1255"/>
                </a:cubicBezTo>
                <a:cubicBezTo>
                  <a:pt x="531" y="1255"/>
                  <a:pt x="530" y="1256"/>
                  <a:pt x="528" y="1256"/>
                </a:cubicBezTo>
                <a:cubicBezTo>
                  <a:pt x="526" y="1257"/>
                  <a:pt x="524" y="1257"/>
                  <a:pt x="521" y="1258"/>
                </a:cubicBezTo>
                <a:cubicBezTo>
                  <a:pt x="519" y="1259"/>
                  <a:pt x="516" y="1260"/>
                  <a:pt x="513" y="1262"/>
                </a:cubicBezTo>
                <a:cubicBezTo>
                  <a:pt x="510" y="1263"/>
                  <a:pt x="508" y="1265"/>
                  <a:pt x="505" y="1268"/>
                </a:cubicBezTo>
                <a:cubicBezTo>
                  <a:pt x="502" y="1271"/>
                  <a:pt x="500" y="1273"/>
                  <a:pt x="499" y="1276"/>
                </a:cubicBezTo>
                <a:cubicBezTo>
                  <a:pt x="498" y="1278"/>
                  <a:pt x="497" y="1281"/>
                  <a:pt x="497" y="1283"/>
                </a:cubicBezTo>
                <a:cubicBezTo>
                  <a:pt x="497" y="1286"/>
                  <a:pt x="498" y="1288"/>
                  <a:pt x="498" y="1290"/>
                </a:cubicBezTo>
                <a:cubicBezTo>
                  <a:pt x="499" y="1292"/>
                  <a:pt x="501" y="1294"/>
                  <a:pt x="503" y="1296"/>
                </a:cubicBezTo>
                <a:cubicBezTo>
                  <a:pt x="505" y="1299"/>
                  <a:pt x="508" y="1300"/>
                  <a:pt x="511" y="1301"/>
                </a:cubicBezTo>
                <a:cubicBezTo>
                  <a:pt x="514" y="1302"/>
                  <a:pt x="517" y="1302"/>
                  <a:pt x="521" y="1301"/>
                </a:cubicBezTo>
                <a:cubicBezTo>
                  <a:pt x="524" y="1301"/>
                  <a:pt x="528" y="1300"/>
                  <a:pt x="532" y="1298"/>
                </a:cubicBezTo>
                <a:cubicBezTo>
                  <a:pt x="535" y="1297"/>
                  <a:pt x="539" y="1296"/>
                  <a:pt x="543" y="1294"/>
                </a:cubicBezTo>
                <a:cubicBezTo>
                  <a:pt x="547" y="1293"/>
                  <a:pt x="551" y="1292"/>
                  <a:pt x="555" y="1291"/>
                </a:cubicBezTo>
                <a:cubicBezTo>
                  <a:pt x="559" y="1290"/>
                  <a:pt x="563" y="1289"/>
                  <a:pt x="567" y="1289"/>
                </a:cubicBezTo>
                <a:cubicBezTo>
                  <a:pt x="571" y="1289"/>
                  <a:pt x="575" y="1290"/>
                  <a:pt x="578" y="1291"/>
                </a:cubicBezTo>
                <a:cubicBezTo>
                  <a:pt x="582" y="1293"/>
                  <a:pt x="586" y="1295"/>
                  <a:pt x="590" y="1299"/>
                </a:cubicBezTo>
                <a:close/>
                <a:moveTo>
                  <a:pt x="651" y="1216"/>
                </a:moveTo>
                <a:cubicBezTo>
                  <a:pt x="653" y="1218"/>
                  <a:pt x="654" y="1220"/>
                  <a:pt x="653" y="1222"/>
                </a:cubicBezTo>
                <a:cubicBezTo>
                  <a:pt x="653" y="1223"/>
                  <a:pt x="653" y="1225"/>
                  <a:pt x="651" y="1226"/>
                </a:cubicBezTo>
                <a:lnTo>
                  <a:pt x="609" y="1269"/>
                </a:lnTo>
                <a:cubicBezTo>
                  <a:pt x="612" y="1272"/>
                  <a:pt x="616" y="1275"/>
                  <a:pt x="620" y="1277"/>
                </a:cubicBezTo>
                <a:cubicBezTo>
                  <a:pt x="623" y="1279"/>
                  <a:pt x="627" y="1281"/>
                  <a:pt x="631" y="1281"/>
                </a:cubicBezTo>
                <a:cubicBezTo>
                  <a:pt x="634" y="1281"/>
                  <a:pt x="638" y="1281"/>
                  <a:pt x="642" y="1279"/>
                </a:cubicBezTo>
                <a:cubicBezTo>
                  <a:pt x="646" y="1278"/>
                  <a:pt x="650" y="1275"/>
                  <a:pt x="653" y="1271"/>
                </a:cubicBezTo>
                <a:cubicBezTo>
                  <a:pt x="657" y="1268"/>
                  <a:pt x="659" y="1265"/>
                  <a:pt x="661" y="1262"/>
                </a:cubicBezTo>
                <a:cubicBezTo>
                  <a:pt x="663" y="1259"/>
                  <a:pt x="664" y="1257"/>
                  <a:pt x="665" y="1254"/>
                </a:cubicBezTo>
                <a:cubicBezTo>
                  <a:pt x="667" y="1252"/>
                  <a:pt x="667" y="1250"/>
                  <a:pt x="668" y="1248"/>
                </a:cubicBezTo>
                <a:cubicBezTo>
                  <a:pt x="669" y="1247"/>
                  <a:pt x="669" y="1245"/>
                  <a:pt x="670" y="1245"/>
                </a:cubicBezTo>
                <a:cubicBezTo>
                  <a:pt x="670" y="1244"/>
                  <a:pt x="671" y="1244"/>
                  <a:pt x="671" y="1244"/>
                </a:cubicBezTo>
                <a:cubicBezTo>
                  <a:pt x="671" y="1244"/>
                  <a:pt x="672" y="1244"/>
                  <a:pt x="672" y="1244"/>
                </a:cubicBezTo>
                <a:cubicBezTo>
                  <a:pt x="673" y="1244"/>
                  <a:pt x="673" y="1245"/>
                  <a:pt x="674" y="1245"/>
                </a:cubicBezTo>
                <a:cubicBezTo>
                  <a:pt x="675" y="1246"/>
                  <a:pt x="676" y="1247"/>
                  <a:pt x="676" y="1247"/>
                </a:cubicBezTo>
                <a:cubicBezTo>
                  <a:pt x="677" y="1248"/>
                  <a:pt x="678" y="1249"/>
                  <a:pt x="678" y="1249"/>
                </a:cubicBezTo>
                <a:cubicBezTo>
                  <a:pt x="678" y="1250"/>
                  <a:pt x="679" y="1250"/>
                  <a:pt x="679" y="1251"/>
                </a:cubicBezTo>
                <a:cubicBezTo>
                  <a:pt x="679" y="1251"/>
                  <a:pt x="680" y="1251"/>
                  <a:pt x="680" y="1252"/>
                </a:cubicBezTo>
                <a:cubicBezTo>
                  <a:pt x="680" y="1252"/>
                  <a:pt x="680" y="1253"/>
                  <a:pt x="680" y="1253"/>
                </a:cubicBezTo>
                <a:cubicBezTo>
                  <a:pt x="680" y="1254"/>
                  <a:pt x="679" y="1255"/>
                  <a:pt x="679" y="1257"/>
                </a:cubicBezTo>
                <a:cubicBezTo>
                  <a:pt x="678" y="1259"/>
                  <a:pt x="677" y="1261"/>
                  <a:pt x="676" y="1264"/>
                </a:cubicBezTo>
                <a:cubicBezTo>
                  <a:pt x="674" y="1266"/>
                  <a:pt x="672" y="1269"/>
                  <a:pt x="670" y="1272"/>
                </a:cubicBezTo>
                <a:cubicBezTo>
                  <a:pt x="668" y="1276"/>
                  <a:pt x="665" y="1279"/>
                  <a:pt x="662" y="1282"/>
                </a:cubicBezTo>
                <a:cubicBezTo>
                  <a:pt x="657" y="1287"/>
                  <a:pt x="651" y="1291"/>
                  <a:pt x="646" y="1294"/>
                </a:cubicBezTo>
                <a:cubicBezTo>
                  <a:pt x="640" y="1296"/>
                  <a:pt x="635" y="1297"/>
                  <a:pt x="629" y="1297"/>
                </a:cubicBezTo>
                <a:cubicBezTo>
                  <a:pt x="623" y="1297"/>
                  <a:pt x="618" y="1295"/>
                  <a:pt x="612" y="1292"/>
                </a:cubicBezTo>
                <a:cubicBezTo>
                  <a:pt x="606" y="1289"/>
                  <a:pt x="600" y="1285"/>
                  <a:pt x="594" y="1279"/>
                </a:cubicBezTo>
                <a:cubicBezTo>
                  <a:pt x="589" y="1273"/>
                  <a:pt x="585" y="1268"/>
                  <a:pt x="582" y="1262"/>
                </a:cubicBezTo>
                <a:cubicBezTo>
                  <a:pt x="579" y="1256"/>
                  <a:pt x="577" y="1250"/>
                  <a:pt x="577" y="1244"/>
                </a:cubicBezTo>
                <a:cubicBezTo>
                  <a:pt x="576" y="1239"/>
                  <a:pt x="577" y="1233"/>
                  <a:pt x="579" y="1227"/>
                </a:cubicBezTo>
                <a:cubicBezTo>
                  <a:pt x="581" y="1222"/>
                  <a:pt x="585" y="1217"/>
                  <a:pt x="590" y="1212"/>
                </a:cubicBezTo>
                <a:cubicBezTo>
                  <a:pt x="595" y="1207"/>
                  <a:pt x="600" y="1203"/>
                  <a:pt x="605" y="1202"/>
                </a:cubicBezTo>
                <a:cubicBezTo>
                  <a:pt x="610" y="1200"/>
                  <a:pt x="615" y="1199"/>
                  <a:pt x="620" y="1199"/>
                </a:cubicBezTo>
                <a:cubicBezTo>
                  <a:pt x="625" y="1200"/>
                  <a:pt x="630" y="1201"/>
                  <a:pt x="635" y="1204"/>
                </a:cubicBezTo>
                <a:cubicBezTo>
                  <a:pt x="640" y="1207"/>
                  <a:pt x="644" y="1210"/>
                  <a:pt x="649" y="1214"/>
                </a:cubicBezTo>
                <a:lnTo>
                  <a:pt x="651" y="1216"/>
                </a:lnTo>
                <a:close/>
                <a:moveTo>
                  <a:pt x="635" y="1225"/>
                </a:moveTo>
                <a:cubicBezTo>
                  <a:pt x="629" y="1218"/>
                  <a:pt x="623" y="1215"/>
                  <a:pt x="617" y="1214"/>
                </a:cubicBezTo>
                <a:cubicBezTo>
                  <a:pt x="610" y="1214"/>
                  <a:pt x="604" y="1216"/>
                  <a:pt x="598" y="1222"/>
                </a:cubicBezTo>
                <a:cubicBezTo>
                  <a:pt x="595" y="1225"/>
                  <a:pt x="593" y="1228"/>
                  <a:pt x="592" y="1231"/>
                </a:cubicBezTo>
                <a:cubicBezTo>
                  <a:pt x="591" y="1235"/>
                  <a:pt x="591" y="1238"/>
                  <a:pt x="591" y="1241"/>
                </a:cubicBezTo>
                <a:cubicBezTo>
                  <a:pt x="591" y="1245"/>
                  <a:pt x="592" y="1248"/>
                  <a:pt x="594" y="1251"/>
                </a:cubicBezTo>
                <a:cubicBezTo>
                  <a:pt x="596" y="1254"/>
                  <a:pt x="598" y="1257"/>
                  <a:pt x="600" y="1260"/>
                </a:cubicBezTo>
                <a:lnTo>
                  <a:pt x="635" y="1225"/>
                </a:lnTo>
                <a:close/>
                <a:moveTo>
                  <a:pt x="687" y="1129"/>
                </a:moveTo>
                <a:cubicBezTo>
                  <a:pt x="688" y="1130"/>
                  <a:pt x="689" y="1131"/>
                  <a:pt x="690" y="1132"/>
                </a:cubicBezTo>
                <a:cubicBezTo>
                  <a:pt x="691" y="1133"/>
                  <a:pt x="691" y="1133"/>
                  <a:pt x="691" y="1134"/>
                </a:cubicBezTo>
                <a:cubicBezTo>
                  <a:pt x="692" y="1135"/>
                  <a:pt x="692" y="1135"/>
                  <a:pt x="692" y="1135"/>
                </a:cubicBezTo>
                <a:cubicBezTo>
                  <a:pt x="692" y="1136"/>
                  <a:pt x="692" y="1136"/>
                  <a:pt x="691" y="1137"/>
                </a:cubicBezTo>
                <a:cubicBezTo>
                  <a:pt x="691" y="1137"/>
                  <a:pt x="690" y="1137"/>
                  <a:pt x="689" y="1138"/>
                </a:cubicBezTo>
                <a:cubicBezTo>
                  <a:pt x="689" y="1138"/>
                  <a:pt x="688" y="1138"/>
                  <a:pt x="687" y="1139"/>
                </a:cubicBezTo>
                <a:cubicBezTo>
                  <a:pt x="686" y="1139"/>
                  <a:pt x="685" y="1140"/>
                  <a:pt x="684" y="1141"/>
                </a:cubicBezTo>
                <a:cubicBezTo>
                  <a:pt x="683" y="1141"/>
                  <a:pt x="682" y="1142"/>
                  <a:pt x="681" y="1143"/>
                </a:cubicBezTo>
                <a:cubicBezTo>
                  <a:pt x="680" y="1144"/>
                  <a:pt x="679" y="1146"/>
                  <a:pt x="678" y="1147"/>
                </a:cubicBezTo>
                <a:cubicBezTo>
                  <a:pt x="677" y="1149"/>
                  <a:pt x="677" y="1151"/>
                  <a:pt x="677" y="1153"/>
                </a:cubicBezTo>
                <a:cubicBezTo>
                  <a:pt x="677" y="1156"/>
                  <a:pt x="677" y="1159"/>
                  <a:pt x="677" y="1162"/>
                </a:cubicBezTo>
                <a:cubicBezTo>
                  <a:pt x="678" y="1165"/>
                  <a:pt x="678" y="1169"/>
                  <a:pt x="679" y="1173"/>
                </a:cubicBezTo>
                <a:lnTo>
                  <a:pt x="722" y="1216"/>
                </a:lnTo>
                <a:cubicBezTo>
                  <a:pt x="722" y="1216"/>
                  <a:pt x="722" y="1216"/>
                  <a:pt x="722" y="1217"/>
                </a:cubicBezTo>
                <a:cubicBezTo>
                  <a:pt x="723" y="1217"/>
                  <a:pt x="722" y="1218"/>
                  <a:pt x="722" y="1218"/>
                </a:cubicBezTo>
                <a:cubicBezTo>
                  <a:pt x="722" y="1219"/>
                  <a:pt x="722" y="1220"/>
                  <a:pt x="721" y="1221"/>
                </a:cubicBezTo>
                <a:cubicBezTo>
                  <a:pt x="720" y="1222"/>
                  <a:pt x="719" y="1223"/>
                  <a:pt x="718" y="1224"/>
                </a:cubicBezTo>
                <a:cubicBezTo>
                  <a:pt x="717" y="1225"/>
                  <a:pt x="716" y="1226"/>
                  <a:pt x="715" y="1227"/>
                </a:cubicBezTo>
                <a:cubicBezTo>
                  <a:pt x="714" y="1227"/>
                  <a:pt x="713" y="1228"/>
                  <a:pt x="713" y="1228"/>
                </a:cubicBezTo>
                <a:cubicBezTo>
                  <a:pt x="712" y="1228"/>
                  <a:pt x="712" y="1228"/>
                  <a:pt x="711" y="1228"/>
                </a:cubicBezTo>
                <a:cubicBezTo>
                  <a:pt x="711" y="1228"/>
                  <a:pt x="710" y="1228"/>
                  <a:pt x="710" y="1227"/>
                </a:cubicBezTo>
                <a:lnTo>
                  <a:pt x="645" y="1163"/>
                </a:lnTo>
                <a:cubicBezTo>
                  <a:pt x="645" y="1162"/>
                  <a:pt x="645" y="1162"/>
                  <a:pt x="645" y="1162"/>
                </a:cubicBezTo>
                <a:cubicBezTo>
                  <a:pt x="644" y="1161"/>
                  <a:pt x="645" y="1161"/>
                  <a:pt x="645" y="1160"/>
                </a:cubicBezTo>
                <a:cubicBezTo>
                  <a:pt x="645" y="1159"/>
                  <a:pt x="645" y="1159"/>
                  <a:pt x="646" y="1158"/>
                </a:cubicBezTo>
                <a:cubicBezTo>
                  <a:pt x="647" y="1157"/>
                  <a:pt x="647" y="1156"/>
                  <a:pt x="648" y="1155"/>
                </a:cubicBezTo>
                <a:cubicBezTo>
                  <a:pt x="650" y="1154"/>
                  <a:pt x="650" y="1153"/>
                  <a:pt x="651" y="1153"/>
                </a:cubicBezTo>
                <a:cubicBezTo>
                  <a:pt x="652" y="1152"/>
                  <a:pt x="653" y="1152"/>
                  <a:pt x="653" y="1152"/>
                </a:cubicBezTo>
                <a:cubicBezTo>
                  <a:pt x="654" y="1151"/>
                  <a:pt x="654" y="1151"/>
                  <a:pt x="655" y="1151"/>
                </a:cubicBezTo>
                <a:cubicBezTo>
                  <a:pt x="655" y="1151"/>
                  <a:pt x="656" y="1152"/>
                  <a:pt x="656" y="1152"/>
                </a:cubicBezTo>
                <a:lnTo>
                  <a:pt x="665" y="1162"/>
                </a:lnTo>
                <a:cubicBezTo>
                  <a:pt x="665" y="1157"/>
                  <a:pt x="664" y="1153"/>
                  <a:pt x="664" y="1150"/>
                </a:cubicBezTo>
                <a:cubicBezTo>
                  <a:pt x="664" y="1147"/>
                  <a:pt x="664" y="1144"/>
                  <a:pt x="665" y="1142"/>
                </a:cubicBezTo>
                <a:cubicBezTo>
                  <a:pt x="665" y="1140"/>
                  <a:pt x="666" y="1138"/>
                  <a:pt x="667" y="1136"/>
                </a:cubicBezTo>
                <a:cubicBezTo>
                  <a:pt x="668" y="1134"/>
                  <a:pt x="669" y="1133"/>
                  <a:pt x="670" y="1131"/>
                </a:cubicBezTo>
                <a:cubicBezTo>
                  <a:pt x="671" y="1131"/>
                  <a:pt x="672" y="1130"/>
                  <a:pt x="673" y="1129"/>
                </a:cubicBezTo>
                <a:cubicBezTo>
                  <a:pt x="674" y="1128"/>
                  <a:pt x="675" y="1128"/>
                  <a:pt x="676" y="1127"/>
                </a:cubicBezTo>
                <a:cubicBezTo>
                  <a:pt x="677" y="1126"/>
                  <a:pt x="678" y="1126"/>
                  <a:pt x="679" y="1125"/>
                </a:cubicBezTo>
                <a:cubicBezTo>
                  <a:pt x="679" y="1125"/>
                  <a:pt x="680" y="1125"/>
                  <a:pt x="681" y="1125"/>
                </a:cubicBezTo>
                <a:cubicBezTo>
                  <a:pt x="681" y="1125"/>
                  <a:pt x="682" y="1125"/>
                  <a:pt x="682" y="1125"/>
                </a:cubicBezTo>
                <a:cubicBezTo>
                  <a:pt x="682" y="1125"/>
                  <a:pt x="683" y="1125"/>
                  <a:pt x="683" y="1125"/>
                </a:cubicBezTo>
                <a:cubicBezTo>
                  <a:pt x="683" y="1126"/>
                  <a:pt x="684" y="1126"/>
                  <a:pt x="685" y="1127"/>
                </a:cubicBezTo>
                <a:cubicBezTo>
                  <a:pt x="685" y="1127"/>
                  <a:pt x="686" y="1128"/>
                  <a:pt x="687" y="1129"/>
                </a:cubicBezTo>
                <a:close/>
                <a:moveTo>
                  <a:pt x="755" y="1053"/>
                </a:moveTo>
                <a:cubicBezTo>
                  <a:pt x="755" y="1053"/>
                  <a:pt x="755" y="1054"/>
                  <a:pt x="755" y="1054"/>
                </a:cubicBezTo>
                <a:cubicBezTo>
                  <a:pt x="756" y="1054"/>
                  <a:pt x="756" y="1054"/>
                  <a:pt x="756" y="1055"/>
                </a:cubicBezTo>
                <a:cubicBezTo>
                  <a:pt x="756" y="1055"/>
                  <a:pt x="756" y="1055"/>
                  <a:pt x="757" y="1056"/>
                </a:cubicBezTo>
                <a:cubicBezTo>
                  <a:pt x="757" y="1056"/>
                  <a:pt x="757" y="1056"/>
                  <a:pt x="757" y="1057"/>
                </a:cubicBezTo>
                <a:lnTo>
                  <a:pt x="797" y="1140"/>
                </a:lnTo>
                <a:cubicBezTo>
                  <a:pt x="797" y="1141"/>
                  <a:pt x="797" y="1142"/>
                  <a:pt x="797" y="1142"/>
                </a:cubicBezTo>
                <a:cubicBezTo>
                  <a:pt x="797" y="1143"/>
                  <a:pt x="797" y="1144"/>
                  <a:pt x="796" y="1144"/>
                </a:cubicBezTo>
                <a:cubicBezTo>
                  <a:pt x="796" y="1145"/>
                  <a:pt x="795" y="1146"/>
                  <a:pt x="795" y="1147"/>
                </a:cubicBezTo>
                <a:cubicBezTo>
                  <a:pt x="794" y="1148"/>
                  <a:pt x="792" y="1149"/>
                  <a:pt x="791" y="1151"/>
                </a:cubicBezTo>
                <a:cubicBezTo>
                  <a:pt x="790" y="1152"/>
                  <a:pt x="788" y="1153"/>
                  <a:pt x="787" y="1154"/>
                </a:cubicBezTo>
                <a:cubicBezTo>
                  <a:pt x="786" y="1155"/>
                  <a:pt x="785" y="1156"/>
                  <a:pt x="785" y="1156"/>
                </a:cubicBezTo>
                <a:cubicBezTo>
                  <a:pt x="784" y="1157"/>
                  <a:pt x="783" y="1157"/>
                  <a:pt x="782" y="1157"/>
                </a:cubicBezTo>
                <a:cubicBezTo>
                  <a:pt x="782" y="1157"/>
                  <a:pt x="781" y="1157"/>
                  <a:pt x="780" y="1156"/>
                </a:cubicBezTo>
                <a:lnTo>
                  <a:pt x="697" y="1117"/>
                </a:lnTo>
                <a:cubicBezTo>
                  <a:pt x="696" y="1117"/>
                  <a:pt x="696" y="1116"/>
                  <a:pt x="695" y="1116"/>
                </a:cubicBezTo>
                <a:cubicBezTo>
                  <a:pt x="694" y="1116"/>
                  <a:pt x="694" y="1115"/>
                  <a:pt x="694" y="1115"/>
                </a:cubicBezTo>
                <a:cubicBezTo>
                  <a:pt x="694" y="1115"/>
                  <a:pt x="693" y="1115"/>
                  <a:pt x="693" y="1115"/>
                </a:cubicBezTo>
                <a:cubicBezTo>
                  <a:pt x="693" y="1114"/>
                  <a:pt x="693" y="1114"/>
                  <a:pt x="692" y="1113"/>
                </a:cubicBezTo>
                <a:cubicBezTo>
                  <a:pt x="692" y="1113"/>
                  <a:pt x="692" y="1112"/>
                  <a:pt x="693" y="1112"/>
                </a:cubicBezTo>
                <a:cubicBezTo>
                  <a:pt x="693" y="1111"/>
                  <a:pt x="694" y="1110"/>
                  <a:pt x="694" y="1110"/>
                </a:cubicBezTo>
                <a:cubicBezTo>
                  <a:pt x="695" y="1109"/>
                  <a:pt x="696" y="1108"/>
                  <a:pt x="697" y="1107"/>
                </a:cubicBezTo>
                <a:cubicBezTo>
                  <a:pt x="698" y="1105"/>
                  <a:pt x="699" y="1104"/>
                  <a:pt x="700" y="1104"/>
                </a:cubicBezTo>
                <a:cubicBezTo>
                  <a:pt x="701" y="1103"/>
                  <a:pt x="702" y="1102"/>
                  <a:pt x="703" y="1102"/>
                </a:cubicBezTo>
                <a:cubicBezTo>
                  <a:pt x="703" y="1102"/>
                  <a:pt x="704" y="1102"/>
                  <a:pt x="704" y="1102"/>
                </a:cubicBezTo>
                <a:cubicBezTo>
                  <a:pt x="705" y="1102"/>
                  <a:pt x="706" y="1102"/>
                  <a:pt x="706" y="1102"/>
                </a:cubicBezTo>
                <a:lnTo>
                  <a:pt x="778" y="1137"/>
                </a:lnTo>
                <a:lnTo>
                  <a:pt x="779" y="1138"/>
                </a:lnTo>
                <a:lnTo>
                  <a:pt x="778" y="1137"/>
                </a:lnTo>
                <a:lnTo>
                  <a:pt x="743" y="1065"/>
                </a:lnTo>
                <a:cubicBezTo>
                  <a:pt x="743" y="1065"/>
                  <a:pt x="742" y="1064"/>
                  <a:pt x="742" y="1064"/>
                </a:cubicBezTo>
                <a:cubicBezTo>
                  <a:pt x="742" y="1063"/>
                  <a:pt x="742" y="1063"/>
                  <a:pt x="743" y="1062"/>
                </a:cubicBezTo>
                <a:cubicBezTo>
                  <a:pt x="743" y="1061"/>
                  <a:pt x="743" y="1061"/>
                  <a:pt x="744" y="1060"/>
                </a:cubicBezTo>
                <a:cubicBezTo>
                  <a:pt x="745" y="1059"/>
                  <a:pt x="746" y="1058"/>
                  <a:pt x="747" y="1057"/>
                </a:cubicBezTo>
                <a:cubicBezTo>
                  <a:pt x="748" y="1055"/>
                  <a:pt x="749" y="1055"/>
                  <a:pt x="750" y="1054"/>
                </a:cubicBezTo>
                <a:cubicBezTo>
                  <a:pt x="751" y="1053"/>
                  <a:pt x="751" y="1053"/>
                  <a:pt x="752" y="1053"/>
                </a:cubicBezTo>
                <a:cubicBezTo>
                  <a:pt x="753" y="1052"/>
                  <a:pt x="753" y="1052"/>
                  <a:pt x="754" y="1052"/>
                </a:cubicBezTo>
                <a:cubicBezTo>
                  <a:pt x="754" y="1052"/>
                  <a:pt x="754" y="1053"/>
                  <a:pt x="755" y="1053"/>
                </a:cubicBezTo>
                <a:close/>
                <a:moveTo>
                  <a:pt x="846" y="1091"/>
                </a:moveTo>
                <a:cubicBezTo>
                  <a:pt x="847" y="1092"/>
                  <a:pt x="847" y="1092"/>
                  <a:pt x="847" y="1092"/>
                </a:cubicBezTo>
                <a:cubicBezTo>
                  <a:pt x="847" y="1093"/>
                  <a:pt x="847" y="1093"/>
                  <a:pt x="847" y="1094"/>
                </a:cubicBezTo>
                <a:cubicBezTo>
                  <a:pt x="846" y="1095"/>
                  <a:pt x="846" y="1095"/>
                  <a:pt x="845" y="1096"/>
                </a:cubicBezTo>
                <a:cubicBezTo>
                  <a:pt x="845" y="1097"/>
                  <a:pt x="844" y="1098"/>
                  <a:pt x="843" y="1099"/>
                </a:cubicBezTo>
                <a:cubicBezTo>
                  <a:pt x="841" y="1100"/>
                  <a:pt x="840" y="1101"/>
                  <a:pt x="840" y="1102"/>
                </a:cubicBezTo>
                <a:cubicBezTo>
                  <a:pt x="839" y="1103"/>
                  <a:pt x="838" y="1103"/>
                  <a:pt x="837" y="1103"/>
                </a:cubicBezTo>
                <a:cubicBezTo>
                  <a:pt x="837" y="1104"/>
                  <a:pt x="836" y="1104"/>
                  <a:pt x="836" y="1104"/>
                </a:cubicBezTo>
                <a:cubicBezTo>
                  <a:pt x="835" y="1104"/>
                  <a:pt x="835" y="1103"/>
                  <a:pt x="834" y="1103"/>
                </a:cubicBezTo>
                <a:lnTo>
                  <a:pt x="770" y="1038"/>
                </a:lnTo>
                <a:cubicBezTo>
                  <a:pt x="769" y="1038"/>
                  <a:pt x="769" y="1038"/>
                  <a:pt x="769" y="1037"/>
                </a:cubicBezTo>
                <a:cubicBezTo>
                  <a:pt x="769" y="1037"/>
                  <a:pt x="769" y="1036"/>
                  <a:pt x="769" y="1036"/>
                </a:cubicBezTo>
                <a:cubicBezTo>
                  <a:pt x="770" y="1035"/>
                  <a:pt x="770" y="1034"/>
                  <a:pt x="771" y="1033"/>
                </a:cubicBezTo>
                <a:cubicBezTo>
                  <a:pt x="771" y="1032"/>
                  <a:pt x="772" y="1031"/>
                  <a:pt x="773" y="1030"/>
                </a:cubicBezTo>
                <a:cubicBezTo>
                  <a:pt x="775" y="1029"/>
                  <a:pt x="776" y="1028"/>
                  <a:pt x="777" y="1027"/>
                </a:cubicBezTo>
                <a:cubicBezTo>
                  <a:pt x="777" y="1027"/>
                  <a:pt x="778" y="1026"/>
                  <a:pt x="779" y="1026"/>
                </a:cubicBezTo>
                <a:cubicBezTo>
                  <a:pt x="779" y="1026"/>
                  <a:pt x="780" y="1026"/>
                  <a:pt x="780" y="1026"/>
                </a:cubicBezTo>
                <a:cubicBezTo>
                  <a:pt x="781" y="1026"/>
                  <a:pt x="781" y="1026"/>
                  <a:pt x="782" y="1027"/>
                </a:cubicBezTo>
                <a:lnTo>
                  <a:pt x="846" y="1091"/>
                </a:lnTo>
                <a:close/>
                <a:moveTo>
                  <a:pt x="761" y="1003"/>
                </a:moveTo>
                <a:cubicBezTo>
                  <a:pt x="764" y="1006"/>
                  <a:pt x="765" y="1009"/>
                  <a:pt x="765" y="1011"/>
                </a:cubicBezTo>
                <a:cubicBezTo>
                  <a:pt x="765" y="1013"/>
                  <a:pt x="764" y="1015"/>
                  <a:pt x="761" y="1018"/>
                </a:cubicBezTo>
                <a:cubicBezTo>
                  <a:pt x="758" y="1021"/>
                  <a:pt x="756" y="1022"/>
                  <a:pt x="754" y="1022"/>
                </a:cubicBezTo>
                <a:cubicBezTo>
                  <a:pt x="752" y="1022"/>
                  <a:pt x="749" y="1021"/>
                  <a:pt x="747" y="1018"/>
                </a:cubicBezTo>
                <a:cubicBezTo>
                  <a:pt x="744" y="1015"/>
                  <a:pt x="743" y="1013"/>
                  <a:pt x="743" y="1011"/>
                </a:cubicBezTo>
                <a:cubicBezTo>
                  <a:pt x="743" y="1009"/>
                  <a:pt x="744" y="1006"/>
                  <a:pt x="747" y="1004"/>
                </a:cubicBezTo>
                <a:cubicBezTo>
                  <a:pt x="750" y="1001"/>
                  <a:pt x="752" y="999"/>
                  <a:pt x="754" y="999"/>
                </a:cubicBezTo>
                <a:cubicBezTo>
                  <a:pt x="756" y="999"/>
                  <a:pt x="758" y="1001"/>
                  <a:pt x="761" y="1003"/>
                </a:cubicBezTo>
                <a:close/>
                <a:moveTo>
                  <a:pt x="905" y="1013"/>
                </a:moveTo>
                <a:cubicBezTo>
                  <a:pt x="906" y="1014"/>
                  <a:pt x="906" y="1014"/>
                  <a:pt x="907" y="1015"/>
                </a:cubicBezTo>
                <a:cubicBezTo>
                  <a:pt x="908" y="1016"/>
                  <a:pt x="908" y="1016"/>
                  <a:pt x="908" y="1017"/>
                </a:cubicBezTo>
                <a:cubicBezTo>
                  <a:pt x="909" y="1017"/>
                  <a:pt x="909" y="1018"/>
                  <a:pt x="909" y="1018"/>
                </a:cubicBezTo>
                <a:cubicBezTo>
                  <a:pt x="909" y="1019"/>
                  <a:pt x="909" y="1020"/>
                  <a:pt x="909" y="1021"/>
                </a:cubicBezTo>
                <a:cubicBezTo>
                  <a:pt x="909" y="1022"/>
                  <a:pt x="909" y="1024"/>
                  <a:pt x="908" y="1026"/>
                </a:cubicBezTo>
                <a:cubicBezTo>
                  <a:pt x="908" y="1028"/>
                  <a:pt x="907" y="1031"/>
                  <a:pt x="906" y="1033"/>
                </a:cubicBezTo>
                <a:cubicBezTo>
                  <a:pt x="905" y="1036"/>
                  <a:pt x="903" y="1038"/>
                  <a:pt x="902" y="1041"/>
                </a:cubicBezTo>
                <a:cubicBezTo>
                  <a:pt x="900" y="1043"/>
                  <a:pt x="898" y="1046"/>
                  <a:pt x="896" y="1048"/>
                </a:cubicBezTo>
                <a:cubicBezTo>
                  <a:pt x="891" y="1053"/>
                  <a:pt x="886" y="1056"/>
                  <a:pt x="881" y="1058"/>
                </a:cubicBezTo>
                <a:cubicBezTo>
                  <a:pt x="876" y="1060"/>
                  <a:pt x="871" y="1061"/>
                  <a:pt x="865" y="1060"/>
                </a:cubicBezTo>
                <a:cubicBezTo>
                  <a:pt x="860" y="1060"/>
                  <a:pt x="855" y="1058"/>
                  <a:pt x="849" y="1055"/>
                </a:cubicBezTo>
                <a:cubicBezTo>
                  <a:pt x="843" y="1052"/>
                  <a:pt x="838" y="1048"/>
                  <a:pt x="832" y="1042"/>
                </a:cubicBezTo>
                <a:cubicBezTo>
                  <a:pt x="826" y="1036"/>
                  <a:pt x="821" y="1029"/>
                  <a:pt x="818" y="1023"/>
                </a:cubicBezTo>
                <a:cubicBezTo>
                  <a:pt x="815" y="1017"/>
                  <a:pt x="814" y="1011"/>
                  <a:pt x="813" y="1006"/>
                </a:cubicBezTo>
                <a:cubicBezTo>
                  <a:pt x="813" y="1000"/>
                  <a:pt x="814" y="995"/>
                  <a:pt x="816" y="990"/>
                </a:cubicBezTo>
                <a:cubicBezTo>
                  <a:pt x="819" y="985"/>
                  <a:pt x="822" y="980"/>
                  <a:pt x="826" y="976"/>
                </a:cubicBezTo>
                <a:cubicBezTo>
                  <a:pt x="828" y="974"/>
                  <a:pt x="830" y="972"/>
                  <a:pt x="833" y="970"/>
                </a:cubicBezTo>
                <a:cubicBezTo>
                  <a:pt x="835" y="969"/>
                  <a:pt x="837" y="967"/>
                  <a:pt x="840" y="966"/>
                </a:cubicBezTo>
                <a:cubicBezTo>
                  <a:pt x="842" y="965"/>
                  <a:pt x="844" y="965"/>
                  <a:pt x="846" y="964"/>
                </a:cubicBezTo>
                <a:cubicBezTo>
                  <a:pt x="848" y="964"/>
                  <a:pt x="850" y="963"/>
                  <a:pt x="851" y="963"/>
                </a:cubicBezTo>
                <a:cubicBezTo>
                  <a:pt x="852" y="963"/>
                  <a:pt x="853" y="964"/>
                  <a:pt x="854" y="964"/>
                </a:cubicBezTo>
                <a:cubicBezTo>
                  <a:pt x="854" y="964"/>
                  <a:pt x="855" y="964"/>
                  <a:pt x="855" y="964"/>
                </a:cubicBezTo>
                <a:cubicBezTo>
                  <a:pt x="856" y="965"/>
                  <a:pt x="856" y="965"/>
                  <a:pt x="857" y="966"/>
                </a:cubicBezTo>
                <a:cubicBezTo>
                  <a:pt x="858" y="966"/>
                  <a:pt x="858" y="967"/>
                  <a:pt x="859" y="968"/>
                </a:cubicBezTo>
                <a:cubicBezTo>
                  <a:pt x="861" y="970"/>
                  <a:pt x="862" y="971"/>
                  <a:pt x="863" y="972"/>
                </a:cubicBezTo>
                <a:cubicBezTo>
                  <a:pt x="863" y="973"/>
                  <a:pt x="863" y="974"/>
                  <a:pt x="862" y="975"/>
                </a:cubicBezTo>
                <a:cubicBezTo>
                  <a:pt x="861" y="976"/>
                  <a:pt x="860" y="976"/>
                  <a:pt x="858" y="976"/>
                </a:cubicBezTo>
                <a:cubicBezTo>
                  <a:pt x="857" y="976"/>
                  <a:pt x="855" y="977"/>
                  <a:pt x="852" y="977"/>
                </a:cubicBezTo>
                <a:cubicBezTo>
                  <a:pt x="850" y="978"/>
                  <a:pt x="847" y="978"/>
                  <a:pt x="844" y="980"/>
                </a:cubicBezTo>
                <a:cubicBezTo>
                  <a:pt x="842" y="981"/>
                  <a:pt x="839" y="983"/>
                  <a:pt x="836" y="986"/>
                </a:cubicBezTo>
                <a:cubicBezTo>
                  <a:pt x="830" y="991"/>
                  <a:pt x="828" y="998"/>
                  <a:pt x="830" y="1005"/>
                </a:cubicBezTo>
                <a:cubicBezTo>
                  <a:pt x="831" y="1013"/>
                  <a:pt x="836" y="1021"/>
                  <a:pt x="844" y="1029"/>
                </a:cubicBezTo>
                <a:cubicBezTo>
                  <a:pt x="848" y="1033"/>
                  <a:pt x="852" y="1036"/>
                  <a:pt x="856" y="1039"/>
                </a:cubicBezTo>
                <a:cubicBezTo>
                  <a:pt x="860" y="1041"/>
                  <a:pt x="864" y="1043"/>
                  <a:pt x="867" y="1043"/>
                </a:cubicBezTo>
                <a:cubicBezTo>
                  <a:pt x="871" y="1044"/>
                  <a:pt x="875" y="1043"/>
                  <a:pt x="878" y="1042"/>
                </a:cubicBezTo>
                <a:cubicBezTo>
                  <a:pt x="881" y="1041"/>
                  <a:pt x="884" y="1039"/>
                  <a:pt x="887" y="1036"/>
                </a:cubicBezTo>
                <a:cubicBezTo>
                  <a:pt x="890" y="1033"/>
                  <a:pt x="892" y="1031"/>
                  <a:pt x="893" y="1028"/>
                </a:cubicBezTo>
                <a:cubicBezTo>
                  <a:pt x="894" y="1025"/>
                  <a:pt x="895" y="1022"/>
                  <a:pt x="895" y="1020"/>
                </a:cubicBezTo>
                <a:cubicBezTo>
                  <a:pt x="896" y="1017"/>
                  <a:pt x="896" y="1015"/>
                  <a:pt x="896" y="1013"/>
                </a:cubicBezTo>
                <a:cubicBezTo>
                  <a:pt x="897" y="1011"/>
                  <a:pt x="897" y="1010"/>
                  <a:pt x="898" y="1009"/>
                </a:cubicBezTo>
                <a:cubicBezTo>
                  <a:pt x="898" y="1009"/>
                  <a:pt x="898" y="1009"/>
                  <a:pt x="899" y="1009"/>
                </a:cubicBezTo>
                <a:cubicBezTo>
                  <a:pt x="899" y="1009"/>
                  <a:pt x="900" y="1009"/>
                  <a:pt x="900" y="1009"/>
                </a:cubicBezTo>
                <a:cubicBezTo>
                  <a:pt x="901" y="1009"/>
                  <a:pt x="902" y="1010"/>
                  <a:pt x="902" y="1010"/>
                </a:cubicBezTo>
                <a:cubicBezTo>
                  <a:pt x="903" y="1011"/>
                  <a:pt x="904" y="1012"/>
                  <a:pt x="905" y="1013"/>
                </a:cubicBezTo>
                <a:close/>
                <a:moveTo>
                  <a:pt x="956" y="911"/>
                </a:moveTo>
                <a:cubicBezTo>
                  <a:pt x="958" y="913"/>
                  <a:pt x="959" y="915"/>
                  <a:pt x="959" y="916"/>
                </a:cubicBezTo>
                <a:cubicBezTo>
                  <a:pt x="959" y="918"/>
                  <a:pt x="958" y="919"/>
                  <a:pt x="957" y="921"/>
                </a:cubicBezTo>
                <a:lnTo>
                  <a:pt x="914" y="963"/>
                </a:lnTo>
                <a:cubicBezTo>
                  <a:pt x="918" y="967"/>
                  <a:pt x="921" y="970"/>
                  <a:pt x="925" y="972"/>
                </a:cubicBezTo>
                <a:cubicBezTo>
                  <a:pt x="929" y="974"/>
                  <a:pt x="932" y="975"/>
                  <a:pt x="936" y="976"/>
                </a:cubicBezTo>
                <a:cubicBezTo>
                  <a:pt x="940" y="976"/>
                  <a:pt x="944" y="975"/>
                  <a:pt x="947" y="974"/>
                </a:cubicBezTo>
                <a:cubicBezTo>
                  <a:pt x="951" y="972"/>
                  <a:pt x="955" y="969"/>
                  <a:pt x="959" y="966"/>
                </a:cubicBezTo>
                <a:cubicBezTo>
                  <a:pt x="962" y="963"/>
                  <a:pt x="964" y="960"/>
                  <a:pt x="966" y="957"/>
                </a:cubicBezTo>
                <a:cubicBezTo>
                  <a:pt x="968" y="954"/>
                  <a:pt x="970" y="951"/>
                  <a:pt x="971" y="949"/>
                </a:cubicBezTo>
                <a:cubicBezTo>
                  <a:pt x="972" y="946"/>
                  <a:pt x="973" y="944"/>
                  <a:pt x="974" y="943"/>
                </a:cubicBezTo>
                <a:cubicBezTo>
                  <a:pt x="974" y="941"/>
                  <a:pt x="975" y="940"/>
                  <a:pt x="975" y="939"/>
                </a:cubicBezTo>
                <a:cubicBezTo>
                  <a:pt x="976" y="939"/>
                  <a:pt x="976" y="939"/>
                  <a:pt x="977" y="939"/>
                </a:cubicBezTo>
                <a:cubicBezTo>
                  <a:pt x="977" y="939"/>
                  <a:pt x="977" y="939"/>
                  <a:pt x="978" y="939"/>
                </a:cubicBezTo>
                <a:cubicBezTo>
                  <a:pt x="978" y="939"/>
                  <a:pt x="979" y="939"/>
                  <a:pt x="980" y="940"/>
                </a:cubicBezTo>
                <a:cubicBezTo>
                  <a:pt x="980" y="940"/>
                  <a:pt x="981" y="941"/>
                  <a:pt x="982" y="942"/>
                </a:cubicBezTo>
                <a:cubicBezTo>
                  <a:pt x="983" y="943"/>
                  <a:pt x="983" y="943"/>
                  <a:pt x="983" y="944"/>
                </a:cubicBezTo>
                <a:cubicBezTo>
                  <a:pt x="984" y="944"/>
                  <a:pt x="984" y="945"/>
                  <a:pt x="985" y="945"/>
                </a:cubicBezTo>
                <a:cubicBezTo>
                  <a:pt x="985" y="946"/>
                  <a:pt x="985" y="946"/>
                  <a:pt x="985" y="946"/>
                </a:cubicBezTo>
                <a:cubicBezTo>
                  <a:pt x="985" y="947"/>
                  <a:pt x="985" y="947"/>
                  <a:pt x="985" y="948"/>
                </a:cubicBezTo>
                <a:cubicBezTo>
                  <a:pt x="985" y="948"/>
                  <a:pt x="985" y="950"/>
                  <a:pt x="984" y="952"/>
                </a:cubicBezTo>
                <a:cubicBezTo>
                  <a:pt x="984" y="953"/>
                  <a:pt x="982" y="956"/>
                  <a:pt x="981" y="958"/>
                </a:cubicBezTo>
                <a:cubicBezTo>
                  <a:pt x="979" y="961"/>
                  <a:pt x="978" y="964"/>
                  <a:pt x="975" y="967"/>
                </a:cubicBezTo>
                <a:cubicBezTo>
                  <a:pt x="973" y="970"/>
                  <a:pt x="970" y="973"/>
                  <a:pt x="967" y="976"/>
                </a:cubicBezTo>
                <a:cubicBezTo>
                  <a:pt x="962" y="982"/>
                  <a:pt x="957" y="986"/>
                  <a:pt x="951" y="988"/>
                </a:cubicBezTo>
                <a:cubicBezTo>
                  <a:pt x="946" y="991"/>
                  <a:pt x="940" y="992"/>
                  <a:pt x="935" y="992"/>
                </a:cubicBezTo>
                <a:cubicBezTo>
                  <a:pt x="929" y="991"/>
                  <a:pt x="923" y="990"/>
                  <a:pt x="917" y="987"/>
                </a:cubicBezTo>
                <a:cubicBezTo>
                  <a:pt x="912" y="984"/>
                  <a:pt x="906" y="979"/>
                  <a:pt x="900" y="973"/>
                </a:cubicBezTo>
                <a:cubicBezTo>
                  <a:pt x="894" y="968"/>
                  <a:pt x="890" y="962"/>
                  <a:pt x="887" y="956"/>
                </a:cubicBezTo>
                <a:cubicBezTo>
                  <a:pt x="884" y="950"/>
                  <a:pt x="882" y="945"/>
                  <a:pt x="882" y="939"/>
                </a:cubicBezTo>
                <a:cubicBezTo>
                  <a:pt x="882" y="933"/>
                  <a:pt x="883" y="927"/>
                  <a:pt x="885" y="922"/>
                </a:cubicBezTo>
                <a:cubicBezTo>
                  <a:pt x="887" y="916"/>
                  <a:pt x="890" y="911"/>
                  <a:pt x="895" y="907"/>
                </a:cubicBezTo>
                <a:cubicBezTo>
                  <a:pt x="900" y="902"/>
                  <a:pt x="905" y="898"/>
                  <a:pt x="910" y="896"/>
                </a:cubicBezTo>
                <a:cubicBezTo>
                  <a:pt x="916" y="894"/>
                  <a:pt x="921" y="893"/>
                  <a:pt x="926" y="894"/>
                </a:cubicBezTo>
                <a:cubicBezTo>
                  <a:pt x="931" y="894"/>
                  <a:pt x="936" y="896"/>
                  <a:pt x="941" y="898"/>
                </a:cubicBezTo>
                <a:cubicBezTo>
                  <a:pt x="945" y="901"/>
                  <a:pt x="950" y="905"/>
                  <a:pt x="954" y="909"/>
                </a:cubicBezTo>
                <a:lnTo>
                  <a:pt x="956" y="911"/>
                </a:lnTo>
                <a:close/>
                <a:moveTo>
                  <a:pt x="941" y="919"/>
                </a:moveTo>
                <a:cubicBezTo>
                  <a:pt x="935" y="913"/>
                  <a:pt x="928" y="909"/>
                  <a:pt x="922" y="909"/>
                </a:cubicBezTo>
                <a:cubicBezTo>
                  <a:pt x="916" y="908"/>
                  <a:pt x="909" y="911"/>
                  <a:pt x="904" y="916"/>
                </a:cubicBezTo>
                <a:cubicBezTo>
                  <a:pt x="901" y="919"/>
                  <a:pt x="899" y="923"/>
                  <a:pt x="898" y="926"/>
                </a:cubicBezTo>
                <a:cubicBezTo>
                  <a:pt x="897" y="929"/>
                  <a:pt x="896" y="932"/>
                  <a:pt x="896" y="936"/>
                </a:cubicBezTo>
                <a:cubicBezTo>
                  <a:pt x="897" y="939"/>
                  <a:pt x="898" y="942"/>
                  <a:pt x="899" y="946"/>
                </a:cubicBezTo>
                <a:cubicBezTo>
                  <a:pt x="901" y="949"/>
                  <a:pt x="903" y="952"/>
                  <a:pt x="906" y="955"/>
                </a:cubicBezTo>
                <a:lnTo>
                  <a:pt x="941" y="919"/>
                </a:lnTo>
                <a:close/>
                <a:moveTo>
                  <a:pt x="1033" y="777"/>
                </a:moveTo>
                <a:cubicBezTo>
                  <a:pt x="1037" y="782"/>
                  <a:pt x="1041" y="787"/>
                  <a:pt x="1043" y="792"/>
                </a:cubicBezTo>
                <a:cubicBezTo>
                  <a:pt x="1045" y="797"/>
                  <a:pt x="1046" y="802"/>
                  <a:pt x="1046" y="808"/>
                </a:cubicBezTo>
                <a:cubicBezTo>
                  <a:pt x="1046" y="813"/>
                  <a:pt x="1044" y="819"/>
                  <a:pt x="1041" y="825"/>
                </a:cubicBezTo>
                <a:cubicBezTo>
                  <a:pt x="1039" y="830"/>
                  <a:pt x="1035" y="836"/>
                  <a:pt x="1029" y="842"/>
                </a:cubicBezTo>
                <a:lnTo>
                  <a:pt x="1018" y="852"/>
                </a:lnTo>
                <a:lnTo>
                  <a:pt x="1052" y="886"/>
                </a:lnTo>
                <a:cubicBezTo>
                  <a:pt x="1052" y="886"/>
                  <a:pt x="1052" y="886"/>
                  <a:pt x="1052" y="887"/>
                </a:cubicBezTo>
                <a:cubicBezTo>
                  <a:pt x="1052" y="887"/>
                  <a:pt x="1052" y="888"/>
                  <a:pt x="1052" y="889"/>
                </a:cubicBezTo>
                <a:cubicBezTo>
                  <a:pt x="1052" y="889"/>
                  <a:pt x="1051" y="890"/>
                  <a:pt x="1051" y="891"/>
                </a:cubicBezTo>
                <a:cubicBezTo>
                  <a:pt x="1050" y="892"/>
                  <a:pt x="1049" y="893"/>
                  <a:pt x="1048" y="894"/>
                </a:cubicBezTo>
                <a:cubicBezTo>
                  <a:pt x="1047" y="895"/>
                  <a:pt x="1046" y="896"/>
                  <a:pt x="1045" y="897"/>
                </a:cubicBezTo>
                <a:cubicBezTo>
                  <a:pt x="1044" y="898"/>
                  <a:pt x="1043" y="898"/>
                  <a:pt x="1042" y="898"/>
                </a:cubicBezTo>
                <a:cubicBezTo>
                  <a:pt x="1042" y="899"/>
                  <a:pt x="1041" y="899"/>
                  <a:pt x="1041" y="899"/>
                </a:cubicBezTo>
                <a:cubicBezTo>
                  <a:pt x="1040" y="899"/>
                  <a:pt x="1040" y="898"/>
                  <a:pt x="1039" y="898"/>
                </a:cubicBezTo>
                <a:lnTo>
                  <a:pt x="954" y="812"/>
                </a:lnTo>
                <a:cubicBezTo>
                  <a:pt x="952" y="810"/>
                  <a:pt x="951" y="808"/>
                  <a:pt x="951" y="807"/>
                </a:cubicBezTo>
                <a:cubicBezTo>
                  <a:pt x="951" y="805"/>
                  <a:pt x="952" y="803"/>
                  <a:pt x="953" y="802"/>
                </a:cubicBezTo>
                <a:lnTo>
                  <a:pt x="973" y="782"/>
                </a:lnTo>
                <a:cubicBezTo>
                  <a:pt x="975" y="780"/>
                  <a:pt x="977" y="778"/>
                  <a:pt x="979" y="777"/>
                </a:cubicBezTo>
                <a:cubicBezTo>
                  <a:pt x="981" y="775"/>
                  <a:pt x="984" y="773"/>
                  <a:pt x="987" y="771"/>
                </a:cubicBezTo>
                <a:cubicBezTo>
                  <a:pt x="990" y="769"/>
                  <a:pt x="993" y="768"/>
                  <a:pt x="997" y="766"/>
                </a:cubicBezTo>
                <a:cubicBezTo>
                  <a:pt x="1002" y="765"/>
                  <a:pt x="1006" y="765"/>
                  <a:pt x="1010" y="765"/>
                </a:cubicBezTo>
                <a:cubicBezTo>
                  <a:pt x="1014" y="766"/>
                  <a:pt x="1018" y="767"/>
                  <a:pt x="1022" y="769"/>
                </a:cubicBezTo>
                <a:cubicBezTo>
                  <a:pt x="1025" y="771"/>
                  <a:pt x="1029" y="773"/>
                  <a:pt x="1033" y="777"/>
                </a:cubicBezTo>
                <a:close/>
                <a:moveTo>
                  <a:pt x="1021" y="791"/>
                </a:moveTo>
                <a:cubicBezTo>
                  <a:pt x="1017" y="787"/>
                  <a:pt x="1013" y="785"/>
                  <a:pt x="1009" y="784"/>
                </a:cubicBezTo>
                <a:cubicBezTo>
                  <a:pt x="1005" y="782"/>
                  <a:pt x="1001" y="782"/>
                  <a:pt x="998" y="783"/>
                </a:cubicBezTo>
                <a:cubicBezTo>
                  <a:pt x="995" y="784"/>
                  <a:pt x="992" y="785"/>
                  <a:pt x="989" y="787"/>
                </a:cubicBezTo>
                <a:cubicBezTo>
                  <a:pt x="987" y="789"/>
                  <a:pt x="984" y="791"/>
                  <a:pt x="982" y="793"/>
                </a:cubicBezTo>
                <a:lnTo>
                  <a:pt x="971" y="805"/>
                </a:lnTo>
                <a:lnTo>
                  <a:pt x="1008" y="842"/>
                </a:lnTo>
                <a:lnTo>
                  <a:pt x="1019" y="831"/>
                </a:lnTo>
                <a:cubicBezTo>
                  <a:pt x="1023" y="827"/>
                  <a:pt x="1026" y="824"/>
                  <a:pt x="1027" y="820"/>
                </a:cubicBezTo>
                <a:cubicBezTo>
                  <a:pt x="1029" y="817"/>
                  <a:pt x="1029" y="813"/>
                  <a:pt x="1029" y="810"/>
                </a:cubicBezTo>
                <a:cubicBezTo>
                  <a:pt x="1029" y="807"/>
                  <a:pt x="1029" y="803"/>
                  <a:pt x="1027" y="800"/>
                </a:cubicBezTo>
                <a:cubicBezTo>
                  <a:pt x="1026" y="797"/>
                  <a:pt x="1023" y="794"/>
                  <a:pt x="1021" y="791"/>
                </a:cubicBezTo>
                <a:close/>
                <a:moveTo>
                  <a:pt x="1144" y="727"/>
                </a:moveTo>
                <a:cubicBezTo>
                  <a:pt x="1150" y="732"/>
                  <a:pt x="1154" y="738"/>
                  <a:pt x="1157" y="744"/>
                </a:cubicBezTo>
                <a:cubicBezTo>
                  <a:pt x="1160" y="749"/>
                  <a:pt x="1162" y="755"/>
                  <a:pt x="1162" y="761"/>
                </a:cubicBezTo>
                <a:cubicBezTo>
                  <a:pt x="1162" y="767"/>
                  <a:pt x="1162" y="773"/>
                  <a:pt x="1159" y="779"/>
                </a:cubicBezTo>
                <a:cubicBezTo>
                  <a:pt x="1157" y="785"/>
                  <a:pt x="1153" y="791"/>
                  <a:pt x="1147" y="796"/>
                </a:cubicBezTo>
                <a:cubicBezTo>
                  <a:pt x="1142" y="802"/>
                  <a:pt x="1137" y="805"/>
                  <a:pt x="1131" y="808"/>
                </a:cubicBezTo>
                <a:cubicBezTo>
                  <a:pt x="1126" y="810"/>
                  <a:pt x="1120" y="811"/>
                  <a:pt x="1114" y="811"/>
                </a:cubicBezTo>
                <a:cubicBezTo>
                  <a:pt x="1109" y="810"/>
                  <a:pt x="1103" y="809"/>
                  <a:pt x="1098" y="806"/>
                </a:cubicBezTo>
                <a:cubicBezTo>
                  <a:pt x="1092" y="803"/>
                  <a:pt x="1086" y="798"/>
                  <a:pt x="1081" y="793"/>
                </a:cubicBezTo>
                <a:cubicBezTo>
                  <a:pt x="1076" y="788"/>
                  <a:pt x="1072" y="782"/>
                  <a:pt x="1068" y="776"/>
                </a:cubicBezTo>
                <a:cubicBezTo>
                  <a:pt x="1065" y="771"/>
                  <a:pt x="1064" y="765"/>
                  <a:pt x="1063" y="759"/>
                </a:cubicBezTo>
                <a:cubicBezTo>
                  <a:pt x="1063" y="753"/>
                  <a:pt x="1064" y="747"/>
                  <a:pt x="1066" y="741"/>
                </a:cubicBezTo>
                <a:cubicBezTo>
                  <a:pt x="1068" y="735"/>
                  <a:pt x="1072" y="729"/>
                  <a:pt x="1078" y="724"/>
                </a:cubicBezTo>
                <a:cubicBezTo>
                  <a:pt x="1083" y="719"/>
                  <a:pt x="1089" y="715"/>
                  <a:pt x="1094" y="712"/>
                </a:cubicBezTo>
                <a:cubicBezTo>
                  <a:pt x="1100" y="710"/>
                  <a:pt x="1105" y="709"/>
                  <a:pt x="1111" y="709"/>
                </a:cubicBezTo>
                <a:cubicBezTo>
                  <a:pt x="1117" y="710"/>
                  <a:pt x="1122" y="711"/>
                  <a:pt x="1128" y="714"/>
                </a:cubicBezTo>
                <a:cubicBezTo>
                  <a:pt x="1133" y="717"/>
                  <a:pt x="1139" y="722"/>
                  <a:pt x="1144" y="727"/>
                </a:cubicBezTo>
                <a:close/>
                <a:moveTo>
                  <a:pt x="1133" y="740"/>
                </a:moveTo>
                <a:cubicBezTo>
                  <a:pt x="1129" y="737"/>
                  <a:pt x="1126" y="734"/>
                  <a:pt x="1122" y="731"/>
                </a:cubicBezTo>
                <a:cubicBezTo>
                  <a:pt x="1118" y="729"/>
                  <a:pt x="1114" y="727"/>
                  <a:pt x="1111" y="726"/>
                </a:cubicBezTo>
                <a:cubicBezTo>
                  <a:pt x="1107" y="725"/>
                  <a:pt x="1103" y="726"/>
                  <a:pt x="1099" y="727"/>
                </a:cubicBezTo>
                <a:cubicBezTo>
                  <a:pt x="1095" y="728"/>
                  <a:pt x="1091" y="730"/>
                  <a:pt x="1087" y="734"/>
                </a:cubicBezTo>
                <a:cubicBezTo>
                  <a:pt x="1084" y="738"/>
                  <a:pt x="1081" y="741"/>
                  <a:pt x="1080" y="745"/>
                </a:cubicBezTo>
                <a:cubicBezTo>
                  <a:pt x="1079" y="749"/>
                  <a:pt x="1078" y="753"/>
                  <a:pt x="1079" y="757"/>
                </a:cubicBezTo>
                <a:cubicBezTo>
                  <a:pt x="1080" y="761"/>
                  <a:pt x="1081" y="765"/>
                  <a:pt x="1083" y="768"/>
                </a:cubicBezTo>
                <a:cubicBezTo>
                  <a:pt x="1086" y="772"/>
                  <a:pt x="1089" y="776"/>
                  <a:pt x="1092" y="780"/>
                </a:cubicBezTo>
                <a:cubicBezTo>
                  <a:pt x="1096" y="783"/>
                  <a:pt x="1100" y="786"/>
                  <a:pt x="1103" y="789"/>
                </a:cubicBezTo>
                <a:cubicBezTo>
                  <a:pt x="1107" y="791"/>
                  <a:pt x="1111" y="793"/>
                  <a:pt x="1115" y="794"/>
                </a:cubicBezTo>
                <a:cubicBezTo>
                  <a:pt x="1119" y="795"/>
                  <a:pt x="1123" y="794"/>
                  <a:pt x="1127" y="793"/>
                </a:cubicBezTo>
                <a:cubicBezTo>
                  <a:pt x="1130" y="792"/>
                  <a:pt x="1134" y="789"/>
                  <a:pt x="1138" y="786"/>
                </a:cubicBezTo>
                <a:cubicBezTo>
                  <a:pt x="1142" y="782"/>
                  <a:pt x="1144" y="779"/>
                  <a:pt x="1145" y="775"/>
                </a:cubicBezTo>
                <a:cubicBezTo>
                  <a:pt x="1147" y="771"/>
                  <a:pt x="1147" y="767"/>
                  <a:pt x="1146" y="763"/>
                </a:cubicBezTo>
                <a:cubicBezTo>
                  <a:pt x="1146" y="759"/>
                  <a:pt x="1144" y="755"/>
                  <a:pt x="1142" y="752"/>
                </a:cubicBezTo>
                <a:cubicBezTo>
                  <a:pt x="1140" y="748"/>
                  <a:pt x="1137" y="744"/>
                  <a:pt x="1133" y="740"/>
                </a:cubicBezTo>
                <a:close/>
                <a:moveTo>
                  <a:pt x="1222" y="586"/>
                </a:moveTo>
                <a:cubicBezTo>
                  <a:pt x="1222" y="586"/>
                  <a:pt x="1223" y="587"/>
                  <a:pt x="1223" y="587"/>
                </a:cubicBezTo>
                <a:cubicBezTo>
                  <a:pt x="1224" y="588"/>
                  <a:pt x="1224" y="588"/>
                  <a:pt x="1224" y="589"/>
                </a:cubicBezTo>
                <a:lnTo>
                  <a:pt x="1267" y="670"/>
                </a:lnTo>
                <a:cubicBezTo>
                  <a:pt x="1267" y="671"/>
                  <a:pt x="1267" y="671"/>
                  <a:pt x="1267" y="672"/>
                </a:cubicBezTo>
                <a:cubicBezTo>
                  <a:pt x="1267" y="672"/>
                  <a:pt x="1267" y="673"/>
                  <a:pt x="1267" y="674"/>
                </a:cubicBezTo>
                <a:cubicBezTo>
                  <a:pt x="1267" y="675"/>
                  <a:pt x="1266" y="676"/>
                  <a:pt x="1265" y="677"/>
                </a:cubicBezTo>
                <a:cubicBezTo>
                  <a:pt x="1264" y="678"/>
                  <a:pt x="1263" y="679"/>
                  <a:pt x="1262" y="680"/>
                </a:cubicBezTo>
                <a:cubicBezTo>
                  <a:pt x="1260" y="682"/>
                  <a:pt x="1259" y="683"/>
                  <a:pt x="1258" y="684"/>
                </a:cubicBezTo>
                <a:cubicBezTo>
                  <a:pt x="1257" y="685"/>
                  <a:pt x="1256" y="685"/>
                  <a:pt x="1255" y="686"/>
                </a:cubicBezTo>
                <a:cubicBezTo>
                  <a:pt x="1254" y="686"/>
                  <a:pt x="1253" y="686"/>
                  <a:pt x="1253" y="686"/>
                </a:cubicBezTo>
                <a:cubicBezTo>
                  <a:pt x="1252" y="686"/>
                  <a:pt x="1252" y="686"/>
                  <a:pt x="1251" y="686"/>
                </a:cubicBezTo>
                <a:lnTo>
                  <a:pt x="1190" y="652"/>
                </a:lnTo>
                <a:lnTo>
                  <a:pt x="1190" y="652"/>
                </a:lnTo>
                <a:lnTo>
                  <a:pt x="1190" y="653"/>
                </a:lnTo>
                <a:lnTo>
                  <a:pt x="1224" y="712"/>
                </a:lnTo>
                <a:cubicBezTo>
                  <a:pt x="1225" y="713"/>
                  <a:pt x="1225" y="714"/>
                  <a:pt x="1225" y="714"/>
                </a:cubicBezTo>
                <a:cubicBezTo>
                  <a:pt x="1225" y="715"/>
                  <a:pt x="1225" y="716"/>
                  <a:pt x="1224" y="716"/>
                </a:cubicBezTo>
                <a:cubicBezTo>
                  <a:pt x="1224" y="717"/>
                  <a:pt x="1223" y="718"/>
                  <a:pt x="1222" y="719"/>
                </a:cubicBezTo>
                <a:cubicBezTo>
                  <a:pt x="1222" y="720"/>
                  <a:pt x="1220" y="721"/>
                  <a:pt x="1219" y="723"/>
                </a:cubicBezTo>
                <a:cubicBezTo>
                  <a:pt x="1217" y="724"/>
                  <a:pt x="1216" y="726"/>
                  <a:pt x="1215" y="726"/>
                </a:cubicBezTo>
                <a:cubicBezTo>
                  <a:pt x="1214" y="727"/>
                  <a:pt x="1213" y="728"/>
                  <a:pt x="1212" y="728"/>
                </a:cubicBezTo>
                <a:cubicBezTo>
                  <a:pt x="1212" y="729"/>
                  <a:pt x="1211" y="729"/>
                  <a:pt x="1210" y="729"/>
                </a:cubicBezTo>
                <a:cubicBezTo>
                  <a:pt x="1210" y="729"/>
                  <a:pt x="1209" y="729"/>
                  <a:pt x="1208" y="728"/>
                </a:cubicBezTo>
                <a:lnTo>
                  <a:pt x="1128" y="686"/>
                </a:lnTo>
                <a:cubicBezTo>
                  <a:pt x="1127" y="685"/>
                  <a:pt x="1126" y="685"/>
                  <a:pt x="1126" y="684"/>
                </a:cubicBezTo>
                <a:cubicBezTo>
                  <a:pt x="1125" y="684"/>
                  <a:pt x="1125" y="684"/>
                  <a:pt x="1124" y="683"/>
                </a:cubicBezTo>
                <a:cubicBezTo>
                  <a:pt x="1124" y="683"/>
                  <a:pt x="1124" y="682"/>
                  <a:pt x="1124" y="682"/>
                </a:cubicBezTo>
                <a:cubicBezTo>
                  <a:pt x="1124" y="682"/>
                  <a:pt x="1124" y="681"/>
                  <a:pt x="1124" y="680"/>
                </a:cubicBezTo>
                <a:cubicBezTo>
                  <a:pt x="1124" y="680"/>
                  <a:pt x="1125" y="679"/>
                  <a:pt x="1126" y="678"/>
                </a:cubicBezTo>
                <a:cubicBezTo>
                  <a:pt x="1126" y="677"/>
                  <a:pt x="1127" y="676"/>
                  <a:pt x="1128" y="675"/>
                </a:cubicBezTo>
                <a:cubicBezTo>
                  <a:pt x="1130" y="674"/>
                  <a:pt x="1131" y="673"/>
                  <a:pt x="1132" y="672"/>
                </a:cubicBezTo>
                <a:cubicBezTo>
                  <a:pt x="1133" y="672"/>
                  <a:pt x="1133" y="671"/>
                  <a:pt x="1134" y="671"/>
                </a:cubicBezTo>
                <a:cubicBezTo>
                  <a:pt x="1134" y="670"/>
                  <a:pt x="1135" y="670"/>
                  <a:pt x="1136" y="671"/>
                </a:cubicBezTo>
                <a:cubicBezTo>
                  <a:pt x="1136" y="671"/>
                  <a:pt x="1137" y="671"/>
                  <a:pt x="1137" y="671"/>
                </a:cubicBezTo>
                <a:lnTo>
                  <a:pt x="1206" y="709"/>
                </a:lnTo>
                <a:lnTo>
                  <a:pt x="1207" y="709"/>
                </a:lnTo>
                <a:lnTo>
                  <a:pt x="1206" y="709"/>
                </a:lnTo>
                <a:lnTo>
                  <a:pt x="1167" y="641"/>
                </a:lnTo>
                <a:cubicBezTo>
                  <a:pt x="1167" y="640"/>
                  <a:pt x="1167" y="640"/>
                  <a:pt x="1167" y="639"/>
                </a:cubicBezTo>
                <a:cubicBezTo>
                  <a:pt x="1167" y="639"/>
                  <a:pt x="1167" y="638"/>
                  <a:pt x="1167" y="638"/>
                </a:cubicBezTo>
                <a:cubicBezTo>
                  <a:pt x="1167" y="637"/>
                  <a:pt x="1168" y="636"/>
                  <a:pt x="1168" y="636"/>
                </a:cubicBezTo>
                <a:cubicBezTo>
                  <a:pt x="1169" y="635"/>
                  <a:pt x="1170" y="634"/>
                  <a:pt x="1171" y="633"/>
                </a:cubicBezTo>
                <a:cubicBezTo>
                  <a:pt x="1172" y="631"/>
                  <a:pt x="1173" y="631"/>
                  <a:pt x="1174" y="630"/>
                </a:cubicBezTo>
                <a:cubicBezTo>
                  <a:pt x="1175" y="629"/>
                  <a:pt x="1176" y="629"/>
                  <a:pt x="1176" y="628"/>
                </a:cubicBezTo>
                <a:cubicBezTo>
                  <a:pt x="1177" y="628"/>
                  <a:pt x="1177" y="628"/>
                  <a:pt x="1178" y="628"/>
                </a:cubicBezTo>
                <a:cubicBezTo>
                  <a:pt x="1178" y="628"/>
                  <a:pt x="1179" y="628"/>
                  <a:pt x="1179" y="629"/>
                </a:cubicBezTo>
                <a:lnTo>
                  <a:pt x="1248" y="667"/>
                </a:lnTo>
                <a:lnTo>
                  <a:pt x="1249" y="667"/>
                </a:lnTo>
                <a:lnTo>
                  <a:pt x="1248" y="667"/>
                </a:lnTo>
                <a:lnTo>
                  <a:pt x="1210" y="598"/>
                </a:lnTo>
                <a:cubicBezTo>
                  <a:pt x="1210" y="597"/>
                  <a:pt x="1210" y="597"/>
                  <a:pt x="1210" y="596"/>
                </a:cubicBezTo>
                <a:cubicBezTo>
                  <a:pt x="1210" y="596"/>
                  <a:pt x="1210" y="595"/>
                  <a:pt x="1210" y="595"/>
                </a:cubicBezTo>
                <a:cubicBezTo>
                  <a:pt x="1210" y="594"/>
                  <a:pt x="1211" y="593"/>
                  <a:pt x="1212" y="592"/>
                </a:cubicBezTo>
                <a:cubicBezTo>
                  <a:pt x="1212" y="592"/>
                  <a:pt x="1213" y="590"/>
                  <a:pt x="1214" y="589"/>
                </a:cubicBezTo>
                <a:cubicBezTo>
                  <a:pt x="1216" y="588"/>
                  <a:pt x="1217" y="587"/>
                  <a:pt x="1217" y="587"/>
                </a:cubicBezTo>
                <a:cubicBezTo>
                  <a:pt x="1218" y="586"/>
                  <a:pt x="1219" y="585"/>
                  <a:pt x="1219" y="585"/>
                </a:cubicBezTo>
                <a:cubicBezTo>
                  <a:pt x="1220" y="585"/>
                  <a:pt x="1220" y="585"/>
                  <a:pt x="1221" y="585"/>
                </a:cubicBezTo>
                <a:cubicBezTo>
                  <a:pt x="1221" y="585"/>
                  <a:pt x="1222" y="585"/>
                  <a:pt x="1222" y="586"/>
                </a:cubicBezTo>
                <a:close/>
                <a:moveTo>
                  <a:pt x="1318" y="549"/>
                </a:moveTo>
                <a:cubicBezTo>
                  <a:pt x="1320" y="551"/>
                  <a:pt x="1321" y="553"/>
                  <a:pt x="1321" y="554"/>
                </a:cubicBezTo>
                <a:cubicBezTo>
                  <a:pt x="1321" y="556"/>
                  <a:pt x="1320" y="557"/>
                  <a:pt x="1319" y="559"/>
                </a:cubicBezTo>
                <a:lnTo>
                  <a:pt x="1276" y="601"/>
                </a:lnTo>
                <a:cubicBezTo>
                  <a:pt x="1280" y="605"/>
                  <a:pt x="1283" y="608"/>
                  <a:pt x="1287" y="610"/>
                </a:cubicBezTo>
                <a:cubicBezTo>
                  <a:pt x="1291" y="612"/>
                  <a:pt x="1294" y="613"/>
                  <a:pt x="1298" y="614"/>
                </a:cubicBezTo>
                <a:cubicBezTo>
                  <a:pt x="1302" y="614"/>
                  <a:pt x="1306" y="613"/>
                  <a:pt x="1309" y="612"/>
                </a:cubicBezTo>
                <a:cubicBezTo>
                  <a:pt x="1313" y="610"/>
                  <a:pt x="1317" y="607"/>
                  <a:pt x="1321" y="604"/>
                </a:cubicBezTo>
                <a:cubicBezTo>
                  <a:pt x="1324" y="600"/>
                  <a:pt x="1327" y="597"/>
                  <a:pt x="1328" y="595"/>
                </a:cubicBezTo>
                <a:cubicBezTo>
                  <a:pt x="1330" y="592"/>
                  <a:pt x="1332" y="589"/>
                  <a:pt x="1333" y="587"/>
                </a:cubicBezTo>
                <a:cubicBezTo>
                  <a:pt x="1334" y="584"/>
                  <a:pt x="1335" y="582"/>
                  <a:pt x="1336" y="581"/>
                </a:cubicBezTo>
                <a:cubicBezTo>
                  <a:pt x="1336" y="579"/>
                  <a:pt x="1337" y="578"/>
                  <a:pt x="1337" y="577"/>
                </a:cubicBezTo>
                <a:cubicBezTo>
                  <a:pt x="1338" y="577"/>
                  <a:pt x="1338" y="577"/>
                  <a:pt x="1339" y="577"/>
                </a:cubicBezTo>
                <a:cubicBezTo>
                  <a:pt x="1339" y="577"/>
                  <a:pt x="1339" y="577"/>
                  <a:pt x="1340" y="577"/>
                </a:cubicBezTo>
                <a:cubicBezTo>
                  <a:pt x="1340" y="577"/>
                  <a:pt x="1341" y="577"/>
                  <a:pt x="1342" y="578"/>
                </a:cubicBezTo>
                <a:cubicBezTo>
                  <a:pt x="1342" y="578"/>
                  <a:pt x="1343" y="579"/>
                  <a:pt x="1344" y="580"/>
                </a:cubicBezTo>
                <a:cubicBezTo>
                  <a:pt x="1345" y="581"/>
                  <a:pt x="1345" y="581"/>
                  <a:pt x="1345" y="582"/>
                </a:cubicBezTo>
                <a:cubicBezTo>
                  <a:pt x="1346" y="582"/>
                  <a:pt x="1346" y="583"/>
                  <a:pt x="1347" y="583"/>
                </a:cubicBezTo>
                <a:cubicBezTo>
                  <a:pt x="1347" y="583"/>
                  <a:pt x="1347" y="584"/>
                  <a:pt x="1347" y="584"/>
                </a:cubicBezTo>
                <a:cubicBezTo>
                  <a:pt x="1347" y="585"/>
                  <a:pt x="1347" y="585"/>
                  <a:pt x="1347" y="586"/>
                </a:cubicBezTo>
                <a:cubicBezTo>
                  <a:pt x="1347" y="586"/>
                  <a:pt x="1347" y="588"/>
                  <a:pt x="1346" y="589"/>
                </a:cubicBezTo>
                <a:cubicBezTo>
                  <a:pt x="1346" y="591"/>
                  <a:pt x="1345" y="594"/>
                  <a:pt x="1343" y="596"/>
                </a:cubicBezTo>
                <a:cubicBezTo>
                  <a:pt x="1342" y="599"/>
                  <a:pt x="1340" y="602"/>
                  <a:pt x="1337" y="605"/>
                </a:cubicBezTo>
                <a:cubicBezTo>
                  <a:pt x="1335" y="608"/>
                  <a:pt x="1333" y="611"/>
                  <a:pt x="1329" y="614"/>
                </a:cubicBezTo>
                <a:cubicBezTo>
                  <a:pt x="1324" y="620"/>
                  <a:pt x="1319" y="624"/>
                  <a:pt x="1313" y="626"/>
                </a:cubicBezTo>
                <a:cubicBezTo>
                  <a:pt x="1308" y="629"/>
                  <a:pt x="1302" y="630"/>
                  <a:pt x="1297" y="630"/>
                </a:cubicBezTo>
                <a:cubicBezTo>
                  <a:pt x="1291" y="629"/>
                  <a:pt x="1285" y="628"/>
                  <a:pt x="1279" y="625"/>
                </a:cubicBezTo>
                <a:cubicBezTo>
                  <a:pt x="1274" y="622"/>
                  <a:pt x="1268" y="617"/>
                  <a:pt x="1262" y="611"/>
                </a:cubicBezTo>
                <a:cubicBezTo>
                  <a:pt x="1256" y="606"/>
                  <a:pt x="1252" y="600"/>
                  <a:pt x="1249" y="594"/>
                </a:cubicBezTo>
                <a:cubicBezTo>
                  <a:pt x="1246" y="588"/>
                  <a:pt x="1244" y="583"/>
                  <a:pt x="1244" y="577"/>
                </a:cubicBezTo>
                <a:cubicBezTo>
                  <a:pt x="1244" y="571"/>
                  <a:pt x="1245" y="565"/>
                  <a:pt x="1247" y="560"/>
                </a:cubicBezTo>
                <a:cubicBezTo>
                  <a:pt x="1249" y="554"/>
                  <a:pt x="1252" y="549"/>
                  <a:pt x="1257" y="545"/>
                </a:cubicBezTo>
                <a:cubicBezTo>
                  <a:pt x="1262" y="539"/>
                  <a:pt x="1267" y="536"/>
                  <a:pt x="1273" y="534"/>
                </a:cubicBezTo>
                <a:cubicBezTo>
                  <a:pt x="1278" y="532"/>
                  <a:pt x="1283" y="531"/>
                  <a:pt x="1288" y="532"/>
                </a:cubicBezTo>
                <a:cubicBezTo>
                  <a:pt x="1293" y="532"/>
                  <a:pt x="1298" y="534"/>
                  <a:pt x="1303" y="536"/>
                </a:cubicBezTo>
                <a:cubicBezTo>
                  <a:pt x="1307" y="539"/>
                  <a:pt x="1312" y="542"/>
                  <a:pt x="1316" y="547"/>
                </a:cubicBezTo>
                <a:lnTo>
                  <a:pt x="1318" y="549"/>
                </a:lnTo>
                <a:close/>
                <a:moveTo>
                  <a:pt x="1303" y="557"/>
                </a:moveTo>
                <a:cubicBezTo>
                  <a:pt x="1297" y="551"/>
                  <a:pt x="1291" y="547"/>
                  <a:pt x="1284" y="547"/>
                </a:cubicBezTo>
                <a:cubicBezTo>
                  <a:pt x="1278" y="546"/>
                  <a:pt x="1272" y="549"/>
                  <a:pt x="1266" y="554"/>
                </a:cubicBezTo>
                <a:cubicBezTo>
                  <a:pt x="1263" y="557"/>
                  <a:pt x="1261" y="560"/>
                  <a:pt x="1260" y="564"/>
                </a:cubicBezTo>
                <a:cubicBezTo>
                  <a:pt x="1259" y="567"/>
                  <a:pt x="1258" y="570"/>
                  <a:pt x="1259" y="574"/>
                </a:cubicBezTo>
                <a:cubicBezTo>
                  <a:pt x="1259" y="577"/>
                  <a:pt x="1260" y="580"/>
                  <a:pt x="1261" y="584"/>
                </a:cubicBezTo>
                <a:cubicBezTo>
                  <a:pt x="1263" y="587"/>
                  <a:pt x="1265" y="590"/>
                  <a:pt x="1268" y="593"/>
                </a:cubicBezTo>
                <a:lnTo>
                  <a:pt x="1303" y="557"/>
                </a:lnTo>
                <a:close/>
                <a:moveTo>
                  <a:pt x="1355" y="462"/>
                </a:moveTo>
                <a:cubicBezTo>
                  <a:pt x="1356" y="463"/>
                  <a:pt x="1357" y="464"/>
                  <a:pt x="1357" y="464"/>
                </a:cubicBezTo>
                <a:cubicBezTo>
                  <a:pt x="1358" y="465"/>
                  <a:pt x="1359" y="466"/>
                  <a:pt x="1359" y="466"/>
                </a:cubicBezTo>
                <a:cubicBezTo>
                  <a:pt x="1359" y="467"/>
                  <a:pt x="1359" y="468"/>
                  <a:pt x="1359" y="468"/>
                </a:cubicBezTo>
                <a:cubicBezTo>
                  <a:pt x="1359" y="468"/>
                  <a:pt x="1359" y="469"/>
                  <a:pt x="1359" y="469"/>
                </a:cubicBezTo>
                <a:cubicBezTo>
                  <a:pt x="1358" y="470"/>
                  <a:pt x="1358" y="470"/>
                  <a:pt x="1357" y="470"/>
                </a:cubicBezTo>
                <a:cubicBezTo>
                  <a:pt x="1356" y="471"/>
                  <a:pt x="1355" y="471"/>
                  <a:pt x="1354" y="471"/>
                </a:cubicBezTo>
                <a:cubicBezTo>
                  <a:pt x="1354" y="472"/>
                  <a:pt x="1353" y="473"/>
                  <a:pt x="1351" y="473"/>
                </a:cubicBezTo>
                <a:cubicBezTo>
                  <a:pt x="1350" y="474"/>
                  <a:pt x="1349" y="475"/>
                  <a:pt x="1348" y="476"/>
                </a:cubicBezTo>
                <a:cubicBezTo>
                  <a:pt x="1347" y="477"/>
                  <a:pt x="1346" y="478"/>
                  <a:pt x="1346" y="480"/>
                </a:cubicBezTo>
                <a:cubicBezTo>
                  <a:pt x="1345" y="482"/>
                  <a:pt x="1345" y="484"/>
                  <a:pt x="1344" y="486"/>
                </a:cubicBezTo>
                <a:cubicBezTo>
                  <a:pt x="1344" y="488"/>
                  <a:pt x="1344" y="491"/>
                  <a:pt x="1345" y="494"/>
                </a:cubicBezTo>
                <a:cubicBezTo>
                  <a:pt x="1345" y="498"/>
                  <a:pt x="1346" y="501"/>
                  <a:pt x="1347" y="506"/>
                </a:cubicBezTo>
                <a:lnTo>
                  <a:pt x="1389" y="548"/>
                </a:lnTo>
                <a:cubicBezTo>
                  <a:pt x="1390" y="548"/>
                  <a:pt x="1390" y="549"/>
                  <a:pt x="1390" y="549"/>
                </a:cubicBezTo>
                <a:cubicBezTo>
                  <a:pt x="1390" y="550"/>
                  <a:pt x="1390" y="550"/>
                  <a:pt x="1390" y="551"/>
                </a:cubicBezTo>
                <a:cubicBezTo>
                  <a:pt x="1390" y="552"/>
                  <a:pt x="1389" y="552"/>
                  <a:pt x="1388" y="553"/>
                </a:cubicBezTo>
                <a:cubicBezTo>
                  <a:pt x="1388" y="554"/>
                  <a:pt x="1387" y="555"/>
                  <a:pt x="1386" y="556"/>
                </a:cubicBezTo>
                <a:cubicBezTo>
                  <a:pt x="1384" y="557"/>
                  <a:pt x="1383" y="558"/>
                  <a:pt x="1383" y="559"/>
                </a:cubicBezTo>
                <a:cubicBezTo>
                  <a:pt x="1382" y="560"/>
                  <a:pt x="1381" y="560"/>
                  <a:pt x="1380" y="560"/>
                </a:cubicBezTo>
                <a:cubicBezTo>
                  <a:pt x="1380" y="561"/>
                  <a:pt x="1379" y="561"/>
                  <a:pt x="1379" y="561"/>
                </a:cubicBezTo>
                <a:cubicBezTo>
                  <a:pt x="1378" y="561"/>
                  <a:pt x="1378" y="560"/>
                  <a:pt x="1377" y="560"/>
                </a:cubicBezTo>
                <a:lnTo>
                  <a:pt x="1313" y="495"/>
                </a:lnTo>
                <a:cubicBezTo>
                  <a:pt x="1312" y="495"/>
                  <a:pt x="1312" y="495"/>
                  <a:pt x="1312" y="494"/>
                </a:cubicBezTo>
                <a:cubicBezTo>
                  <a:pt x="1312" y="494"/>
                  <a:pt x="1312" y="493"/>
                  <a:pt x="1312" y="493"/>
                </a:cubicBezTo>
                <a:cubicBezTo>
                  <a:pt x="1312" y="492"/>
                  <a:pt x="1313" y="491"/>
                  <a:pt x="1313" y="490"/>
                </a:cubicBezTo>
                <a:cubicBezTo>
                  <a:pt x="1314" y="490"/>
                  <a:pt x="1315" y="489"/>
                  <a:pt x="1316" y="488"/>
                </a:cubicBezTo>
                <a:cubicBezTo>
                  <a:pt x="1317" y="487"/>
                  <a:pt x="1318" y="486"/>
                  <a:pt x="1319" y="485"/>
                </a:cubicBezTo>
                <a:cubicBezTo>
                  <a:pt x="1319" y="485"/>
                  <a:pt x="1320" y="484"/>
                  <a:pt x="1321" y="484"/>
                </a:cubicBezTo>
                <a:cubicBezTo>
                  <a:pt x="1321" y="484"/>
                  <a:pt x="1322" y="484"/>
                  <a:pt x="1322" y="484"/>
                </a:cubicBezTo>
                <a:cubicBezTo>
                  <a:pt x="1323" y="484"/>
                  <a:pt x="1323" y="484"/>
                  <a:pt x="1324" y="485"/>
                </a:cubicBezTo>
                <a:lnTo>
                  <a:pt x="1333" y="494"/>
                </a:lnTo>
                <a:cubicBezTo>
                  <a:pt x="1332" y="490"/>
                  <a:pt x="1332" y="486"/>
                  <a:pt x="1332" y="483"/>
                </a:cubicBezTo>
                <a:cubicBezTo>
                  <a:pt x="1332" y="480"/>
                  <a:pt x="1332" y="477"/>
                  <a:pt x="1332" y="474"/>
                </a:cubicBezTo>
                <a:cubicBezTo>
                  <a:pt x="1333" y="472"/>
                  <a:pt x="1333" y="470"/>
                  <a:pt x="1334" y="468"/>
                </a:cubicBezTo>
                <a:cubicBezTo>
                  <a:pt x="1335" y="467"/>
                  <a:pt x="1337" y="465"/>
                  <a:pt x="1338" y="464"/>
                </a:cubicBezTo>
                <a:cubicBezTo>
                  <a:pt x="1339" y="463"/>
                  <a:pt x="1339" y="462"/>
                  <a:pt x="1340" y="462"/>
                </a:cubicBezTo>
                <a:cubicBezTo>
                  <a:pt x="1341" y="461"/>
                  <a:pt x="1342" y="460"/>
                  <a:pt x="1343" y="460"/>
                </a:cubicBezTo>
                <a:cubicBezTo>
                  <a:pt x="1344" y="459"/>
                  <a:pt x="1345" y="458"/>
                  <a:pt x="1346" y="458"/>
                </a:cubicBezTo>
                <a:cubicBezTo>
                  <a:pt x="1347" y="457"/>
                  <a:pt x="1348" y="457"/>
                  <a:pt x="1348" y="457"/>
                </a:cubicBezTo>
                <a:cubicBezTo>
                  <a:pt x="1349" y="457"/>
                  <a:pt x="1349" y="457"/>
                  <a:pt x="1350" y="457"/>
                </a:cubicBezTo>
                <a:cubicBezTo>
                  <a:pt x="1350" y="457"/>
                  <a:pt x="1350" y="458"/>
                  <a:pt x="1351" y="458"/>
                </a:cubicBezTo>
                <a:cubicBezTo>
                  <a:pt x="1351" y="458"/>
                  <a:pt x="1352" y="459"/>
                  <a:pt x="1352" y="459"/>
                </a:cubicBezTo>
                <a:cubicBezTo>
                  <a:pt x="1353" y="460"/>
                  <a:pt x="1354" y="461"/>
                  <a:pt x="1355" y="462"/>
                </a:cubicBezTo>
                <a:close/>
                <a:moveTo>
                  <a:pt x="1557" y="400"/>
                </a:moveTo>
                <a:cubicBezTo>
                  <a:pt x="1558" y="401"/>
                  <a:pt x="1559" y="402"/>
                  <a:pt x="1560" y="403"/>
                </a:cubicBezTo>
                <a:cubicBezTo>
                  <a:pt x="1560" y="404"/>
                  <a:pt x="1561" y="405"/>
                  <a:pt x="1561" y="405"/>
                </a:cubicBezTo>
                <a:cubicBezTo>
                  <a:pt x="1561" y="406"/>
                  <a:pt x="1561" y="406"/>
                  <a:pt x="1561" y="407"/>
                </a:cubicBezTo>
                <a:cubicBezTo>
                  <a:pt x="1561" y="407"/>
                  <a:pt x="1561" y="408"/>
                  <a:pt x="1560" y="408"/>
                </a:cubicBezTo>
                <a:cubicBezTo>
                  <a:pt x="1559" y="409"/>
                  <a:pt x="1558" y="410"/>
                  <a:pt x="1555" y="411"/>
                </a:cubicBezTo>
                <a:cubicBezTo>
                  <a:pt x="1552" y="413"/>
                  <a:pt x="1548" y="414"/>
                  <a:pt x="1544" y="415"/>
                </a:cubicBezTo>
                <a:cubicBezTo>
                  <a:pt x="1540" y="417"/>
                  <a:pt x="1535" y="418"/>
                  <a:pt x="1529" y="419"/>
                </a:cubicBezTo>
                <a:cubicBezTo>
                  <a:pt x="1524" y="420"/>
                  <a:pt x="1519" y="420"/>
                  <a:pt x="1513" y="420"/>
                </a:cubicBezTo>
                <a:cubicBezTo>
                  <a:pt x="1512" y="424"/>
                  <a:pt x="1510" y="428"/>
                  <a:pt x="1508" y="433"/>
                </a:cubicBezTo>
                <a:cubicBezTo>
                  <a:pt x="1505" y="438"/>
                  <a:pt x="1501" y="442"/>
                  <a:pt x="1497" y="447"/>
                </a:cubicBezTo>
                <a:cubicBezTo>
                  <a:pt x="1490" y="454"/>
                  <a:pt x="1483" y="459"/>
                  <a:pt x="1475" y="462"/>
                </a:cubicBezTo>
                <a:cubicBezTo>
                  <a:pt x="1468" y="465"/>
                  <a:pt x="1461" y="466"/>
                  <a:pt x="1454" y="466"/>
                </a:cubicBezTo>
                <a:cubicBezTo>
                  <a:pt x="1446" y="465"/>
                  <a:pt x="1439" y="463"/>
                  <a:pt x="1431" y="458"/>
                </a:cubicBezTo>
                <a:cubicBezTo>
                  <a:pt x="1424" y="454"/>
                  <a:pt x="1416" y="448"/>
                  <a:pt x="1409" y="440"/>
                </a:cubicBezTo>
                <a:cubicBezTo>
                  <a:pt x="1401" y="433"/>
                  <a:pt x="1395" y="426"/>
                  <a:pt x="1391" y="418"/>
                </a:cubicBezTo>
                <a:cubicBezTo>
                  <a:pt x="1387" y="410"/>
                  <a:pt x="1385" y="402"/>
                  <a:pt x="1384" y="395"/>
                </a:cubicBezTo>
                <a:cubicBezTo>
                  <a:pt x="1383" y="387"/>
                  <a:pt x="1385" y="379"/>
                  <a:pt x="1388" y="372"/>
                </a:cubicBezTo>
                <a:cubicBezTo>
                  <a:pt x="1391" y="364"/>
                  <a:pt x="1396" y="357"/>
                  <a:pt x="1403" y="350"/>
                </a:cubicBezTo>
                <a:cubicBezTo>
                  <a:pt x="1409" y="343"/>
                  <a:pt x="1416" y="338"/>
                  <a:pt x="1423" y="335"/>
                </a:cubicBezTo>
                <a:cubicBezTo>
                  <a:pt x="1431" y="332"/>
                  <a:pt x="1438" y="331"/>
                  <a:pt x="1445" y="331"/>
                </a:cubicBezTo>
                <a:cubicBezTo>
                  <a:pt x="1453" y="332"/>
                  <a:pt x="1460" y="334"/>
                  <a:pt x="1468" y="338"/>
                </a:cubicBezTo>
                <a:cubicBezTo>
                  <a:pt x="1475" y="342"/>
                  <a:pt x="1483" y="348"/>
                  <a:pt x="1490" y="356"/>
                </a:cubicBezTo>
                <a:cubicBezTo>
                  <a:pt x="1494" y="360"/>
                  <a:pt x="1497" y="364"/>
                  <a:pt x="1501" y="368"/>
                </a:cubicBezTo>
                <a:cubicBezTo>
                  <a:pt x="1504" y="372"/>
                  <a:pt x="1506" y="376"/>
                  <a:pt x="1508" y="380"/>
                </a:cubicBezTo>
                <a:cubicBezTo>
                  <a:pt x="1511" y="384"/>
                  <a:pt x="1512" y="388"/>
                  <a:pt x="1513" y="392"/>
                </a:cubicBezTo>
                <a:cubicBezTo>
                  <a:pt x="1515" y="396"/>
                  <a:pt x="1515" y="401"/>
                  <a:pt x="1515" y="405"/>
                </a:cubicBezTo>
                <a:cubicBezTo>
                  <a:pt x="1522" y="404"/>
                  <a:pt x="1527" y="403"/>
                  <a:pt x="1531" y="402"/>
                </a:cubicBezTo>
                <a:cubicBezTo>
                  <a:pt x="1536" y="401"/>
                  <a:pt x="1539" y="400"/>
                  <a:pt x="1542" y="399"/>
                </a:cubicBezTo>
                <a:cubicBezTo>
                  <a:pt x="1544" y="398"/>
                  <a:pt x="1546" y="398"/>
                  <a:pt x="1547" y="397"/>
                </a:cubicBezTo>
                <a:cubicBezTo>
                  <a:pt x="1549" y="396"/>
                  <a:pt x="1550" y="396"/>
                  <a:pt x="1551" y="396"/>
                </a:cubicBezTo>
                <a:cubicBezTo>
                  <a:pt x="1552" y="396"/>
                  <a:pt x="1553" y="396"/>
                  <a:pt x="1554" y="397"/>
                </a:cubicBezTo>
                <a:cubicBezTo>
                  <a:pt x="1555" y="398"/>
                  <a:pt x="1556" y="399"/>
                  <a:pt x="1557" y="400"/>
                </a:cubicBezTo>
                <a:close/>
                <a:moveTo>
                  <a:pt x="1478" y="370"/>
                </a:moveTo>
                <a:cubicBezTo>
                  <a:pt x="1473" y="364"/>
                  <a:pt x="1467" y="360"/>
                  <a:pt x="1462" y="356"/>
                </a:cubicBezTo>
                <a:cubicBezTo>
                  <a:pt x="1456" y="353"/>
                  <a:pt x="1451" y="350"/>
                  <a:pt x="1445" y="349"/>
                </a:cubicBezTo>
                <a:cubicBezTo>
                  <a:pt x="1440" y="348"/>
                  <a:pt x="1434" y="348"/>
                  <a:pt x="1429" y="350"/>
                </a:cubicBezTo>
                <a:cubicBezTo>
                  <a:pt x="1423" y="352"/>
                  <a:pt x="1418" y="356"/>
                  <a:pt x="1413" y="361"/>
                </a:cubicBezTo>
                <a:cubicBezTo>
                  <a:pt x="1407" y="366"/>
                  <a:pt x="1404" y="372"/>
                  <a:pt x="1402" y="377"/>
                </a:cubicBezTo>
                <a:cubicBezTo>
                  <a:pt x="1400" y="383"/>
                  <a:pt x="1400" y="389"/>
                  <a:pt x="1401" y="394"/>
                </a:cubicBezTo>
                <a:cubicBezTo>
                  <a:pt x="1402" y="400"/>
                  <a:pt x="1405" y="405"/>
                  <a:pt x="1408" y="411"/>
                </a:cubicBezTo>
                <a:cubicBezTo>
                  <a:pt x="1412" y="416"/>
                  <a:pt x="1416" y="422"/>
                  <a:pt x="1421" y="427"/>
                </a:cubicBezTo>
                <a:cubicBezTo>
                  <a:pt x="1426" y="432"/>
                  <a:pt x="1432" y="437"/>
                  <a:pt x="1437" y="440"/>
                </a:cubicBezTo>
                <a:cubicBezTo>
                  <a:pt x="1443" y="444"/>
                  <a:pt x="1448" y="446"/>
                  <a:pt x="1454" y="447"/>
                </a:cubicBezTo>
                <a:cubicBezTo>
                  <a:pt x="1459" y="449"/>
                  <a:pt x="1465" y="448"/>
                  <a:pt x="1470" y="447"/>
                </a:cubicBezTo>
                <a:cubicBezTo>
                  <a:pt x="1476" y="445"/>
                  <a:pt x="1481" y="441"/>
                  <a:pt x="1487" y="436"/>
                </a:cubicBezTo>
                <a:cubicBezTo>
                  <a:pt x="1492" y="430"/>
                  <a:pt x="1496" y="425"/>
                  <a:pt x="1497" y="419"/>
                </a:cubicBezTo>
                <a:cubicBezTo>
                  <a:pt x="1499" y="413"/>
                  <a:pt x="1499" y="408"/>
                  <a:pt x="1498" y="402"/>
                </a:cubicBezTo>
                <a:cubicBezTo>
                  <a:pt x="1497" y="396"/>
                  <a:pt x="1494" y="391"/>
                  <a:pt x="1491" y="385"/>
                </a:cubicBezTo>
                <a:cubicBezTo>
                  <a:pt x="1487" y="380"/>
                  <a:pt x="1483" y="375"/>
                  <a:pt x="1478" y="370"/>
                </a:cubicBezTo>
                <a:close/>
                <a:moveTo>
                  <a:pt x="1614" y="324"/>
                </a:moveTo>
                <a:cubicBezTo>
                  <a:pt x="1614" y="324"/>
                  <a:pt x="1614" y="324"/>
                  <a:pt x="1615" y="325"/>
                </a:cubicBezTo>
                <a:cubicBezTo>
                  <a:pt x="1615" y="325"/>
                  <a:pt x="1615" y="326"/>
                  <a:pt x="1614" y="326"/>
                </a:cubicBezTo>
                <a:cubicBezTo>
                  <a:pt x="1614" y="327"/>
                  <a:pt x="1614" y="328"/>
                  <a:pt x="1613" y="328"/>
                </a:cubicBezTo>
                <a:cubicBezTo>
                  <a:pt x="1613" y="329"/>
                  <a:pt x="1612" y="330"/>
                  <a:pt x="1611" y="331"/>
                </a:cubicBezTo>
                <a:cubicBezTo>
                  <a:pt x="1610" y="332"/>
                  <a:pt x="1609" y="333"/>
                  <a:pt x="1608" y="334"/>
                </a:cubicBezTo>
                <a:cubicBezTo>
                  <a:pt x="1607" y="334"/>
                  <a:pt x="1606" y="335"/>
                  <a:pt x="1606" y="335"/>
                </a:cubicBezTo>
                <a:cubicBezTo>
                  <a:pt x="1605" y="335"/>
                  <a:pt x="1605" y="335"/>
                  <a:pt x="1604" y="335"/>
                </a:cubicBezTo>
                <a:cubicBezTo>
                  <a:pt x="1604" y="335"/>
                  <a:pt x="1603" y="335"/>
                  <a:pt x="1603" y="334"/>
                </a:cubicBezTo>
                <a:lnTo>
                  <a:pt x="1595" y="326"/>
                </a:lnTo>
                <a:cubicBezTo>
                  <a:pt x="1595" y="334"/>
                  <a:pt x="1594" y="340"/>
                  <a:pt x="1593" y="346"/>
                </a:cubicBezTo>
                <a:cubicBezTo>
                  <a:pt x="1591" y="351"/>
                  <a:pt x="1588" y="356"/>
                  <a:pt x="1584" y="359"/>
                </a:cubicBezTo>
                <a:cubicBezTo>
                  <a:pt x="1580" y="364"/>
                  <a:pt x="1576" y="367"/>
                  <a:pt x="1571" y="368"/>
                </a:cubicBezTo>
                <a:cubicBezTo>
                  <a:pt x="1567" y="370"/>
                  <a:pt x="1563" y="370"/>
                  <a:pt x="1558" y="369"/>
                </a:cubicBezTo>
                <a:cubicBezTo>
                  <a:pt x="1554" y="369"/>
                  <a:pt x="1550" y="367"/>
                  <a:pt x="1546" y="365"/>
                </a:cubicBezTo>
                <a:cubicBezTo>
                  <a:pt x="1542" y="362"/>
                  <a:pt x="1537" y="359"/>
                  <a:pt x="1533" y="354"/>
                </a:cubicBezTo>
                <a:lnTo>
                  <a:pt x="1494" y="315"/>
                </a:lnTo>
                <a:cubicBezTo>
                  <a:pt x="1493" y="314"/>
                  <a:pt x="1493" y="314"/>
                  <a:pt x="1493" y="313"/>
                </a:cubicBezTo>
                <a:cubicBezTo>
                  <a:pt x="1493" y="313"/>
                  <a:pt x="1493" y="312"/>
                  <a:pt x="1493" y="312"/>
                </a:cubicBezTo>
                <a:cubicBezTo>
                  <a:pt x="1493" y="311"/>
                  <a:pt x="1494" y="310"/>
                  <a:pt x="1494" y="309"/>
                </a:cubicBezTo>
                <a:cubicBezTo>
                  <a:pt x="1495" y="309"/>
                  <a:pt x="1496" y="308"/>
                  <a:pt x="1497" y="306"/>
                </a:cubicBezTo>
                <a:cubicBezTo>
                  <a:pt x="1498" y="305"/>
                  <a:pt x="1499" y="304"/>
                  <a:pt x="1500" y="304"/>
                </a:cubicBezTo>
                <a:cubicBezTo>
                  <a:pt x="1501" y="303"/>
                  <a:pt x="1502" y="303"/>
                  <a:pt x="1502" y="302"/>
                </a:cubicBezTo>
                <a:cubicBezTo>
                  <a:pt x="1503" y="302"/>
                  <a:pt x="1504" y="302"/>
                  <a:pt x="1504" y="302"/>
                </a:cubicBezTo>
                <a:cubicBezTo>
                  <a:pt x="1505" y="302"/>
                  <a:pt x="1505" y="302"/>
                  <a:pt x="1505" y="303"/>
                </a:cubicBezTo>
                <a:lnTo>
                  <a:pt x="1543" y="340"/>
                </a:lnTo>
                <a:cubicBezTo>
                  <a:pt x="1547" y="344"/>
                  <a:pt x="1550" y="347"/>
                  <a:pt x="1553" y="349"/>
                </a:cubicBezTo>
                <a:cubicBezTo>
                  <a:pt x="1556" y="350"/>
                  <a:pt x="1559" y="351"/>
                  <a:pt x="1561" y="352"/>
                </a:cubicBezTo>
                <a:cubicBezTo>
                  <a:pt x="1564" y="352"/>
                  <a:pt x="1567" y="352"/>
                  <a:pt x="1569" y="351"/>
                </a:cubicBezTo>
                <a:cubicBezTo>
                  <a:pt x="1572" y="351"/>
                  <a:pt x="1574" y="349"/>
                  <a:pt x="1577" y="347"/>
                </a:cubicBezTo>
                <a:cubicBezTo>
                  <a:pt x="1580" y="344"/>
                  <a:pt x="1582" y="340"/>
                  <a:pt x="1582" y="335"/>
                </a:cubicBezTo>
                <a:cubicBezTo>
                  <a:pt x="1583" y="330"/>
                  <a:pt x="1583" y="323"/>
                  <a:pt x="1582" y="316"/>
                </a:cubicBezTo>
                <a:lnTo>
                  <a:pt x="1537" y="271"/>
                </a:lnTo>
                <a:cubicBezTo>
                  <a:pt x="1537" y="270"/>
                  <a:pt x="1537" y="270"/>
                  <a:pt x="1537" y="270"/>
                </a:cubicBezTo>
                <a:cubicBezTo>
                  <a:pt x="1536" y="269"/>
                  <a:pt x="1537" y="269"/>
                  <a:pt x="1537" y="268"/>
                </a:cubicBezTo>
                <a:cubicBezTo>
                  <a:pt x="1537" y="267"/>
                  <a:pt x="1538" y="266"/>
                  <a:pt x="1538" y="266"/>
                </a:cubicBezTo>
                <a:cubicBezTo>
                  <a:pt x="1539" y="265"/>
                  <a:pt x="1540" y="264"/>
                  <a:pt x="1541" y="263"/>
                </a:cubicBezTo>
                <a:cubicBezTo>
                  <a:pt x="1542" y="261"/>
                  <a:pt x="1543" y="261"/>
                  <a:pt x="1544" y="260"/>
                </a:cubicBezTo>
                <a:cubicBezTo>
                  <a:pt x="1545" y="259"/>
                  <a:pt x="1546" y="259"/>
                  <a:pt x="1546" y="259"/>
                </a:cubicBezTo>
                <a:cubicBezTo>
                  <a:pt x="1547" y="258"/>
                  <a:pt x="1547" y="258"/>
                  <a:pt x="1548" y="258"/>
                </a:cubicBezTo>
                <a:cubicBezTo>
                  <a:pt x="1548" y="258"/>
                  <a:pt x="1549" y="259"/>
                  <a:pt x="1549" y="259"/>
                </a:cubicBezTo>
                <a:lnTo>
                  <a:pt x="1614" y="324"/>
                </a:lnTo>
                <a:close/>
                <a:moveTo>
                  <a:pt x="1686" y="251"/>
                </a:moveTo>
                <a:cubicBezTo>
                  <a:pt x="1687" y="252"/>
                  <a:pt x="1687" y="252"/>
                  <a:pt x="1687" y="253"/>
                </a:cubicBezTo>
                <a:cubicBezTo>
                  <a:pt x="1687" y="254"/>
                  <a:pt x="1687" y="254"/>
                  <a:pt x="1686" y="255"/>
                </a:cubicBezTo>
                <a:cubicBezTo>
                  <a:pt x="1686" y="256"/>
                  <a:pt x="1685" y="257"/>
                  <a:pt x="1684" y="258"/>
                </a:cubicBezTo>
                <a:cubicBezTo>
                  <a:pt x="1682" y="260"/>
                  <a:pt x="1681" y="261"/>
                  <a:pt x="1680" y="261"/>
                </a:cubicBezTo>
                <a:cubicBezTo>
                  <a:pt x="1679" y="262"/>
                  <a:pt x="1679" y="262"/>
                  <a:pt x="1678" y="262"/>
                </a:cubicBezTo>
                <a:cubicBezTo>
                  <a:pt x="1677" y="262"/>
                  <a:pt x="1677" y="262"/>
                  <a:pt x="1676" y="261"/>
                </a:cubicBezTo>
                <a:lnTo>
                  <a:pt x="1670" y="255"/>
                </a:lnTo>
                <a:cubicBezTo>
                  <a:pt x="1670" y="261"/>
                  <a:pt x="1669" y="266"/>
                  <a:pt x="1667" y="271"/>
                </a:cubicBezTo>
                <a:cubicBezTo>
                  <a:pt x="1666" y="276"/>
                  <a:pt x="1663" y="281"/>
                  <a:pt x="1659" y="285"/>
                </a:cubicBezTo>
                <a:cubicBezTo>
                  <a:pt x="1655" y="288"/>
                  <a:pt x="1652" y="291"/>
                  <a:pt x="1648" y="293"/>
                </a:cubicBezTo>
                <a:cubicBezTo>
                  <a:pt x="1645" y="295"/>
                  <a:pt x="1641" y="296"/>
                  <a:pt x="1637" y="296"/>
                </a:cubicBezTo>
                <a:cubicBezTo>
                  <a:pt x="1634" y="296"/>
                  <a:pt x="1630" y="296"/>
                  <a:pt x="1627" y="294"/>
                </a:cubicBezTo>
                <a:cubicBezTo>
                  <a:pt x="1623" y="293"/>
                  <a:pt x="1620" y="291"/>
                  <a:pt x="1617" y="288"/>
                </a:cubicBezTo>
                <a:cubicBezTo>
                  <a:pt x="1613" y="284"/>
                  <a:pt x="1611" y="280"/>
                  <a:pt x="1610" y="276"/>
                </a:cubicBezTo>
                <a:cubicBezTo>
                  <a:pt x="1608" y="272"/>
                  <a:pt x="1608" y="267"/>
                  <a:pt x="1609" y="263"/>
                </a:cubicBezTo>
                <a:cubicBezTo>
                  <a:pt x="1610" y="258"/>
                  <a:pt x="1612" y="254"/>
                  <a:pt x="1615" y="249"/>
                </a:cubicBezTo>
                <a:cubicBezTo>
                  <a:pt x="1619" y="244"/>
                  <a:pt x="1623" y="239"/>
                  <a:pt x="1628" y="234"/>
                </a:cubicBezTo>
                <a:lnTo>
                  <a:pt x="1637" y="225"/>
                </a:lnTo>
                <a:lnTo>
                  <a:pt x="1632" y="220"/>
                </a:lnTo>
                <a:cubicBezTo>
                  <a:pt x="1629" y="217"/>
                  <a:pt x="1627" y="215"/>
                  <a:pt x="1624" y="214"/>
                </a:cubicBezTo>
                <a:cubicBezTo>
                  <a:pt x="1622" y="213"/>
                  <a:pt x="1619" y="212"/>
                  <a:pt x="1617" y="212"/>
                </a:cubicBezTo>
                <a:cubicBezTo>
                  <a:pt x="1614" y="212"/>
                  <a:pt x="1612" y="212"/>
                  <a:pt x="1609" y="213"/>
                </a:cubicBezTo>
                <a:cubicBezTo>
                  <a:pt x="1607" y="215"/>
                  <a:pt x="1604" y="217"/>
                  <a:pt x="1602" y="219"/>
                </a:cubicBezTo>
                <a:cubicBezTo>
                  <a:pt x="1599" y="222"/>
                  <a:pt x="1596" y="225"/>
                  <a:pt x="1595" y="228"/>
                </a:cubicBezTo>
                <a:cubicBezTo>
                  <a:pt x="1593" y="231"/>
                  <a:pt x="1592" y="234"/>
                  <a:pt x="1591" y="237"/>
                </a:cubicBezTo>
                <a:cubicBezTo>
                  <a:pt x="1590" y="239"/>
                  <a:pt x="1589" y="241"/>
                  <a:pt x="1589" y="243"/>
                </a:cubicBezTo>
                <a:cubicBezTo>
                  <a:pt x="1588" y="245"/>
                  <a:pt x="1588" y="246"/>
                  <a:pt x="1587" y="247"/>
                </a:cubicBezTo>
                <a:cubicBezTo>
                  <a:pt x="1587" y="247"/>
                  <a:pt x="1586" y="248"/>
                  <a:pt x="1586" y="248"/>
                </a:cubicBezTo>
                <a:cubicBezTo>
                  <a:pt x="1586" y="248"/>
                  <a:pt x="1585" y="248"/>
                  <a:pt x="1584" y="248"/>
                </a:cubicBezTo>
                <a:cubicBezTo>
                  <a:pt x="1584" y="247"/>
                  <a:pt x="1583" y="247"/>
                  <a:pt x="1582" y="247"/>
                </a:cubicBezTo>
                <a:cubicBezTo>
                  <a:pt x="1582" y="246"/>
                  <a:pt x="1581" y="246"/>
                  <a:pt x="1580" y="245"/>
                </a:cubicBezTo>
                <a:cubicBezTo>
                  <a:pt x="1579" y="244"/>
                  <a:pt x="1578" y="243"/>
                  <a:pt x="1578" y="242"/>
                </a:cubicBezTo>
                <a:cubicBezTo>
                  <a:pt x="1577" y="241"/>
                  <a:pt x="1577" y="240"/>
                  <a:pt x="1577" y="238"/>
                </a:cubicBezTo>
                <a:cubicBezTo>
                  <a:pt x="1577" y="237"/>
                  <a:pt x="1577" y="235"/>
                  <a:pt x="1578" y="233"/>
                </a:cubicBezTo>
                <a:cubicBezTo>
                  <a:pt x="1579" y="231"/>
                  <a:pt x="1580" y="228"/>
                  <a:pt x="1581" y="225"/>
                </a:cubicBezTo>
                <a:cubicBezTo>
                  <a:pt x="1583" y="222"/>
                  <a:pt x="1584" y="220"/>
                  <a:pt x="1586" y="217"/>
                </a:cubicBezTo>
                <a:cubicBezTo>
                  <a:pt x="1588" y="214"/>
                  <a:pt x="1591" y="211"/>
                  <a:pt x="1593" y="209"/>
                </a:cubicBezTo>
                <a:cubicBezTo>
                  <a:pt x="1598" y="204"/>
                  <a:pt x="1602" y="201"/>
                  <a:pt x="1606" y="198"/>
                </a:cubicBezTo>
                <a:cubicBezTo>
                  <a:pt x="1611" y="196"/>
                  <a:pt x="1615" y="195"/>
                  <a:pt x="1619" y="195"/>
                </a:cubicBezTo>
                <a:cubicBezTo>
                  <a:pt x="1623" y="195"/>
                  <a:pt x="1627" y="196"/>
                  <a:pt x="1631" y="198"/>
                </a:cubicBezTo>
                <a:cubicBezTo>
                  <a:pt x="1635" y="200"/>
                  <a:pt x="1639" y="203"/>
                  <a:pt x="1643" y="208"/>
                </a:cubicBezTo>
                <a:lnTo>
                  <a:pt x="1686" y="251"/>
                </a:lnTo>
                <a:close/>
                <a:moveTo>
                  <a:pt x="1645" y="233"/>
                </a:moveTo>
                <a:lnTo>
                  <a:pt x="1635" y="243"/>
                </a:lnTo>
                <a:cubicBezTo>
                  <a:pt x="1632" y="247"/>
                  <a:pt x="1629" y="250"/>
                  <a:pt x="1627" y="253"/>
                </a:cubicBezTo>
                <a:cubicBezTo>
                  <a:pt x="1626" y="256"/>
                  <a:pt x="1624" y="259"/>
                  <a:pt x="1624" y="261"/>
                </a:cubicBezTo>
                <a:cubicBezTo>
                  <a:pt x="1623" y="264"/>
                  <a:pt x="1623" y="266"/>
                  <a:pt x="1624" y="269"/>
                </a:cubicBezTo>
                <a:cubicBezTo>
                  <a:pt x="1625" y="271"/>
                  <a:pt x="1626" y="273"/>
                  <a:pt x="1628" y="275"/>
                </a:cubicBezTo>
                <a:cubicBezTo>
                  <a:pt x="1632" y="278"/>
                  <a:pt x="1635" y="280"/>
                  <a:pt x="1640" y="280"/>
                </a:cubicBezTo>
                <a:cubicBezTo>
                  <a:pt x="1644" y="280"/>
                  <a:pt x="1648" y="278"/>
                  <a:pt x="1651" y="274"/>
                </a:cubicBezTo>
                <a:cubicBezTo>
                  <a:pt x="1655" y="271"/>
                  <a:pt x="1657" y="267"/>
                  <a:pt x="1658" y="263"/>
                </a:cubicBezTo>
                <a:cubicBezTo>
                  <a:pt x="1659" y="258"/>
                  <a:pt x="1659" y="253"/>
                  <a:pt x="1659" y="247"/>
                </a:cubicBezTo>
                <a:lnTo>
                  <a:pt x="1645" y="233"/>
                </a:lnTo>
                <a:close/>
                <a:moveTo>
                  <a:pt x="1717" y="220"/>
                </a:moveTo>
                <a:cubicBezTo>
                  <a:pt x="1718" y="220"/>
                  <a:pt x="1718" y="221"/>
                  <a:pt x="1718" y="221"/>
                </a:cubicBezTo>
                <a:cubicBezTo>
                  <a:pt x="1718" y="222"/>
                  <a:pt x="1718" y="222"/>
                  <a:pt x="1718" y="223"/>
                </a:cubicBezTo>
                <a:cubicBezTo>
                  <a:pt x="1718" y="223"/>
                  <a:pt x="1717" y="224"/>
                  <a:pt x="1716" y="225"/>
                </a:cubicBezTo>
                <a:cubicBezTo>
                  <a:pt x="1716" y="226"/>
                  <a:pt x="1715" y="227"/>
                  <a:pt x="1714" y="228"/>
                </a:cubicBezTo>
                <a:cubicBezTo>
                  <a:pt x="1713" y="229"/>
                  <a:pt x="1712" y="230"/>
                  <a:pt x="1711" y="231"/>
                </a:cubicBezTo>
                <a:cubicBezTo>
                  <a:pt x="1710" y="232"/>
                  <a:pt x="1709" y="232"/>
                  <a:pt x="1708" y="232"/>
                </a:cubicBezTo>
                <a:cubicBezTo>
                  <a:pt x="1708" y="233"/>
                  <a:pt x="1707" y="233"/>
                  <a:pt x="1707" y="233"/>
                </a:cubicBezTo>
                <a:cubicBezTo>
                  <a:pt x="1706" y="232"/>
                  <a:pt x="1706" y="232"/>
                  <a:pt x="1706" y="232"/>
                </a:cubicBezTo>
                <a:lnTo>
                  <a:pt x="1610" y="136"/>
                </a:lnTo>
                <a:cubicBezTo>
                  <a:pt x="1609" y="136"/>
                  <a:pt x="1609" y="135"/>
                  <a:pt x="1609" y="135"/>
                </a:cubicBezTo>
                <a:cubicBezTo>
                  <a:pt x="1609" y="134"/>
                  <a:pt x="1609" y="134"/>
                  <a:pt x="1609" y="133"/>
                </a:cubicBezTo>
                <a:cubicBezTo>
                  <a:pt x="1609" y="132"/>
                  <a:pt x="1610" y="132"/>
                  <a:pt x="1610" y="131"/>
                </a:cubicBezTo>
                <a:cubicBezTo>
                  <a:pt x="1611" y="130"/>
                  <a:pt x="1612" y="129"/>
                  <a:pt x="1613" y="128"/>
                </a:cubicBezTo>
                <a:cubicBezTo>
                  <a:pt x="1614" y="127"/>
                  <a:pt x="1615" y="126"/>
                  <a:pt x="1616" y="125"/>
                </a:cubicBezTo>
                <a:cubicBezTo>
                  <a:pt x="1617" y="124"/>
                  <a:pt x="1618" y="124"/>
                  <a:pt x="1619" y="124"/>
                </a:cubicBezTo>
                <a:cubicBezTo>
                  <a:pt x="1619" y="123"/>
                  <a:pt x="1620" y="123"/>
                  <a:pt x="1620" y="123"/>
                </a:cubicBezTo>
                <a:cubicBezTo>
                  <a:pt x="1621" y="123"/>
                  <a:pt x="1621" y="124"/>
                  <a:pt x="1621" y="124"/>
                </a:cubicBezTo>
                <a:lnTo>
                  <a:pt x="1717" y="220"/>
                </a:lnTo>
                <a:close/>
                <a:moveTo>
                  <a:pt x="1751" y="186"/>
                </a:moveTo>
                <a:cubicBezTo>
                  <a:pt x="1752" y="186"/>
                  <a:pt x="1752" y="187"/>
                  <a:pt x="1752" y="187"/>
                </a:cubicBezTo>
                <a:cubicBezTo>
                  <a:pt x="1752" y="188"/>
                  <a:pt x="1752" y="188"/>
                  <a:pt x="1752" y="189"/>
                </a:cubicBezTo>
                <a:cubicBezTo>
                  <a:pt x="1752" y="190"/>
                  <a:pt x="1751" y="190"/>
                  <a:pt x="1750" y="191"/>
                </a:cubicBezTo>
                <a:cubicBezTo>
                  <a:pt x="1750" y="192"/>
                  <a:pt x="1749" y="193"/>
                  <a:pt x="1748" y="194"/>
                </a:cubicBezTo>
                <a:cubicBezTo>
                  <a:pt x="1746" y="195"/>
                  <a:pt x="1745" y="196"/>
                  <a:pt x="1745" y="197"/>
                </a:cubicBezTo>
                <a:cubicBezTo>
                  <a:pt x="1744" y="198"/>
                  <a:pt x="1743" y="198"/>
                  <a:pt x="1742" y="198"/>
                </a:cubicBezTo>
                <a:cubicBezTo>
                  <a:pt x="1742" y="199"/>
                  <a:pt x="1741" y="199"/>
                  <a:pt x="1741" y="199"/>
                </a:cubicBezTo>
                <a:cubicBezTo>
                  <a:pt x="1740" y="199"/>
                  <a:pt x="1740" y="198"/>
                  <a:pt x="1740" y="198"/>
                </a:cubicBezTo>
                <a:lnTo>
                  <a:pt x="1675" y="133"/>
                </a:lnTo>
                <a:cubicBezTo>
                  <a:pt x="1675" y="133"/>
                  <a:pt x="1674" y="133"/>
                  <a:pt x="1674" y="132"/>
                </a:cubicBezTo>
                <a:cubicBezTo>
                  <a:pt x="1674" y="132"/>
                  <a:pt x="1674" y="131"/>
                  <a:pt x="1674" y="130"/>
                </a:cubicBezTo>
                <a:cubicBezTo>
                  <a:pt x="1675" y="130"/>
                  <a:pt x="1675" y="129"/>
                  <a:pt x="1676" y="128"/>
                </a:cubicBezTo>
                <a:cubicBezTo>
                  <a:pt x="1676" y="127"/>
                  <a:pt x="1677" y="126"/>
                  <a:pt x="1679" y="125"/>
                </a:cubicBezTo>
                <a:cubicBezTo>
                  <a:pt x="1680" y="124"/>
                  <a:pt x="1681" y="123"/>
                  <a:pt x="1682" y="122"/>
                </a:cubicBezTo>
                <a:cubicBezTo>
                  <a:pt x="1682" y="122"/>
                  <a:pt x="1683" y="121"/>
                  <a:pt x="1684" y="121"/>
                </a:cubicBezTo>
                <a:cubicBezTo>
                  <a:pt x="1684" y="121"/>
                  <a:pt x="1685" y="121"/>
                  <a:pt x="1686" y="121"/>
                </a:cubicBezTo>
                <a:cubicBezTo>
                  <a:pt x="1686" y="121"/>
                  <a:pt x="1686" y="121"/>
                  <a:pt x="1687" y="121"/>
                </a:cubicBezTo>
                <a:lnTo>
                  <a:pt x="1751" y="186"/>
                </a:lnTo>
                <a:close/>
                <a:moveTo>
                  <a:pt x="1666" y="98"/>
                </a:moveTo>
                <a:cubicBezTo>
                  <a:pt x="1669" y="101"/>
                  <a:pt x="1670" y="103"/>
                  <a:pt x="1670" y="105"/>
                </a:cubicBezTo>
                <a:cubicBezTo>
                  <a:pt x="1670" y="108"/>
                  <a:pt x="1669" y="110"/>
                  <a:pt x="1666" y="113"/>
                </a:cubicBezTo>
                <a:cubicBezTo>
                  <a:pt x="1663" y="116"/>
                  <a:pt x="1661" y="117"/>
                  <a:pt x="1659" y="117"/>
                </a:cubicBezTo>
                <a:cubicBezTo>
                  <a:pt x="1657" y="117"/>
                  <a:pt x="1654" y="116"/>
                  <a:pt x="1652" y="113"/>
                </a:cubicBezTo>
                <a:cubicBezTo>
                  <a:pt x="1649" y="110"/>
                  <a:pt x="1648" y="108"/>
                  <a:pt x="1648" y="106"/>
                </a:cubicBezTo>
                <a:cubicBezTo>
                  <a:pt x="1648" y="104"/>
                  <a:pt x="1649" y="101"/>
                  <a:pt x="1652" y="98"/>
                </a:cubicBezTo>
                <a:cubicBezTo>
                  <a:pt x="1655" y="96"/>
                  <a:pt x="1657" y="94"/>
                  <a:pt x="1659" y="94"/>
                </a:cubicBezTo>
                <a:cubicBezTo>
                  <a:pt x="1661" y="94"/>
                  <a:pt x="1664" y="95"/>
                  <a:pt x="1666" y="98"/>
                </a:cubicBezTo>
                <a:close/>
                <a:moveTo>
                  <a:pt x="1802" y="126"/>
                </a:moveTo>
                <a:cubicBezTo>
                  <a:pt x="1804" y="127"/>
                  <a:pt x="1805" y="128"/>
                  <a:pt x="1805" y="129"/>
                </a:cubicBezTo>
                <a:cubicBezTo>
                  <a:pt x="1806" y="130"/>
                  <a:pt x="1806" y="131"/>
                  <a:pt x="1806" y="132"/>
                </a:cubicBezTo>
                <a:cubicBezTo>
                  <a:pt x="1806" y="133"/>
                  <a:pt x="1806" y="134"/>
                  <a:pt x="1806" y="135"/>
                </a:cubicBezTo>
                <a:cubicBezTo>
                  <a:pt x="1805" y="136"/>
                  <a:pt x="1805" y="137"/>
                  <a:pt x="1804" y="138"/>
                </a:cubicBezTo>
                <a:cubicBezTo>
                  <a:pt x="1803" y="139"/>
                  <a:pt x="1802" y="141"/>
                  <a:pt x="1801" y="142"/>
                </a:cubicBezTo>
                <a:cubicBezTo>
                  <a:pt x="1800" y="143"/>
                  <a:pt x="1799" y="144"/>
                  <a:pt x="1798" y="145"/>
                </a:cubicBezTo>
                <a:cubicBezTo>
                  <a:pt x="1795" y="149"/>
                  <a:pt x="1791" y="151"/>
                  <a:pt x="1788" y="153"/>
                </a:cubicBezTo>
                <a:cubicBezTo>
                  <a:pt x="1785" y="154"/>
                  <a:pt x="1782" y="155"/>
                  <a:pt x="1778" y="154"/>
                </a:cubicBezTo>
                <a:cubicBezTo>
                  <a:pt x="1775" y="154"/>
                  <a:pt x="1772" y="153"/>
                  <a:pt x="1768" y="151"/>
                </a:cubicBezTo>
                <a:cubicBezTo>
                  <a:pt x="1765" y="149"/>
                  <a:pt x="1761" y="146"/>
                  <a:pt x="1757" y="142"/>
                </a:cubicBezTo>
                <a:lnTo>
                  <a:pt x="1720" y="104"/>
                </a:lnTo>
                <a:lnTo>
                  <a:pt x="1711" y="114"/>
                </a:lnTo>
                <a:cubicBezTo>
                  <a:pt x="1710" y="114"/>
                  <a:pt x="1709" y="114"/>
                  <a:pt x="1708" y="114"/>
                </a:cubicBezTo>
                <a:cubicBezTo>
                  <a:pt x="1706" y="114"/>
                  <a:pt x="1705" y="113"/>
                  <a:pt x="1703" y="111"/>
                </a:cubicBezTo>
                <a:cubicBezTo>
                  <a:pt x="1702" y="110"/>
                  <a:pt x="1702" y="109"/>
                  <a:pt x="1701" y="109"/>
                </a:cubicBezTo>
                <a:cubicBezTo>
                  <a:pt x="1701" y="108"/>
                  <a:pt x="1700" y="107"/>
                  <a:pt x="1700" y="107"/>
                </a:cubicBezTo>
                <a:cubicBezTo>
                  <a:pt x="1700" y="106"/>
                  <a:pt x="1700" y="105"/>
                  <a:pt x="1700" y="105"/>
                </a:cubicBezTo>
                <a:cubicBezTo>
                  <a:pt x="1700" y="104"/>
                  <a:pt x="1700" y="104"/>
                  <a:pt x="1701" y="104"/>
                </a:cubicBezTo>
                <a:lnTo>
                  <a:pt x="1710" y="95"/>
                </a:lnTo>
                <a:lnTo>
                  <a:pt x="1694" y="79"/>
                </a:lnTo>
                <a:cubicBezTo>
                  <a:pt x="1694" y="79"/>
                  <a:pt x="1694" y="79"/>
                  <a:pt x="1694" y="78"/>
                </a:cubicBezTo>
                <a:cubicBezTo>
                  <a:pt x="1694" y="78"/>
                  <a:pt x="1694" y="77"/>
                  <a:pt x="1694" y="76"/>
                </a:cubicBezTo>
                <a:cubicBezTo>
                  <a:pt x="1694" y="76"/>
                  <a:pt x="1695" y="75"/>
                  <a:pt x="1695" y="74"/>
                </a:cubicBezTo>
                <a:cubicBezTo>
                  <a:pt x="1696" y="73"/>
                  <a:pt x="1697" y="72"/>
                  <a:pt x="1698" y="71"/>
                </a:cubicBezTo>
                <a:cubicBezTo>
                  <a:pt x="1699" y="70"/>
                  <a:pt x="1700" y="69"/>
                  <a:pt x="1701" y="68"/>
                </a:cubicBezTo>
                <a:cubicBezTo>
                  <a:pt x="1702" y="68"/>
                  <a:pt x="1703" y="67"/>
                  <a:pt x="1703" y="67"/>
                </a:cubicBezTo>
                <a:cubicBezTo>
                  <a:pt x="1704" y="67"/>
                  <a:pt x="1705" y="67"/>
                  <a:pt x="1705" y="67"/>
                </a:cubicBezTo>
                <a:cubicBezTo>
                  <a:pt x="1705" y="67"/>
                  <a:pt x="1706" y="67"/>
                  <a:pt x="1706" y="67"/>
                </a:cubicBezTo>
                <a:lnTo>
                  <a:pt x="1722" y="83"/>
                </a:lnTo>
                <a:lnTo>
                  <a:pt x="1738" y="66"/>
                </a:lnTo>
                <a:cubicBezTo>
                  <a:pt x="1739" y="66"/>
                  <a:pt x="1739" y="66"/>
                  <a:pt x="1739" y="65"/>
                </a:cubicBezTo>
                <a:cubicBezTo>
                  <a:pt x="1740" y="65"/>
                  <a:pt x="1740" y="65"/>
                  <a:pt x="1741" y="66"/>
                </a:cubicBezTo>
                <a:cubicBezTo>
                  <a:pt x="1742" y="66"/>
                  <a:pt x="1742" y="66"/>
                  <a:pt x="1743" y="67"/>
                </a:cubicBezTo>
                <a:cubicBezTo>
                  <a:pt x="1744" y="67"/>
                  <a:pt x="1745" y="68"/>
                  <a:pt x="1746" y="69"/>
                </a:cubicBezTo>
                <a:cubicBezTo>
                  <a:pt x="1747" y="71"/>
                  <a:pt x="1748" y="72"/>
                  <a:pt x="1749" y="73"/>
                </a:cubicBezTo>
                <a:cubicBezTo>
                  <a:pt x="1749" y="74"/>
                  <a:pt x="1749" y="75"/>
                  <a:pt x="1748" y="76"/>
                </a:cubicBezTo>
                <a:lnTo>
                  <a:pt x="1731" y="93"/>
                </a:lnTo>
                <a:lnTo>
                  <a:pt x="1767" y="129"/>
                </a:lnTo>
                <a:cubicBezTo>
                  <a:pt x="1772" y="133"/>
                  <a:pt x="1776" y="136"/>
                  <a:pt x="1780" y="137"/>
                </a:cubicBezTo>
                <a:cubicBezTo>
                  <a:pt x="1783" y="138"/>
                  <a:pt x="1787" y="137"/>
                  <a:pt x="1790" y="133"/>
                </a:cubicBezTo>
                <a:cubicBezTo>
                  <a:pt x="1791" y="132"/>
                  <a:pt x="1792" y="131"/>
                  <a:pt x="1793" y="130"/>
                </a:cubicBezTo>
                <a:cubicBezTo>
                  <a:pt x="1793" y="129"/>
                  <a:pt x="1794" y="128"/>
                  <a:pt x="1794" y="127"/>
                </a:cubicBezTo>
                <a:cubicBezTo>
                  <a:pt x="1795" y="126"/>
                  <a:pt x="1795" y="125"/>
                  <a:pt x="1795" y="124"/>
                </a:cubicBezTo>
                <a:cubicBezTo>
                  <a:pt x="1796" y="124"/>
                  <a:pt x="1796" y="123"/>
                  <a:pt x="1796" y="123"/>
                </a:cubicBezTo>
                <a:cubicBezTo>
                  <a:pt x="1797" y="123"/>
                  <a:pt x="1797" y="122"/>
                  <a:pt x="1797" y="122"/>
                </a:cubicBezTo>
                <a:cubicBezTo>
                  <a:pt x="1797" y="122"/>
                  <a:pt x="1798" y="122"/>
                  <a:pt x="1798" y="123"/>
                </a:cubicBezTo>
                <a:cubicBezTo>
                  <a:pt x="1799" y="123"/>
                  <a:pt x="1799" y="123"/>
                  <a:pt x="1800" y="124"/>
                </a:cubicBezTo>
                <a:cubicBezTo>
                  <a:pt x="1801" y="124"/>
                  <a:pt x="1801" y="125"/>
                  <a:pt x="1802" y="126"/>
                </a:cubicBezTo>
                <a:close/>
                <a:moveTo>
                  <a:pt x="1850" y="91"/>
                </a:moveTo>
                <a:lnTo>
                  <a:pt x="1865" y="123"/>
                </a:lnTo>
                <a:cubicBezTo>
                  <a:pt x="1866" y="124"/>
                  <a:pt x="1865" y="126"/>
                  <a:pt x="1865" y="127"/>
                </a:cubicBezTo>
                <a:cubicBezTo>
                  <a:pt x="1864" y="129"/>
                  <a:pt x="1862" y="131"/>
                  <a:pt x="1860" y="133"/>
                </a:cubicBezTo>
                <a:cubicBezTo>
                  <a:pt x="1859" y="135"/>
                  <a:pt x="1858" y="136"/>
                  <a:pt x="1857" y="136"/>
                </a:cubicBezTo>
                <a:cubicBezTo>
                  <a:pt x="1856" y="137"/>
                  <a:pt x="1855" y="137"/>
                  <a:pt x="1854" y="137"/>
                </a:cubicBezTo>
                <a:cubicBezTo>
                  <a:pt x="1854" y="137"/>
                  <a:pt x="1853" y="137"/>
                  <a:pt x="1853" y="137"/>
                </a:cubicBezTo>
                <a:cubicBezTo>
                  <a:pt x="1852" y="136"/>
                  <a:pt x="1852" y="136"/>
                  <a:pt x="1851" y="135"/>
                </a:cubicBezTo>
                <a:lnTo>
                  <a:pt x="1838" y="103"/>
                </a:lnTo>
                <a:cubicBezTo>
                  <a:pt x="1837" y="104"/>
                  <a:pt x="1836" y="104"/>
                  <a:pt x="1835" y="104"/>
                </a:cubicBezTo>
                <a:cubicBezTo>
                  <a:pt x="1835" y="104"/>
                  <a:pt x="1834" y="103"/>
                  <a:pt x="1833" y="103"/>
                </a:cubicBezTo>
                <a:lnTo>
                  <a:pt x="1748" y="64"/>
                </a:lnTo>
                <a:cubicBezTo>
                  <a:pt x="1747" y="64"/>
                  <a:pt x="1746" y="63"/>
                  <a:pt x="1746" y="63"/>
                </a:cubicBezTo>
                <a:cubicBezTo>
                  <a:pt x="1745" y="62"/>
                  <a:pt x="1745" y="61"/>
                  <a:pt x="1745" y="61"/>
                </a:cubicBezTo>
                <a:cubicBezTo>
                  <a:pt x="1745" y="60"/>
                  <a:pt x="1745" y="59"/>
                  <a:pt x="1746" y="58"/>
                </a:cubicBezTo>
                <a:cubicBezTo>
                  <a:pt x="1747" y="57"/>
                  <a:pt x="1748" y="56"/>
                  <a:pt x="1749" y="54"/>
                </a:cubicBezTo>
                <a:cubicBezTo>
                  <a:pt x="1751" y="53"/>
                  <a:pt x="1752" y="52"/>
                  <a:pt x="1753" y="51"/>
                </a:cubicBezTo>
                <a:cubicBezTo>
                  <a:pt x="1754" y="50"/>
                  <a:pt x="1754" y="50"/>
                  <a:pt x="1755" y="50"/>
                </a:cubicBezTo>
                <a:cubicBezTo>
                  <a:pt x="1756" y="49"/>
                  <a:pt x="1756" y="49"/>
                  <a:pt x="1757" y="49"/>
                </a:cubicBezTo>
                <a:cubicBezTo>
                  <a:pt x="1757" y="50"/>
                  <a:pt x="1758" y="50"/>
                  <a:pt x="1759" y="50"/>
                </a:cubicBezTo>
                <a:lnTo>
                  <a:pt x="1829" y="84"/>
                </a:lnTo>
                <a:lnTo>
                  <a:pt x="1830" y="83"/>
                </a:lnTo>
                <a:lnTo>
                  <a:pt x="1795" y="13"/>
                </a:lnTo>
                <a:cubicBezTo>
                  <a:pt x="1795" y="12"/>
                  <a:pt x="1794" y="11"/>
                  <a:pt x="1795" y="11"/>
                </a:cubicBezTo>
                <a:cubicBezTo>
                  <a:pt x="1795" y="10"/>
                  <a:pt x="1795" y="9"/>
                  <a:pt x="1796" y="8"/>
                </a:cubicBezTo>
                <a:cubicBezTo>
                  <a:pt x="1796" y="7"/>
                  <a:pt x="1798" y="6"/>
                  <a:pt x="1799" y="5"/>
                </a:cubicBezTo>
                <a:cubicBezTo>
                  <a:pt x="1800" y="3"/>
                  <a:pt x="1802" y="2"/>
                  <a:pt x="1803" y="1"/>
                </a:cubicBezTo>
                <a:cubicBezTo>
                  <a:pt x="1804" y="1"/>
                  <a:pt x="1804" y="0"/>
                  <a:pt x="1805" y="0"/>
                </a:cubicBezTo>
                <a:cubicBezTo>
                  <a:pt x="1806" y="0"/>
                  <a:pt x="1807" y="0"/>
                  <a:pt x="1807" y="1"/>
                </a:cubicBezTo>
                <a:cubicBezTo>
                  <a:pt x="1808" y="2"/>
                  <a:pt x="1808" y="2"/>
                  <a:pt x="1809" y="4"/>
                </a:cubicBezTo>
                <a:lnTo>
                  <a:pt x="1850" y="91"/>
                </a:lnTo>
                <a:close/>
              </a:path>
            </a:pathLst>
          </a:custGeom>
          <a:solidFill>
            <a:srgbClr val="000000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101" name="Freeform 45"/>
          <p:cNvSpPr>
            <a:spLocks noEditPoints="1"/>
          </p:cNvSpPr>
          <p:nvPr/>
        </p:nvSpPr>
        <p:spPr bwMode="auto">
          <a:xfrm>
            <a:off x="4376997" y="3979156"/>
            <a:ext cx="1193800" cy="1181100"/>
          </a:xfrm>
          <a:custGeom>
            <a:avLst/>
            <a:gdLst/>
            <a:ahLst/>
            <a:cxnLst>
              <a:cxn ang="0">
                <a:pos x="100" y="1866"/>
              </a:cxn>
              <a:cxn ang="0">
                <a:pos x="84" y="1792"/>
              </a:cxn>
              <a:cxn ang="0">
                <a:pos x="66" y="1765"/>
              </a:cxn>
              <a:cxn ang="0">
                <a:pos x="215" y="1741"/>
              </a:cxn>
              <a:cxn ang="0">
                <a:pos x="171" y="1714"/>
              </a:cxn>
              <a:cxn ang="0">
                <a:pos x="233" y="1623"/>
              </a:cxn>
              <a:cxn ang="0">
                <a:pos x="187" y="1642"/>
              </a:cxn>
              <a:cxn ang="0">
                <a:pos x="347" y="1602"/>
              </a:cxn>
              <a:cxn ang="0">
                <a:pos x="306" y="1623"/>
              </a:cxn>
              <a:cxn ang="0">
                <a:pos x="429" y="1403"/>
              </a:cxn>
              <a:cxn ang="0">
                <a:pos x="426" y="1540"/>
              </a:cxn>
              <a:cxn ang="0">
                <a:pos x="375" y="1458"/>
              </a:cxn>
              <a:cxn ang="0">
                <a:pos x="428" y="1402"/>
              </a:cxn>
              <a:cxn ang="0">
                <a:pos x="496" y="1390"/>
              </a:cxn>
              <a:cxn ang="0">
                <a:pos x="454" y="1373"/>
              </a:cxn>
              <a:cxn ang="0">
                <a:pos x="613" y="1313"/>
              </a:cxn>
              <a:cxn ang="0">
                <a:pos x="477" y="1289"/>
              </a:cxn>
              <a:cxn ang="0">
                <a:pos x="557" y="1294"/>
              </a:cxn>
              <a:cxn ang="0">
                <a:pos x="656" y="1310"/>
              </a:cxn>
              <a:cxn ang="0">
                <a:pos x="698" y="1248"/>
              </a:cxn>
              <a:cxn ang="0">
                <a:pos x="685" y="1265"/>
              </a:cxn>
              <a:cxn ang="0">
                <a:pos x="691" y="1193"/>
              </a:cxn>
              <a:cxn ang="0">
                <a:pos x="775" y="1174"/>
              </a:cxn>
              <a:cxn ang="0">
                <a:pos x="734" y="1098"/>
              </a:cxn>
              <a:cxn ang="0">
                <a:pos x="738" y="1142"/>
              </a:cxn>
              <a:cxn ang="0">
                <a:pos x="805" y="975"/>
              </a:cxn>
              <a:cxn ang="0">
                <a:pos x="817" y="1061"/>
              </a:cxn>
              <a:cxn ang="0">
                <a:pos x="893" y="956"/>
              </a:cxn>
              <a:cxn ang="0">
                <a:pos x="856" y="973"/>
              </a:cxn>
              <a:cxn ang="0">
                <a:pos x="1022" y="925"/>
              </a:cxn>
              <a:cxn ang="0">
                <a:pos x="956" y="942"/>
              </a:cxn>
              <a:cxn ang="0">
                <a:pos x="1051" y="795"/>
              </a:cxn>
              <a:cxn ang="0">
                <a:pos x="1073" y="891"/>
              </a:cxn>
              <a:cxn ang="0">
                <a:pos x="1042" y="788"/>
              </a:cxn>
              <a:cxn ang="0">
                <a:pos x="1122" y="812"/>
              </a:cxn>
              <a:cxn ang="0">
                <a:pos x="1115" y="827"/>
              </a:cxn>
              <a:cxn ang="0">
                <a:pos x="1085" y="768"/>
              </a:cxn>
              <a:cxn ang="0">
                <a:pos x="1177" y="820"/>
              </a:cxn>
              <a:cxn ang="0">
                <a:pos x="1126" y="702"/>
              </a:cxn>
              <a:cxn ang="0">
                <a:pos x="1275" y="525"/>
              </a:cxn>
              <a:cxn ang="0">
                <a:pos x="1198" y="584"/>
              </a:cxn>
              <a:cxn ang="0">
                <a:pos x="1300" y="529"/>
              </a:cxn>
              <a:cxn ang="0">
                <a:pos x="1496" y="469"/>
              </a:cxn>
              <a:cxn ang="0">
                <a:pos x="1447" y="519"/>
              </a:cxn>
              <a:cxn ang="0">
                <a:pos x="1399" y="562"/>
              </a:cxn>
              <a:cxn ang="0">
                <a:pos x="1401" y="427"/>
              </a:cxn>
              <a:cxn ang="0">
                <a:pos x="1553" y="387"/>
              </a:cxn>
              <a:cxn ang="0">
                <a:pos x="1471" y="355"/>
              </a:cxn>
              <a:cxn ang="0">
                <a:pos x="1650" y="316"/>
              </a:cxn>
              <a:cxn ang="0">
                <a:pos x="1634" y="258"/>
              </a:cxn>
              <a:cxn ang="0">
                <a:pos x="1604" y="200"/>
              </a:cxn>
              <a:cxn ang="0">
                <a:pos x="1664" y="249"/>
              </a:cxn>
              <a:cxn ang="0">
                <a:pos x="1717" y="248"/>
              </a:cxn>
              <a:cxn ang="0">
                <a:pos x="1683" y="148"/>
              </a:cxn>
              <a:cxn ang="0">
                <a:pos x="1726" y="102"/>
              </a:cxn>
              <a:cxn ang="0">
                <a:pos x="1763" y="24"/>
              </a:cxn>
              <a:cxn ang="0">
                <a:pos x="1833" y="132"/>
              </a:cxn>
              <a:cxn ang="0">
                <a:pos x="1735" y="32"/>
              </a:cxn>
              <a:cxn ang="0">
                <a:pos x="1809" y="39"/>
              </a:cxn>
              <a:cxn ang="0">
                <a:pos x="1828" y="1"/>
              </a:cxn>
            </a:cxnLst>
            <a:rect l="0" t="0" r="r" b="b"/>
            <a:pathLst>
              <a:path w="1896" h="1874">
                <a:moveTo>
                  <a:pt x="150" y="1811"/>
                </a:moveTo>
                <a:cubicBezTo>
                  <a:pt x="151" y="1812"/>
                  <a:pt x="151" y="1812"/>
                  <a:pt x="151" y="1813"/>
                </a:cubicBezTo>
                <a:cubicBezTo>
                  <a:pt x="151" y="1813"/>
                  <a:pt x="151" y="1814"/>
                  <a:pt x="151" y="1814"/>
                </a:cubicBezTo>
                <a:cubicBezTo>
                  <a:pt x="151" y="1815"/>
                  <a:pt x="150" y="1816"/>
                  <a:pt x="149" y="1817"/>
                </a:cubicBezTo>
                <a:cubicBezTo>
                  <a:pt x="149" y="1818"/>
                  <a:pt x="147" y="1819"/>
                  <a:pt x="146" y="1820"/>
                </a:cubicBezTo>
                <a:cubicBezTo>
                  <a:pt x="145" y="1821"/>
                  <a:pt x="144" y="1822"/>
                  <a:pt x="143" y="1823"/>
                </a:cubicBezTo>
                <a:cubicBezTo>
                  <a:pt x="142" y="1824"/>
                  <a:pt x="141" y="1824"/>
                  <a:pt x="140" y="1825"/>
                </a:cubicBezTo>
                <a:cubicBezTo>
                  <a:pt x="140" y="1825"/>
                  <a:pt x="139" y="1825"/>
                  <a:pt x="138" y="1825"/>
                </a:cubicBezTo>
                <a:cubicBezTo>
                  <a:pt x="138" y="1825"/>
                  <a:pt x="137" y="1824"/>
                  <a:pt x="136" y="1824"/>
                </a:cubicBezTo>
                <a:lnTo>
                  <a:pt x="106" y="1811"/>
                </a:lnTo>
                <a:cubicBezTo>
                  <a:pt x="102" y="1809"/>
                  <a:pt x="99" y="1808"/>
                  <a:pt x="96" y="1807"/>
                </a:cubicBezTo>
                <a:cubicBezTo>
                  <a:pt x="93" y="1806"/>
                  <a:pt x="90" y="1805"/>
                  <a:pt x="87" y="1805"/>
                </a:cubicBezTo>
                <a:cubicBezTo>
                  <a:pt x="84" y="1805"/>
                  <a:pt x="81" y="1806"/>
                  <a:pt x="78" y="1807"/>
                </a:cubicBezTo>
                <a:cubicBezTo>
                  <a:pt x="75" y="1808"/>
                  <a:pt x="72" y="1810"/>
                  <a:pt x="69" y="1813"/>
                </a:cubicBezTo>
                <a:lnTo>
                  <a:pt x="61" y="1821"/>
                </a:lnTo>
                <a:lnTo>
                  <a:pt x="101" y="1861"/>
                </a:lnTo>
                <a:cubicBezTo>
                  <a:pt x="101" y="1861"/>
                  <a:pt x="101" y="1862"/>
                  <a:pt x="101" y="1862"/>
                </a:cubicBezTo>
                <a:cubicBezTo>
                  <a:pt x="101" y="1863"/>
                  <a:pt x="101" y="1863"/>
                  <a:pt x="101" y="1864"/>
                </a:cubicBezTo>
                <a:cubicBezTo>
                  <a:pt x="101" y="1865"/>
                  <a:pt x="100" y="1865"/>
                  <a:pt x="100" y="1866"/>
                </a:cubicBezTo>
                <a:cubicBezTo>
                  <a:pt x="99" y="1867"/>
                  <a:pt x="98" y="1868"/>
                  <a:pt x="97" y="1869"/>
                </a:cubicBezTo>
                <a:cubicBezTo>
                  <a:pt x="96" y="1871"/>
                  <a:pt x="95" y="1872"/>
                  <a:pt x="94" y="1872"/>
                </a:cubicBezTo>
                <a:cubicBezTo>
                  <a:pt x="93" y="1873"/>
                  <a:pt x="92" y="1873"/>
                  <a:pt x="91" y="1874"/>
                </a:cubicBezTo>
                <a:cubicBezTo>
                  <a:pt x="91" y="1874"/>
                  <a:pt x="90" y="1874"/>
                  <a:pt x="90" y="1874"/>
                </a:cubicBezTo>
                <a:cubicBezTo>
                  <a:pt x="89" y="1874"/>
                  <a:pt x="89" y="1874"/>
                  <a:pt x="88" y="1873"/>
                </a:cubicBezTo>
                <a:lnTo>
                  <a:pt x="2" y="1787"/>
                </a:lnTo>
                <a:cubicBezTo>
                  <a:pt x="0" y="1785"/>
                  <a:pt x="0" y="1784"/>
                  <a:pt x="0" y="1782"/>
                </a:cubicBezTo>
                <a:cubicBezTo>
                  <a:pt x="0" y="1780"/>
                  <a:pt x="1" y="1779"/>
                  <a:pt x="2" y="1778"/>
                </a:cubicBezTo>
                <a:lnTo>
                  <a:pt x="22" y="1758"/>
                </a:lnTo>
                <a:cubicBezTo>
                  <a:pt x="24" y="1756"/>
                  <a:pt x="26" y="1754"/>
                  <a:pt x="28" y="1752"/>
                </a:cubicBezTo>
                <a:cubicBezTo>
                  <a:pt x="29" y="1751"/>
                  <a:pt x="31" y="1750"/>
                  <a:pt x="32" y="1748"/>
                </a:cubicBezTo>
                <a:cubicBezTo>
                  <a:pt x="36" y="1745"/>
                  <a:pt x="41" y="1743"/>
                  <a:pt x="45" y="1742"/>
                </a:cubicBezTo>
                <a:cubicBezTo>
                  <a:pt x="49" y="1740"/>
                  <a:pt x="53" y="1740"/>
                  <a:pt x="57" y="1740"/>
                </a:cubicBezTo>
                <a:cubicBezTo>
                  <a:pt x="61" y="1740"/>
                  <a:pt x="64" y="1741"/>
                  <a:pt x="68" y="1743"/>
                </a:cubicBezTo>
                <a:cubicBezTo>
                  <a:pt x="72" y="1745"/>
                  <a:pt x="75" y="1747"/>
                  <a:pt x="78" y="1750"/>
                </a:cubicBezTo>
                <a:cubicBezTo>
                  <a:pt x="81" y="1753"/>
                  <a:pt x="84" y="1757"/>
                  <a:pt x="85" y="1760"/>
                </a:cubicBezTo>
                <a:cubicBezTo>
                  <a:pt x="87" y="1763"/>
                  <a:pt x="88" y="1767"/>
                  <a:pt x="88" y="1770"/>
                </a:cubicBezTo>
                <a:cubicBezTo>
                  <a:pt x="89" y="1774"/>
                  <a:pt x="88" y="1777"/>
                  <a:pt x="87" y="1781"/>
                </a:cubicBezTo>
                <a:cubicBezTo>
                  <a:pt x="87" y="1784"/>
                  <a:pt x="85" y="1788"/>
                  <a:pt x="84" y="1792"/>
                </a:cubicBezTo>
                <a:cubicBezTo>
                  <a:pt x="86" y="1791"/>
                  <a:pt x="88" y="1790"/>
                  <a:pt x="90" y="1790"/>
                </a:cubicBezTo>
                <a:cubicBezTo>
                  <a:pt x="93" y="1790"/>
                  <a:pt x="95" y="1790"/>
                  <a:pt x="98" y="1790"/>
                </a:cubicBezTo>
                <a:cubicBezTo>
                  <a:pt x="100" y="1791"/>
                  <a:pt x="103" y="1791"/>
                  <a:pt x="106" y="1792"/>
                </a:cubicBezTo>
                <a:cubicBezTo>
                  <a:pt x="108" y="1793"/>
                  <a:pt x="111" y="1794"/>
                  <a:pt x="115" y="1796"/>
                </a:cubicBezTo>
                <a:lnTo>
                  <a:pt x="144" y="1808"/>
                </a:lnTo>
                <a:cubicBezTo>
                  <a:pt x="146" y="1809"/>
                  <a:pt x="148" y="1809"/>
                  <a:pt x="148" y="1810"/>
                </a:cubicBezTo>
                <a:cubicBezTo>
                  <a:pt x="149" y="1810"/>
                  <a:pt x="150" y="1811"/>
                  <a:pt x="150" y="1811"/>
                </a:cubicBezTo>
                <a:close/>
                <a:moveTo>
                  <a:pt x="66" y="1765"/>
                </a:moveTo>
                <a:cubicBezTo>
                  <a:pt x="63" y="1761"/>
                  <a:pt x="59" y="1759"/>
                  <a:pt x="55" y="1758"/>
                </a:cubicBezTo>
                <a:cubicBezTo>
                  <a:pt x="51" y="1757"/>
                  <a:pt x="46" y="1758"/>
                  <a:pt x="41" y="1761"/>
                </a:cubicBezTo>
                <a:cubicBezTo>
                  <a:pt x="40" y="1761"/>
                  <a:pt x="38" y="1763"/>
                  <a:pt x="36" y="1764"/>
                </a:cubicBezTo>
                <a:cubicBezTo>
                  <a:pt x="35" y="1765"/>
                  <a:pt x="33" y="1767"/>
                  <a:pt x="30" y="1770"/>
                </a:cubicBezTo>
                <a:lnTo>
                  <a:pt x="20" y="1780"/>
                </a:lnTo>
                <a:lnTo>
                  <a:pt x="51" y="1811"/>
                </a:lnTo>
                <a:lnTo>
                  <a:pt x="63" y="1799"/>
                </a:lnTo>
                <a:cubicBezTo>
                  <a:pt x="66" y="1796"/>
                  <a:pt x="69" y="1793"/>
                  <a:pt x="70" y="1790"/>
                </a:cubicBezTo>
                <a:cubicBezTo>
                  <a:pt x="72" y="1787"/>
                  <a:pt x="73" y="1783"/>
                  <a:pt x="73" y="1780"/>
                </a:cubicBezTo>
                <a:cubicBezTo>
                  <a:pt x="73" y="1777"/>
                  <a:pt x="73" y="1775"/>
                  <a:pt x="72" y="1772"/>
                </a:cubicBezTo>
                <a:cubicBezTo>
                  <a:pt x="70" y="1769"/>
                  <a:pt x="69" y="1767"/>
                  <a:pt x="66" y="1765"/>
                </a:cubicBezTo>
                <a:close/>
                <a:moveTo>
                  <a:pt x="186" y="1705"/>
                </a:moveTo>
                <a:cubicBezTo>
                  <a:pt x="188" y="1707"/>
                  <a:pt x="189" y="1709"/>
                  <a:pt x="189" y="1711"/>
                </a:cubicBezTo>
                <a:cubicBezTo>
                  <a:pt x="189" y="1712"/>
                  <a:pt x="188" y="1714"/>
                  <a:pt x="187" y="1715"/>
                </a:cubicBezTo>
                <a:lnTo>
                  <a:pt x="144" y="1758"/>
                </a:lnTo>
                <a:cubicBezTo>
                  <a:pt x="148" y="1761"/>
                  <a:pt x="151" y="1764"/>
                  <a:pt x="155" y="1766"/>
                </a:cubicBezTo>
                <a:cubicBezTo>
                  <a:pt x="159" y="1768"/>
                  <a:pt x="162" y="1770"/>
                  <a:pt x="166" y="1770"/>
                </a:cubicBezTo>
                <a:cubicBezTo>
                  <a:pt x="170" y="1770"/>
                  <a:pt x="174" y="1770"/>
                  <a:pt x="177" y="1768"/>
                </a:cubicBezTo>
                <a:cubicBezTo>
                  <a:pt x="181" y="1767"/>
                  <a:pt x="185" y="1764"/>
                  <a:pt x="189" y="1760"/>
                </a:cubicBezTo>
                <a:cubicBezTo>
                  <a:pt x="192" y="1757"/>
                  <a:pt x="194" y="1754"/>
                  <a:pt x="196" y="1751"/>
                </a:cubicBezTo>
                <a:cubicBezTo>
                  <a:pt x="198" y="1748"/>
                  <a:pt x="200" y="1745"/>
                  <a:pt x="201" y="1743"/>
                </a:cubicBezTo>
                <a:cubicBezTo>
                  <a:pt x="202" y="1741"/>
                  <a:pt x="203" y="1739"/>
                  <a:pt x="204" y="1737"/>
                </a:cubicBezTo>
                <a:cubicBezTo>
                  <a:pt x="204" y="1735"/>
                  <a:pt x="205" y="1734"/>
                  <a:pt x="205" y="1734"/>
                </a:cubicBezTo>
                <a:cubicBezTo>
                  <a:pt x="206" y="1733"/>
                  <a:pt x="206" y="1733"/>
                  <a:pt x="207" y="1733"/>
                </a:cubicBezTo>
                <a:cubicBezTo>
                  <a:pt x="207" y="1733"/>
                  <a:pt x="207" y="1733"/>
                  <a:pt x="208" y="1733"/>
                </a:cubicBezTo>
                <a:cubicBezTo>
                  <a:pt x="208" y="1733"/>
                  <a:pt x="209" y="1734"/>
                  <a:pt x="210" y="1734"/>
                </a:cubicBezTo>
                <a:cubicBezTo>
                  <a:pt x="210" y="1735"/>
                  <a:pt x="211" y="1735"/>
                  <a:pt x="212" y="1736"/>
                </a:cubicBezTo>
                <a:cubicBezTo>
                  <a:pt x="213" y="1737"/>
                  <a:pt x="213" y="1738"/>
                  <a:pt x="213" y="1738"/>
                </a:cubicBezTo>
                <a:cubicBezTo>
                  <a:pt x="214" y="1739"/>
                  <a:pt x="214" y="1739"/>
                  <a:pt x="215" y="1739"/>
                </a:cubicBezTo>
                <a:cubicBezTo>
                  <a:pt x="215" y="1740"/>
                  <a:pt x="215" y="1740"/>
                  <a:pt x="215" y="1741"/>
                </a:cubicBezTo>
                <a:cubicBezTo>
                  <a:pt x="215" y="1741"/>
                  <a:pt x="215" y="1742"/>
                  <a:pt x="215" y="1742"/>
                </a:cubicBezTo>
                <a:cubicBezTo>
                  <a:pt x="215" y="1743"/>
                  <a:pt x="215" y="1744"/>
                  <a:pt x="214" y="1746"/>
                </a:cubicBezTo>
                <a:cubicBezTo>
                  <a:pt x="214" y="1748"/>
                  <a:pt x="212" y="1750"/>
                  <a:pt x="211" y="1753"/>
                </a:cubicBezTo>
                <a:cubicBezTo>
                  <a:pt x="210" y="1755"/>
                  <a:pt x="208" y="1758"/>
                  <a:pt x="205" y="1761"/>
                </a:cubicBezTo>
                <a:cubicBezTo>
                  <a:pt x="203" y="1765"/>
                  <a:pt x="200" y="1768"/>
                  <a:pt x="197" y="1771"/>
                </a:cubicBezTo>
                <a:cubicBezTo>
                  <a:pt x="192" y="1776"/>
                  <a:pt x="187" y="1780"/>
                  <a:pt x="181" y="1782"/>
                </a:cubicBezTo>
                <a:cubicBezTo>
                  <a:pt x="176" y="1785"/>
                  <a:pt x="170" y="1786"/>
                  <a:pt x="165" y="1786"/>
                </a:cubicBezTo>
                <a:cubicBezTo>
                  <a:pt x="159" y="1786"/>
                  <a:pt x="153" y="1784"/>
                  <a:pt x="147" y="1781"/>
                </a:cubicBezTo>
                <a:cubicBezTo>
                  <a:pt x="142" y="1778"/>
                  <a:pt x="136" y="1774"/>
                  <a:pt x="130" y="1768"/>
                </a:cubicBezTo>
                <a:cubicBezTo>
                  <a:pt x="124" y="1762"/>
                  <a:pt x="120" y="1757"/>
                  <a:pt x="117" y="1751"/>
                </a:cubicBezTo>
                <a:cubicBezTo>
                  <a:pt x="114" y="1745"/>
                  <a:pt x="112" y="1739"/>
                  <a:pt x="112" y="1733"/>
                </a:cubicBezTo>
                <a:cubicBezTo>
                  <a:pt x="112" y="1727"/>
                  <a:pt x="113" y="1722"/>
                  <a:pt x="115" y="1716"/>
                </a:cubicBezTo>
                <a:cubicBezTo>
                  <a:pt x="117" y="1711"/>
                  <a:pt x="120" y="1706"/>
                  <a:pt x="125" y="1701"/>
                </a:cubicBezTo>
                <a:cubicBezTo>
                  <a:pt x="130" y="1696"/>
                  <a:pt x="135" y="1692"/>
                  <a:pt x="141" y="1690"/>
                </a:cubicBezTo>
                <a:cubicBezTo>
                  <a:pt x="146" y="1688"/>
                  <a:pt x="151" y="1688"/>
                  <a:pt x="156" y="1688"/>
                </a:cubicBezTo>
                <a:cubicBezTo>
                  <a:pt x="161" y="1689"/>
                  <a:pt x="166" y="1690"/>
                  <a:pt x="171" y="1693"/>
                </a:cubicBezTo>
                <a:cubicBezTo>
                  <a:pt x="175" y="1695"/>
                  <a:pt x="180" y="1699"/>
                  <a:pt x="184" y="1703"/>
                </a:cubicBezTo>
                <a:lnTo>
                  <a:pt x="186" y="1705"/>
                </a:lnTo>
                <a:close/>
                <a:moveTo>
                  <a:pt x="171" y="1714"/>
                </a:moveTo>
                <a:cubicBezTo>
                  <a:pt x="165" y="1707"/>
                  <a:pt x="159" y="1704"/>
                  <a:pt x="152" y="1703"/>
                </a:cubicBezTo>
                <a:cubicBezTo>
                  <a:pt x="146" y="1703"/>
                  <a:pt x="140" y="1705"/>
                  <a:pt x="134" y="1711"/>
                </a:cubicBezTo>
                <a:cubicBezTo>
                  <a:pt x="131" y="1714"/>
                  <a:pt x="129" y="1717"/>
                  <a:pt x="128" y="1720"/>
                </a:cubicBezTo>
                <a:cubicBezTo>
                  <a:pt x="127" y="1724"/>
                  <a:pt x="126" y="1727"/>
                  <a:pt x="127" y="1730"/>
                </a:cubicBezTo>
                <a:cubicBezTo>
                  <a:pt x="127" y="1733"/>
                  <a:pt x="128" y="1737"/>
                  <a:pt x="129" y="1740"/>
                </a:cubicBezTo>
                <a:cubicBezTo>
                  <a:pt x="131" y="1743"/>
                  <a:pt x="133" y="1746"/>
                  <a:pt x="136" y="1749"/>
                </a:cubicBezTo>
                <a:lnTo>
                  <a:pt x="171" y="1714"/>
                </a:lnTo>
                <a:close/>
                <a:moveTo>
                  <a:pt x="301" y="1661"/>
                </a:moveTo>
                <a:cubicBezTo>
                  <a:pt x="301" y="1661"/>
                  <a:pt x="302" y="1661"/>
                  <a:pt x="302" y="1662"/>
                </a:cubicBezTo>
                <a:cubicBezTo>
                  <a:pt x="302" y="1662"/>
                  <a:pt x="302" y="1663"/>
                  <a:pt x="302" y="1664"/>
                </a:cubicBezTo>
                <a:cubicBezTo>
                  <a:pt x="301" y="1664"/>
                  <a:pt x="301" y="1665"/>
                  <a:pt x="300" y="1666"/>
                </a:cubicBezTo>
                <a:cubicBezTo>
                  <a:pt x="300" y="1667"/>
                  <a:pt x="299" y="1668"/>
                  <a:pt x="297" y="1669"/>
                </a:cubicBezTo>
                <a:cubicBezTo>
                  <a:pt x="296" y="1670"/>
                  <a:pt x="295" y="1671"/>
                  <a:pt x="294" y="1672"/>
                </a:cubicBezTo>
                <a:cubicBezTo>
                  <a:pt x="294" y="1672"/>
                  <a:pt x="293" y="1673"/>
                  <a:pt x="292" y="1673"/>
                </a:cubicBezTo>
                <a:cubicBezTo>
                  <a:pt x="292" y="1673"/>
                  <a:pt x="291" y="1673"/>
                  <a:pt x="291" y="1673"/>
                </a:cubicBezTo>
                <a:cubicBezTo>
                  <a:pt x="290" y="1673"/>
                  <a:pt x="290" y="1673"/>
                  <a:pt x="289" y="1673"/>
                </a:cubicBezTo>
                <a:lnTo>
                  <a:pt x="251" y="1635"/>
                </a:lnTo>
                <a:cubicBezTo>
                  <a:pt x="248" y="1631"/>
                  <a:pt x="244" y="1628"/>
                  <a:pt x="242" y="1627"/>
                </a:cubicBezTo>
                <a:cubicBezTo>
                  <a:pt x="239" y="1625"/>
                  <a:pt x="236" y="1624"/>
                  <a:pt x="233" y="1623"/>
                </a:cubicBezTo>
                <a:cubicBezTo>
                  <a:pt x="231" y="1623"/>
                  <a:pt x="228" y="1623"/>
                  <a:pt x="225" y="1624"/>
                </a:cubicBezTo>
                <a:cubicBezTo>
                  <a:pt x="223" y="1625"/>
                  <a:pt x="220" y="1626"/>
                  <a:pt x="218" y="1629"/>
                </a:cubicBezTo>
                <a:cubicBezTo>
                  <a:pt x="215" y="1632"/>
                  <a:pt x="213" y="1636"/>
                  <a:pt x="212" y="1641"/>
                </a:cubicBezTo>
                <a:cubicBezTo>
                  <a:pt x="211" y="1646"/>
                  <a:pt x="211" y="1652"/>
                  <a:pt x="212" y="1659"/>
                </a:cubicBezTo>
                <a:lnTo>
                  <a:pt x="257" y="1704"/>
                </a:lnTo>
                <a:cubicBezTo>
                  <a:pt x="258" y="1705"/>
                  <a:pt x="258" y="1705"/>
                  <a:pt x="258" y="1706"/>
                </a:cubicBezTo>
                <a:cubicBezTo>
                  <a:pt x="258" y="1706"/>
                  <a:pt x="258" y="1707"/>
                  <a:pt x="258" y="1707"/>
                </a:cubicBezTo>
                <a:cubicBezTo>
                  <a:pt x="258" y="1708"/>
                  <a:pt x="257" y="1709"/>
                  <a:pt x="256" y="1710"/>
                </a:cubicBezTo>
                <a:cubicBezTo>
                  <a:pt x="256" y="1710"/>
                  <a:pt x="255" y="1711"/>
                  <a:pt x="254" y="1713"/>
                </a:cubicBezTo>
                <a:cubicBezTo>
                  <a:pt x="252" y="1714"/>
                  <a:pt x="251" y="1715"/>
                  <a:pt x="251" y="1715"/>
                </a:cubicBezTo>
                <a:cubicBezTo>
                  <a:pt x="250" y="1716"/>
                  <a:pt x="249" y="1717"/>
                  <a:pt x="248" y="1717"/>
                </a:cubicBezTo>
                <a:cubicBezTo>
                  <a:pt x="248" y="1717"/>
                  <a:pt x="247" y="1717"/>
                  <a:pt x="247" y="1717"/>
                </a:cubicBezTo>
                <a:cubicBezTo>
                  <a:pt x="246" y="1717"/>
                  <a:pt x="246" y="1717"/>
                  <a:pt x="245" y="1716"/>
                </a:cubicBezTo>
                <a:lnTo>
                  <a:pt x="181" y="1652"/>
                </a:lnTo>
                <a:cubicBezTo>
                  <a:pt x="180" y="1651"/>
                  <a:pt x="180" y="1651"/>
                  <a:pt x="180" y="1651"/>
                </a:cubicBezTo>
                <a:cubicBezTo>
                  <a:pt x="180" y="1650"/>
                  <a:pt x="180" y="1650"/>
                  <a:pt x="180" y="1649"/>
                </a:cubicBezTo>
                <a:cubicBezTo>
                  <a:pt x="180" y="1648"/>
                  <a:pt x="181" y="1648"/>
                  <a:pt x="181" y="1647"/>
                </a:cubicBezTo>
                <a:cubicBezTo>
                  <a:pt x="182" y="1646"/>
                  <a:pt x="183" y="1645"/>
                  <a:pt x="184" y="1644"/>
                </a:cubicBezTo>
                <a:cubicBezTo>
                  <a:pt x="185" y="1643"/>
                  <a:pt x="186" y="1642"/>
                  <a:pt x="187" y="1642"/>
                </a:cubicBezTo>
                <a:cubicBezTo>
                  <a:pt x="187" y="1641"/>
                  <a:pt x="188" y="1641"/>
                  <a:pt x="189" y="1640"/>
                </a:cubicBezTo>
                <a:cubicBezTo>
                  <a:pt x="189" y="1640"/>
                  <a:pt x="190" y="1640"/>
                  <a:pt x="190" y="1640"/>
                </a:cubicBezTo>
                <a:cubicBezTo>
                  <a:pt x="191" y="1640"/>
                  <a:pt x="191" y="1641"/>
                  <a:pt x="192" y="1641"/>
                </a:cubicBezTo>
                <a:lnTo>
                  <a:pt x="200" y="1650"/>
                </a:lnTo>
                <a:cubicBezTo>
                  <a:pt x="200" y="1642"/>
                  <a:pt x="200" y="1635"/>
                  <a:pt x="202" y="1630"/>
                </a:cubicBezTo>
                <a:cubicBezTo>
                  <a:pt x="204" y="1624"/>
                  <a:pt x="206" y="1620"/>
                  <a:pt x="210" y="1616"/>
                </a:cubicBezTo>
                <a:cubicBezTo>
                  <a:pt x="214" y="1612"/>
                  <a:pt x="219" y="1609"/>
                  <a:pt x="223" y="1607"/>
                </a:cubicBezTo>
                <a:cubicBezTo>
                  <a:pt x="228" y="1606"/>
                  <a:pt x="232" y="1605"/>
                  <a:pt x="236" y="1606"/>
                </a:cubicBezTo>
                <a:cubicBezTo>
                  <a:pt x="240" y="1607"/>
                  <a:pt x="245" y="1608"/>
                  <a:pt x="249" y="1611"/>
                </a:cubicBezTo>
                <a:cubicBezTo>
                  <a:pt x="253" y="1613"/>
                  <a:pt x="257" y="1617"/>
                  <a:pt x="262" y="1621"/>
                </a:cubicBezTo>
                <a:lnTo>
                  <a:pt x="301" y="1661"/>
                </a:lnTo>
                <a:close/>
                <a:moveTo>
                  <a:pt x="345" y="1547"/>
                </a:moveTo>
                <a:cubicBezTo>
                  <a:pt x="347" y="1549"/>
                  <a:pt x="347" y="1551"/>
                  <a:pt x="347" y="1552"/>
                </a:cubicBezTo>
                <a:cubicBezTo>
                  <a:pt x="347" y="1554"/>
                  <a:pt x="346" y="1555"/>
                  <a:pt x="345" y="1557"/>
                </a:cubicBezTo>
                <a:lnTo>
                  <a:pt x="303" y="1599"/>
                </a:lnTo>
                <a:cubicBezTo>
                  <a:pt x="306" y="1603"/>
                  <a:pt x="310" y="1606"/>
                  <a:pt x="313" y="1608"/>
                </a:cubicBezTo>
                <a:cubicBezTo>
                  <a:pt x="317" y="1610"/>
                  <a:pt x="321" y="1611"/>
                  <a:pt x="324" y="1612"/>
                </a:cubicBezTo>
                <a:cubicBezTo>
                  <a:pt x="328" y="1612"/>
                  <a:pt x="332" y="1611"/>
                  <a:pt x="336" y="1610"/>
                </a:cubicBezTo>
                <a:cubicBezTo>
                  <a:pt x="340" y="1608"/>
                  <a:pt x="343" y="1605"/>
                  <a:pt x="347" y="1602"/>
                </a:cubicBezTo>
                <a:cubicBezTo>
                  <a:pt x="350" y="1598"/>
                  <a:pt x="353" y="1595"/>
                  <a:pt x="355" y="1593"/>
                </a:cubicBezTo>
                <a:cubicBezTo>
                  <a:pt x="357" y="1590"/>
                  <a:pt x="358" y="1587"/>
                  <a:pt x="359" y="1585"/>
                </a:cubicBezTo>
                <a:cubicBezTo>
                  <a:pt x="360" y="1582"/>
                  <a:pt x="361" y="1580"/>
                  <a:pt x="362" y="1579"/>
                </a:cubicBezTo>
                <a:cubicBezTo>
                  <a:pt x="363" y="1577"/>
                  <a:pt x="363" y="1576"/>
                  <a:pt x="364" y="1575"/>
                </a:cubicBezTo>
                <a:cubicBezTo>
                  <a:pt x="364" y="1575"/>
                  <a:pt x="365" y="1575"/>
                  <a:pt x="365" y="1575"/>
                </a:cubicBezTo>
                <a:cubicBezTo>
                  <a:pt x="365" y="1575"/>
                  <a:pt x="366" y="1575"/>
                  <a:pt x="366" y="1575"/>
                </a:cubicBezTo>
                <a:cubicBezTo>
                  <a:pt x="367" y="1575"/>
                  <a:pt x="367" y="1575"/>
                  <a:pt x="368" y="1576"/>
                </a:cubicBezTo>
                <a:cubicBezTo>
                  <a:pt x="369" y="1576"/>
                  <a:pt x="369" y="1577"/>
                  <a:pt x="370" y="1578"/>
                </a:cubicBezTo>
                <a:cubicBezTo>
                  <a:pt x="371" y="1579"/>
                  <a:pt x="371" y="1579"/>
                  <a:pt x="372" y="1580"/>
                </a:cubicBezTo>
                <a:cubicBezTo>
                  <a:pt x="372" y="1580"/>
                  <a:pt x="373" y="1581"/>
                  <a:pt x="373" y="1581"/>
                </a:cubicBezTo>
                <a:cubicBezTo>
                  <a:pt x="373" y="1581"/>
                  <a:pt x="373" y="1582"/>
                  <a:pt x="374" y="1582"/>
                </a:cubicBezTo>
                <a:cubicBezTo>
                  <a:pt x="374" y="1583"/>
                  <a:pt x="374" y="1583"/>
                  <a:pt x="374" y="1584"/>
                </a:cubicBezTo>
                <a:cubicBezTo>
                  <a:pt x="374" y="1584"/>
                  <a:pt x="373" y="1586"/>
                  <a:pt x="373" y="1587"/>
                </a:cubicBezTo>
                <a:cubicBezTo>
                  <a:pt x="372" y="1589"/>
                  <a:pt x="371" y="1592"/>
                  <a:pt x="369" y="1594"/>
                </a:cubicBezTo>
                <a:cubicBezTo>
                  <a:pt x="368" y="1597"/>
                  <a:pt x="366" y="1600"/>
                  <a:pt x="364" y="1603"/>
                </a:cubicBezTo>
                <a:cubicBezTo>
                  <a:pt x="362" y="1606"/>
                  <a:pt x="359" y="1609"/>
                  <a:pt x="356" y="1612"/>
                </a:cubicBezTo>
                <a:cubicBezTo>
                  <a:pt x="351" y="1618"/>
                  <a:pt x="345" y="1622"/>
                  <a:pt x="340" y="1624"/>
                </a:cubicBezTo>
                <a:cubicBezTo>
                  <a:pt x="334" y="1627"/>
                  <a:pt x="329" y="1628"/>
                  <a:pt x="323" y="1628"/>
                </a:cubicBezTo>
                <a:cubicBezTo>
                  <a:pt x="317" y="1627"/>
                  <a:pt x="312" y="1626"/>
                  <a:pt x="306" y="1623"/>
                </a:cubicBezTo>
                <a:cubicBezTo>
                  <a:pt x="300" y="1620"/>
                  <a:pt x="294" y="1615"/>
                  <a:pt x="288" y="1609"/>
                </a:cubicBezTo>
                <a:cubicBezTo>
                  <a:pt x="283" y="1604"/>
                  <a:pt x="278" y="1598"/>
                  <a:pt x="275" y="1592"/>
                </a:cubicBezTo>
                <a:cubicBezTo>
                  <a:pt x="273" y="1586"/>
                  <a:pt x="271" y="1581"/>
                  <a:pt x="270" y="1575"/>
                </a:cubicBezTo>
                <a:cubicBezTo>
                  <a:pt x="270" y="1569"/>
                  <a:pt x="271" y="1563"/>
                  <a:pt x="273" y="1558"/>
                </a:cubicBezTo>
                <a:cubicBezTo>
                  <a:pt x="275" y="1552"/>
                  <a:pt x="279" y="1547"/>
                  <a:pt x="284" y="1543"/>
                </a:cubicBezTo>
                <a:cubicBezTo>
                  <a:pt x="289" y="1537"/>
                  <a:pt x="294" y="1534"/>
                  <a:pt x="299" y="1532"/>
                </a:cubicBezTo>
                <a:cubicBezTo>
                  <a:pt x="304" y="1530"/>
                  <a:pt x="309" y="1529"/>
                  <a:pt x="314" y="1530"/>
                </a:cubicBezTo>
                <a:cubicBezTo>
                  <a:pt x="319" y="1530"/>
                  <a:pt x="324" y="1532"/>
                  <a:pt x="329" y="1534"/>
                </a:cubicBezTo>
                <a:cubicBezTo>
                  <a:pt x="334" y="1537"/>
                  <a:pt x="338" y="1540"/>
                  <a:pt x="343" y="1545"/>
                </a:cubicBezTo>
                <a:lnTo>
                  <a:pt x="345" y="1547"/>
                </a:lnTo>
                <a:close/>
                <a:moveTo>
                  <a:pt x="329" y="1555"/>
                </a:moveTo>
                <a:cubicBezTo>
                  <a:pt x="323" y="1549"/>
                  <a:pt x="317" y="1545"/>
                  <a:pt x="310" y="1545"/>
                </a:cubicBezTo>
                <a:cubicBezTo>
                  <a:pt x="304" y="1544"/>
                  <a:pt x="298" y="1547"/>
                  <a:pt x="292" y="1552"/>
                </a:cubicBezTo>
                <a:cubicBezTo>
                  <a:pt x="289" y="1555"/>
                  <a:pt x="287" y="1558"/>
                  <a:pt x="286" y="1562"/>
                </a:cubicBezTo>
                <a:cubicBezTo>
                  <a:pt x="285" y="1565"/>
                  <a:pt x="285" y="1568"/>
                  <a:pt x="285" y="1572"/>
                </a:cubicBezTo>
                <a:cubicBezTo>
                  <a:pt x="285" y="1575"/>
                  <a:pt x="286" y="1578"/>
                  <a:pt x="288" y="1582"/>
                </a:cubicBezTo>
                <a:cubicBezTo>
                  <a:pt x="289" y="1585"/>
                  <a:pt x="291" y="1588"/>
                  <a:pt x="294" y="1591"/>
                </a:cubicBezTo>
                <a:lnTo>
                  <a:pt x="329" y="1555"/>
                </a:lnTo>
                <a:close/>
                <a:moveTo>
                  <a:pt x="429" y="1403"/>
                </a:moveTo>
                <a:cubicBezTo>
                  <a:pt x="430" y="1403"/>
                  <a:pt x="430" y="1404"/>
                  <a:pt x="431" y="1404"/>
                </a:cubicBezTo>
                <a:cubicBezTo>
                  <a:pt x="431" y="1405"/>
                  <a:pt x="431" y="1405"/>
                  <a:pt x="432" y="1406"/>
                </a:cubicBezTo>
                <a:lnTo>
                  <a:pt x="474" y="1487"/>
                </a:lnTo>
                <a:cubicBezTo>
                  <a:pt x="475" y="1488"/>
                  <a:pt x="475" y="1488"/>
                  <a:pt x="475" y="1489"/>
                </a:cubicBezTo>
                <a:cubicBezTo>
                  <a:pt x="475" y="1489"/>
                  <a:pt x="475" y="1490"/>
                  <a:pt x="474" y="1491"/>
                </a:cubicBezTo>
                <a:cubicBezTo>
                  <a:pt x="474" y="1492"/>
                  <a:pt x="473" y="1493"/>
                  <a:pt x="472" y="1494"/>
                </a:cubicBezTo>
                <a:cubicBezTo>
                  <a:pt x="472" y="1495"/>
                  <a:pt x="470" y="1496"/>
                  <a:pt x="469" y="1497"/>
                </a:cubicBezTo>
                <a:cubicBezTo>
                  <a:pt x="468" y="1499"/>
                  <a:pt x="466" y="1500"/>
                  <a:pt x="465" y="1501"/>
                </a:cubicBezTo>
                <a:cubicBezTo>
                  <a:pt x="464" y="1502"/>
                  <a:pt x="463" y="1502"/>
                  <a:pt x="462" y="1503"/>
                </a:cubicBezTo>
                <a:cubicBezTo>
                  <a:pt x="461" y="1503"/>
                  <a:pt x="461" y="1503"/>
                  <a:pt x="460" y="1503"/>
                </a:cubicBezTo>
                <a:cubicBezTo>
                  <a:pt x="460" y="1503"/>
                  <a:pt x="459" y="1503"/>
                  <a:pt x="458" y="1503"/>
                </a:cubicBezTo>
                <a:lnTo>
                  <a:pt x="398" y="1469"/>
                </a:lnTo>
                <a:lnTo>
                  <a:pt x="397" y="1469"/>
                </a:lnTo>
                <a:lnTo>
                  <a:pt x="398" y="1470"/>
                </a:lnTo>
                <a:lnTo>
                  <a:pt x="432" y="1529"/>
                </a:lnTo>
                <a:cubicBezTo>
                  <a:pt x="432" y="1530"/>
                  <a:pt x="432" y="1531"/>
                  <a:pt x="432" y="1531"/>
                </a:cubicBezTo>
                <a:cubicBezTo>
                  <a:pt x="432" y="1532"/>
                  <a:pt x="432" y="1533"/>
                  <a:pt x="432" y="1533"/>
                </a:cubicBezTo>
                <a:cubicBezTo>
                  <a:pt x="431" y="1534"/>
                  <a:pt x="431" y="1535"/>
                  <a:pt x="430" y="1536"/>
                </a:cubicBezTo>
                <a:cubicBezTo>
                  <a:pt x="429" y="1537"/>
                  <a:pt x="428" y="1538"/>
                  <a:pt x="426" y="1540"/>
                </a:cubicBezTo>
                <a:cubicBezTo>
                  <a:pt x="425" y="1541"/>
                  <a:pt x="424" y="1543"/>
                  <a:pt x="423" y="1543"/>
                </a:cubicBezTo>
                <a:cubicBezTo>
                  <a:pt x="422" y="1544"/>
                  <a:pt x="421" y="1545"/>
                  <a:pt x="420" y="1545"/>
                </a:cubicBezTo>
                <a:cubicBezTo>
                  <a:pt x="419" y="1546"/>
                  <a:pt x="418" y="1546"/>
                  <a:pt x="418" y="1546"/>
                </a:cubicBezTo>
                <a:cubicBezTo>
                  <a:pt x="417" y="1546"/>
                  <a:pt x="416" y="1546"/>
                  <a:pt x="416" y="1545"/>
                </a:cubicBezTo>
                <a:lnTo>
                  <a:pt x="336" y="1503"/>
                </a:lnTo>
                <a:cubicBezTo>
                  <a:pt x="335" y="1502"/>
                  <a:pt x="334" y="1502"/>
                  <a:pt x="333" y="1501"/>
                </a:cubicBezTo>
                <a:cubicBezTo>
                  <a:pt x="333" y="1501"/>
                  <a:pt x="332" y="1501"/>
                  <a:pt x="332" y="1500"/>
                </a:cubicBezTo>
                <a:cubicBezTo>
                  <a:pt x="331" y="1500"/>
                  <a:pt x="331" y="1499"/>
                  <a:pt x="331" y="1499"/>
                </a:cubicBezTo>
                <a:cubicBezTo>
                  <a:pt x="331" y="1499"/>
                  <a:pt x="331" y="1498"/>
                  <a:pt x="331" y="1497"/>
                </a:cubicBezTo>
                <a:cubicBezTo>
                  <a:pt x="332" y="1497"/>
                  <a:pt x="332" y="1496"/>
                  <a:pt x="333" y="1495"/>
                </a:cubicBezTo>
                <a:cubicBezTo>
                  <a:pt x="334" y="1494"/>
                  <a:pt x="335" y="1493"/>
                  <a:pt x="336" y="1492"/>
                </a:cubicBezTo>
                <a:cubicBezTo>
                  <a:pt x="337" y="1491"/>
                  <a:pt x="338" y="1490"/>
                  <a:pt x="339" y="1489"/>
                </a:cubicBezTo>
                <a:cubicBezTo>
                  <a:pt x="340" y="1489"/>
                  <a:pt x="341" y="1488"/>
                  <a:pt x="341" y="1488"/>
                </a:cubicBezTo>
                <a:cubicBezTo>
                  <a:pt x="342" y="1487"/>
                  <a:pt x="342" y="1487"/>
                  <a:pt x="343" y="1488"/>
                </a:cubicBezTo>
                <a:cubicBezTo>
                  <a:pt x="343" y="1488"/>
                  <a:pt x="344" y="1488"/>
                  <a:pt x="345" y="1488"/>
                </a:cubicBezTo>
                <a:lnTo>
                  <a:pt x="413" y="1526"/>
                </a:lnTo>
                <a:lnTo>
                  <a:pt x="414" y="1526"/>
                </a:lnTo>
                <a:lnTo>
                  <a:pt x="414" y="1526"/>
                </a:lnTo>
                <a:lnTo>
                  <a:pt x="375" y="1458"/>
                </a:lnTo>
                <a:cubicBezTo>
                  <a:pt x="374" y="1457"/>
                  <a:pt x="374" y="1457"/>
                  <a:pt x="374" y="1456"/>
                </a:cubicBezTo>
                <a:cubicBezTo>
                  <a:pt x="374" y="1456"/>
                  <a:pt x="374" y="1455"/>
                  <a:pt x="374" y="1455"/>
                </a:cubicBezTo>
                <a:cubicBezTo>
                  <a:pt x="375" y="1454"/>
                  <a:pt x="375" y="1453"/>
                  <a:pt x="376" y="1453"/>
                </a:cubicBezTo>
                <a:cubicBezTo>
                  <a:pt x="376" y="1452"/>
                  <a:pt x="377" y="1451"/>
                  <a:pt x="379" y="1450"/>
                </a:cubicBezTo>
                <a:cubicBezTo>
                  <a:pt x="380" y="1448"/>
                  <a:pt x="381" y="1448"/>
                  <a:pt x="381" y="1447"/>
                </a:cubicBezTo>
                <a:cubicBezTo>
                  <a:pt x="382" y="1446"/>
                  <a:pt x="383" y="1446"/>
                  <a:pt x="384" y="1445"/>
                </a:cubicBezTo>
                <a:cubicBezTo>
                  <a:pt x="384" y="1445"/>
                  <a:pt x="385" y="1445"/>
                  <a:pt x="385" y="1445"/>
                </a:cubicBezTo>
                <a:cubicBezTo>
                  <a:pt x="386" y="1445"/>
                  <a:pt x="386" y="1445"/>
                  <a:pt x="387" y="1446"/>
                </a:cubicBezTo>
                <a:lnTo>
                  <a:pt x="455" y="1484"/>
                </a:lnTo>
                <a:lnTo>
                  <a:pt x="456" y="1484"/>
                </a:lnTo>
                <a:lnTo>
                  <a:pt x="456" y="1484"/>
                </a:lnTo>
                <a:lnTo>
                  <a:pt x="418" y="1415"/>
                </a:lnTo>
                <a:cubicBezTo>
                  <a:pt x="417" y="1414"/>
                  <a:pt x="417" y="1414"/>
                  <a:pt x="417" y="1413"/>
                </a:cubicBezTo>
                <a:cubicBezTo>
                  <a:pt x="417" y="1413"/>
                  <a:pt x="417" y="1412"/>
                  <a:pt x="417" y="1412"/>
                </a:cubicBezTo>
                <a:cubicBezTo>
                  <a:pt x="418" y="1411"/>
                  <a:pt x="418" y="1410"/>
                  <a:pt x="419" y="1409"/>
                </a:cubicBezTo>
                <a:cubicBezTo>
                  <a:pt x="420" y="1408"/>
                  <a:pt x="421" y="1407"/>
                  <a:pt x="422" y="1406"/>
                </a:cubicBezTo>
                <a:cubicBezTo>
                  <a:pt x="423" y="1405"/>
                  <a:pt x="424" y="1404"/>
                  <a:pt x="425" y="1403"/>
                </a:cubicBezTo>
                <a:cubicBezTo>
                  <a:pt x="425" y="1403"/>
                  <a:pt x="426" y="1402"/>
                  <a:pt x="427" y="1402"/>
                </a:cubicBezTo>
                <a:cubicBezTo>
                  <a:pt x="427" y="1402"/>
                  <a:pt x="428" y="1402"/>
                  <a:pt x="428" y="1402"/>
                </a:cubicBezTo>
                <a:cubicBezTo>
                  <a:pt x="429" y="1402"/>
                  <a:pt x="429" y="1402"/>
                  <a:pt x="429" y="1403"/>
                </a:cubicBezTo>
                <a:close/>
                <a:moveTo>
                  <a:pt x="554" y="1407"/>
                </a:moveTo>
                <a:cubicBezTo>
                  <a:pt x="555" y="1408"/>
                  <a:pt x="555" y="1409"/>
                  <a:pt x="555" y="1409"/>
                </a:cubicBezTo>
                <a:cubicBezTo>
                  <a:pt x="555" y="1410"/>
                  <a:pt x="555" y="1411"/>
                  <a:pt x="554" y="1412"/>
                </a:cubicBezTo>
                <a:cubicBezTo>
                  <a:pt x="554" y="1412"/>
                  <a:pt x="553" y="1413"/>
                  <a:pt x="551" y="1415"/>
                </a:cubicBezTo>
                <a:cubicBezTo>
                  <a:pt x="550" y="1416"/>
                  <a:pt x="549" y="1417"/>
                  <a:pt x="548" y="1418"/>
                </a:cubicBezTo>
                <a:cubicBezTo>
                  <a:pt x="547" y="1418"/>
                  <a:pt x="547" y="1418"/>
                  <a:pt x="546" y="1418"/>
                </a:cubicBezTo>
                <a:cubicBezTo>
                  <a:pt x="545" y="1419"/>
                  <a:pt x="545" y="1418"/>
                  <a:pt x="544" y="1418"/>
                </a:cubicBezTo>
                <a:lnTo>
                  <a:pt x="538" y="1411"/>
                </a:lnTo>
                <a:cubicBezTo>
                  <a:pt x="538" y="1417"/>
                  <a:pt x="537" y="1423"/>
                  <a:pt x="535" y="1428"/>
                </a:cubicBezTo>
                <a:cubicBezTo>
                  <a:pt x="534" y="1433"/>
                  <a:pt x="531" y="1437"/>
                  <a:pt x="527" y="1441"/>
                </a:cubicBezTo>
                <a:cubicBezTo>
                  <a:pt x="523" y="1445"/>
                  <a:pt x="520" y="1447"/>
                  <a:pt x="516" y="1449"/>
                </a:cubicBezTo>
                <a:cubicBezTo>
                  <a:pt x="513" y="1451"/>
                  <a:pt x="509" y="1452"/>
                  <a:pt x="505" y="1452"/>
                </a:cubicBezTo>
                <a:cubicBezTo>
                  <a:pt x="502" y="1453"/>
                  <a:pt x="498" y="1452"/>
                  <a:pt x="495" y="1451"/>
                </a:cubicBezTo>
                <a:cubicBezTo>
                  <a:pt x="491" y="1449"/>
                  <a:pt x="488" y="1447"/>
                  <a:pt x="485" y="1444"/>
                </a:cubicBezTo>
                <a:cubicBezTo>
                  <a:pt x="481" y="1440"/>
                  <a:pt x="479" y="1436"/>
                  <a:pt x="478" y="1432"/>
                </a:cubicBezTo>
                <a:cubicBezTo>
                  <a:pt x="476" y="1428"/>
                  <a:pt x="476" y="1424"/>
                  <a:pt x="477" y="1419"/>
                </a:cubicBezTo>
                <a:cubicBezTo>
                  <a:pt x="478" y="1415"/>
                  <a:pt x="480" y="1410"/>
                  <a:pt x="483" y="1405"/>
                </a:cubicBezTo>
                <a:cubicBezTo>
                  <a:pt x="487" y="1400"/>
                  <a:pt x="491" y="1395"/>
                  <a:pt x="496" y="1390"/>
                </a:cubicBezTo>
                <a:lnTo>
                  <a:pt x="505" y="1381"/>
                </a:lnTo>
                <a:lnTo>
                  <a:pt x="500" y="1376"/>
                </a:lnTo>
                <a:cubicBezTo>
                  <a:pt x="497" y="1374"/>
                  <a:pt x="495" y="1372"/>
                  <a:pt x="492" y="1370"/>
                </a:cubicBezTo>
                <a:cubicBezTo>
                  <a:pt x="490" y="1369"/>
                  <a:pt x="487" y="1368"/>
                  <a:pt x="485" y="1368"/>
                </a:cubicBezTo>
                <a:cubicBezTo>
                  <a:pt x="482" y="1368"/>
                  <a:pt x="480" y="1369"/>
                  <a:pt x="477" y="1370"/>
                </a:cubicBezTo>
                <a:cubicBezTo>
                  <a:pt x="475" y="1371"/>
                  <a:pt x="472" y="1373"/>
                  <a:pt x="470" y="1376"/>
                </a:cubicBezTo>
                <a:cubicBezTo>
                  <a:pt x="467" y="1379"/>
                  <a:pt x="464" y="1382"/>
                  <a:pt x="463" y="1385"/>
                </a:cubicBezTo>
                <a:cubicBezTo>
                  <a:pt x="461" y="1388"/>
                  <a:pt x="460" y="1390"/>
                  <a:pt x="459" y="1393"/>
                </a:cubicBezTo>
                <a:cubicBezTo>
                  <a:pt x="458" y="1396"/>
                  <a:pt x="457" y="1398"/>
                  <a:pt x="457" y="1400"/>
                </a:cubicBezTo>
                <a:cubicBezTo>
                  <a:pt x="456" y="1402"/>
                  <a:pt x="456" y="1403"/>
                  <a:pt x="455" y="1403"/>
                </a:cubicBezTo>
                <a:cubicBezTo>
                  <a:pt x="455" y="1404"/>
                  <a:pt x="454" y="1404"/>
                  <a:pt x="454" y="1404"/>
                </a:cubicBezTo>
                <a:cubicBezTo>
                  <a:pt x="453" y="1404"/>
                  <a:pt x="453" y="1404"/>
                  <a:pt x="452" y="1404"/>
                </a:cubicBezTo>
                <a:cubicBezTo>
                  <a:pt x="452" y="1404"/>
                  <a:pt x="451" y="1404"/>
                  <a:pt x="450" y="1403"/>
                </a:cubicBezTo>
                <a:cubicBezTo>
                  <a:pt x="450" y="1403"/>
                  <a:pt x="449" y="1402"/>
                  <a:pt x="448" y="1401"/>
                </a:cubicBezTo>
                <a:cubicBezTo>
                  <a:pt x="447" y="1400"/>
                  <a:pt x="446" y="1399"/>
                  <a:pt x="446" y="1398"/>
                </a:cubicBezTo>
                <a:cubicBezTo>
                  <a:pt x="445" y="1397"/>
                  <a:pt x="445" y="1396"/>
                  <a:pt x="445" y="1395"/>
                </a:cubicBezTo>
                <a:cubicBezTo>
                  <a:pt x="445" y="1394"/>
                  <a:pt x="445" y="1392"/>
                  <a:pt x="446" y="1389"/>
                </a:cubicBezTo>
                <a:cubicBezTo>
                  <a:pt x="447" y="1387"/>
                  <a:pt x="448" y="1384"/>
                  <a:pt x="449" y="1382"/>
                </a:cubicBezTo>
                <a:cubicBezTo>
                  <a:pt x="451" y="1379"/>
                  <a:pt x="452" y="1376"/>
                  <a:pt x="454" y="1373"/>
                </a:cubicBezTo>
                <a:cubicBezTo>
                  <a:pt x="456" y="1370"/>
                  <a:pt x="459" y="1368"/>
                  <a:pt x="461" y="1365"/>
                </a:cubicBezTo>
                <a:cubicBezTo>
                  <a:pt x="466" y="1360"/>
                  <a:pt x="470" y="1357"/>
                  <a:pt x="474" y="1355"/>
                </a:cubicBezTo>
                <a:cubicBezTo>
                  <a:pt x="479" y="1353"/>
                  <a:pt x="483" y="1351"/>
                  <a:pt x="487" y="1352"/>
                </a:cubicBezTo>
                <a:cubicBezTo>
                  <a:pt x="491" y="1352"/>
                  <a:pt x="495" y="1353"/>
                  <a:pt x="499" y="1355"/>
                </a:cubicBezTo>
                <a:cubicBezTo>
                  <a:pt x="503" y="1357"/>
                  <a:pt x="507" y="1360"/>
                  <a:pt x="511" y="1364"/>
                </a:cubicBezTo>
                <a:lnTo>
                  <a:pt x="554" y="1407"/>
                </a:lnTo>
                <a:close/>
                <a:moveTo>
                  <a:pt x="513" y="1390"/>
                </a:moveTo>
                <a:lnTo>
                  <a:pt x="503" y="1400"/>
                </a:lnTo>
                <a:cubicBezTo>
                  <a:pt x="500" y="1403"/>
                  <a:pt x="497" y="1406"/>
                  <a:pt x="495" y="1409"/>
                </a:cubicBezTo>
                <a:cubicBezTo>
                  <a:pt x="494" y="1412"/>
                  <a:pt x="492" y="1415"/>
                  <a:pt x="492" y="1418"/>
                </a:cubicBezTo>
                <a:cubicBezTo>
                  <a:pt x="491" y="1420"/>
                  <a:pt x="491" y="1423"/>
                  <a:pt x="492" y="1425"/>
                </a:cubicBezTo>
                <a:cubicBezTo>
                  <a:pt x="493" y="1427"/>
                  <a:pt x="494" y="1429"/>
                  <a:pt x="496" y="1431"/>
                </a:cubicBezTo>
                <a:cubicBezTo>
                  <a:pt x="500" y="1435"/>
                  <a:pt x="503" y="1436"/>
                  <a:pt x="508" y="1436"/>
                </a:cubicBezTo>
                <a:cubicBezTo>
                  <a:pt x="512" y="1436"/>
                  <a:pt x="516" y="1434"/>
                  <a:pt x="519" y="1430"/>
                </a:cubicBezTo>
                <a:cubicBezTo>
                  <a:pt x="523" y="1427"/>
                  <a:pt x="525" y="1423"/>
                  <a:pt x="526" y="1419"/>
                </a:cubicBezTo>
                <a:cubicBezTo>
                  <a:pt x="527" y="1415"/>
                  <a:pt x="527" y="1410"/>
                  <a:pt x="527" y="1403"/>
                </a:cubicBezTo>
                <a:lnTo>
                  <a:pt x="513" y="1390"/>
                </a:lnTo>
                <a:close/>
                <a:moveTo>
                  <a:pt x="600" y="1296"/>
                </a:moveTo>
                <a:cubicBezTo>
                  <a:pt x="605" y="1301"/>
                  <a:pt x="610" y="1307"/>
                  <a:pt x="613" y="1313"/>
                </a:cubicBezTo>
                <a:cubicBezTo>
                  <a:pt x="616" y="1318"/>
                  <a:pt x="618" y="1324"/>
                  <a:pt x="619" y="1329"/>
                </a:cubicBezTo>
                <a:cubicBezTo>
                  <a:pt x="620" y="1335"/>
                  <a:pt x="619" y="1340"/>
                  <a:pt x="618" y="1345"/>
                </a:cubicBezTo>
                <a:cubicBezTo>
                  <a:pt x="616" y="1350"/>
                  <a:pt x="613" y="1355"/>
                  <a:pt x="608" y="1360"/>
                </a:cubicBezTo>
                <a:cubicBezTo>
                  <a:pt x="606" y="1362"/>
                  <a:pt x="604" y="1363"/>
                  <a:pt x="602" y="1365"/>
                </a:cubicBezTo>
                <a:cubicBezTo>
                  <a:pt x="600" y="1366"/>
                  <a:pt x="598" y="1367"/>
                  <a:pt x="595" y="1368"/>
                </a:cubicBezTo>
                <a:cubicBezTo>
                  <a:pt x="592" y="1369"/>
                  <a:pt x="590" y="1369"/>
                  <a:pt x="586" y="1370"/>
                </a:cubicBezTo>
                <a:cubicBezTo>
                  <a:pt x="583" y="1370"/>
                  <a:pt x="580" y="1370"/>
                  <a:pt x="576" y="1370"/>
                </a:cubicBezTo>
                <a:lnTo>
                  <a:pt x="584" y="1378"/>
                </a:lnTo>
                <a:cubicBezTo>
                  <a:pt x="584" y="1378"/>
                  <a:pt x="585" y="1379"/>
                  <a:pt x="585" y="1379"/>
                </a:cubicBezTo>
                <a:cubicBezTo>
                  <a:pt x="585" y="1380"/>
                  <a:pt x="585" y="1380"/>
                  <a:pt x="585" y="1381"/>
                </a:cubicBezTo>
                <a:cubicBezTo>
                  <a:pt x="584" y="1381"/>
                  <a:pt x="584" y="1382"/>
                  <a:pt x="583" y="1383"/>
                </a:cubicBezTo>
                <a:cubicBezTo>
                  <a:pt x="583" y="1383"/>
                  <a:pt x="582" y="1384"/>
                  <a:pt x="581" y="1385"/>
                </a:cubicBezTo>
                <a:cubicBezTo>
                  <a:pt x="580" y="1386"/>
                  <a:pt x="579" y="1387"/>
                  <a:pt x="578" y="1388"/>
                </a:cubicBezTo>
                <a:cubicBezTo>
                  <a:pt x="578" y="1388"/>
                  <a:pt x="577" y="1389"/>
                  <a:pt x="576" y="1389"/>
                </a:cubicBezTo>
                <a:cubicBezTo>
                  <a:pt x="576" y="1389"/>
                  <a:pt x="575" y="1389"/>
                  <a:pt x="575" y="1389"/>
                </a:cubicBezTo>
                <a:cubicBezTo>
                  <a:pt x="574" y="1389"/>
                  <a:pt x="574" y="1389"/>
                  <a:pt x="574" y="1388"/>
                </a:cubicBezTo>
                <a:lnTo>
                  <a:pt x="478" y="1292"/>
                </a:lnTo>
                <a:cubicBezTo>
                  <a:pt x="477" y="1292"/>
                  <a:pt x="477" y="1291"/>
                  <a:pt x="477" y="1291"/>
                </a:cubicBezTo>
                <a:cubicBezTo>
                  <a:pt x="477" y="1291"/>
                  <a:pt x="477" y="1290"/>
                  <a:pt x="477" y="1289"/>
                </a:cubicBezTo>
                <a:cubicBezTo>
                  <a:pt x="477" y="1289"/>
                  <a:pt x="478" y="1288"/>
                  <a:pt x="478" y="1287"/>
                </a:cubicBezTo>
                <a:cubicBezTo>
                  <a:pt x="479" y="1286"/>
                  <a:pt x="480" y="1285"/>
                  <a:pt x="481" y="1284"/>
                </a:cubicBezTo>
                <a:cubicBezTo>
                  <a:pt x="482" y="1283"/>
                  <a:pt x="483" y="1282"/>
                  <a:pt x="484" y="1281"/>
                </a:cubicBezTo>
                <a:cubicBezTo>
                  <a:pt x="485" y="1281"/>
                  <a:pt x="486" y="1280"/>
                  <a:pt x="487" y="1280"/>
                </a:cubicBezTo>
                <a:cubicBezTo>
                  <a:pt x="487" y="1280"/>
                  <a:pt x="488" y="1280"/>
                  <a:pt x="488" y="1280"/>
                </a:cubicBezTo>
                <a:cubicBezTo>
                  <a:pt x="489" y="1280"/>
                  <a:pt x="489" y="1280"/>
                  <a:pt x="489" y="1280"/>
                </a:cubicBezTo>
                <a:lnTo>
                  <a:pt x="528" y="1319"/>
                </a:lnTo>
                <a:cubicBezTo>
                  <a:pt x="528" y="1315"/>
                  <a:pt x="528" y="1312"/>
                  <a:pt x="529" y="1309"/>
                </a:cubicBezTo>
                <a:cubicBezTo>
                  <a:pt x="529" y="1305"/>
                  <a:pt x="530" y="1303"/>
                  <a:pt x="531" y="1300"/>
                </a:cubicBezTo>
                <a:cubicBezTo>
                  <a:pt x="532" y="1298"/>
                  <a:pt x="533" y="1295"/>
                  <a:pt x="534" y="1293"/>
                </a:cubicBezTo>
                <a:cubicBezTo>
                  <a:pt x="535" y="1291"/>
                  <a:pt x="537" y="1289"/>
                  <a:pt x="539" y="1287"/>
                </a:cubicBezTo>
                <a:cubicBezTo>
                  <a:pt x="544" y="1282"/>
                  <a:pt x="549" y="1279"/>
                  <a:pt x="554" y="1278"/>
                </a:cubicBezTo>
                <a:cubicBezTo>
                  <a:pt x="559" y="1276"/>
                  <a:pt x="564" y="1276"/>
                  <a:pt x="569" y="1277"/>
                </a:cubicBezTo>
                <a:cubicBezTo>
                  <a:pt x="575" y="1278"/>
                  <a:pt x="580" y="1280"/>
                  <a:pt x="585" y="1284"/>
                </a:cubicBezTo>
                <a:cubicBezTo>
                  <a:pt x="590" y="1287"/>
                  <a:pt x="595" y="1291"/>
                  <a:pt x="600" y="1296"/>
                </a:cubicBezTo>
                <a:close/>
                <a:moveTo>
                  <a:pt x="589" y="1309"/>
                </a:moveTo>
                <a:cubicBezTo>
                  <a:pt x="586" y="1306"/>
                  <a:pt x="582" y="1303"/>
                  <a:pt x="579" y="1300"/>
                </a:cubicBezTo>
                <a:cubicBezTo>
                  <a:pt x="575" y="1298"/>
                  <a:pt x="571" y="1296"/>
                  <a:pt x="568" y="1295"/>
                </a:cubicBezTo>
                <a:cubicBezTo>
                  <a:pt x="564" y="1294"/>
                  <a:pt x="560" y="1293"/>
                  <a:pt x="557" y="1294"/>
                </a:cubicBezTo>
                <a:cubicBezTo>
                  <a:pt x="553" y="1295"/>
                  <a:pt x="550" y="1296"/>
                  <a:pt x="547" y="1299"/>
                </a:cubicBezTo>
                <a:cubicBezTo>
                  <a:pt x="545" y="1301"/>
                  <a:pt x="544" y="1303"/>
                  <a:pt x="543" y="1305"/>
                </a:cubicBezTo>
                <a:cubicBezTo>
                  <a:pt x="542" y="1307"/>
                  <a:pt x="541" y="1309"/>
                  <a:pt x="541" y="1311"/>
                </a:cubicBezTo>
                <a:cubicBezTo>
                  <a:pt x="540" y="1314"/>
                  <a:pt x="540" y="1317"/>
                  <a:pt x="540" y="1320"/>
                </a:cubicBezTo>
                <a:cubicBezTo>
                  <a:pt x="540" y="1323"/>
                  <a:pt x="540" y="1327"/>
                  <a:pt x="540" y="1331"/>
                </a:cubicBezTo>
                <a:lnTo>
                  <a:pt x="566" y="1357"/>
                </a:lnTo>
                <a:cubicBezTo>
                  <a:pt x="573" y="1358"/>
                  <a:pt x="580" y="1358"/>
                  <a:pt x="585" y="1357"/>
                </a:cubicBezTo>
                <a:cubicBezTo>
                  <a:pt x="590" y="1356"/>
                  <a:pt x="594" y="1354"/>
                  <a:pt x="597" y="1351"/>
                </a:cubicBezTo>
                <a:cubicBezTo>
                  <a:pt x="600" y="1348"/>
                  <a:pt x="602" y="1344"/>
                  <a:pt x="603" y="1341"/>
                </a:cubicBezTo>
                <a:cubicBezTo>
                  <a:pt x="603" y="1337"/>
                  <a:pt x="603" y="1334"/>
                  <a:pt x="602" y="1330"/>
                </a:cubicBezTo>
                <a:cubicBezTo>
                  <a:pt x="601" y="1326"/>
                  <a:pt x="599" y="1323"/>
                  <a:pt x="597" y="1319"/>
                </a:cubicBezTo>
                <a:cubicBezTo>
                  <a:pt x="595" y="1316"/>
                  <a:pt x="592" y="1312"/>
                  <a:pt x="589" y="1309"/>
                </a:cubicBezTo>
                <a:close/>
                <a:moveTo>
                  <a:pt x="665" y="1297"/>
                </a:moveTo>
                <a:cubicBezTo>
                  <a:pt x="665" y="1298"/>
                  <a:pt x="665" y="1298"/>
                  <a:pt x="665" y="1298"/>
                </a:cubicBezTo>
                <a:cubicBezTo>
                  <a:pt x="665" y="1299"/>
                  <a:pt x="665" y="1299"/>
                  <a:pt x="665" y="1300"/>
                </a:cubicBezTo>
                <a:cubicBezTo>
                  <a:pt x="665" y="1301"/>
                  <a:pt x="664" y="1301"/>
                  <a:pt x="664" y="1302"/>
                </a:cubicBezTo>
                <a:cubicBezTo>
                  <a:pt x="663" y="1303"/>
                  <a:pt x="662" y="1304"/>
                  <a:pt x="661" y="1305"/>
                </a:cubicBezTo>
                <a:cubicBezTo>
                  <a:pt x="660" y="1307"/>
                  <a:pt x="659" y="1307"/>
                  <a:pt x="658" y="1308"/>
                </a:cubicBezTo>
                <a:cubicBezTo>
                  <a:pt x="657" y="1309"/>
                  <a:pt x="656" y="1309"/>
                  <a:pt x="656" y="1310"/>
                </a:cubicBezTo>
                <a:cubicBezTo>
                  <a:pt x="655" y="1310"/>
                  <a:pt x="654" y="1310"/>
                  <a:pt x="654" y="1310"/>
                </a:cubicBezTo>
                <a:cubicBezTo>
                  <a:pt x="654" y="1310"/>
                  <a:pt x="653" y="1309"/>
                  <a:pt x="653" y="1309"/>
                </a:cubicBezTo>
                <a:lnTo>
                  <a:pt x="557" y="1213"/>
                </a:lnTo>
                <a:cubicBezTo>
                  <a:pt x="556" y="1213"/>
                  <a:pt x="556" y="1212"/>
                  <a:pt x="556" y="1212"/>
                </a:cubicBezTo>
                <a:cubicBezTo>
                  <a:pt x="556" y="1211"/>
                  <a:pt x="556" y="1211"/>
                  <a:pt x="556" y="1210"/>
                </a:cubicBezTo>
                <a:cubicBezTo>
                  <a:pt x="557" y="1210"/>
                  <a:pt x="557" y="1209"/>
                  <a:pt x="558" y="1208"/>
                </a:cubicBezTo>
                <a:cubicBezTo>
                  <a:pt x="558" y="1207"/>
                  <a:pt x="559" y="1206"/>
                  <a:pt x="560" y="1205"/>
                </a:cubicBezTo>
                <a:cubicBezTo>
                  <a:pt x="562" y="1204"/>
                  <a:pt x="563" y="1203"/>
                  <a:pt x="563" y="1202"/>
                </a:cubicBezTo>
                <a:cubicBezTo>
                  <a:pt x="564" y="1201"/>
                  <a:pt x="565" y="1201"/>
                  <a:pt x="566" y="1201"/>
                </a:cubicBezTo>
                <a:cubicBezTo>
                  <a:pt x="566" y="1201"/>
                  <a:pt x="567" y="1200"/>
                  <a:pt x="567" y="1201"/>
                </a:cubicBezTo>
                <a:cubicBezTo>
                  <a:pt x="568" y="1201"/>
                  <a:pt x="568" y="1201"/>
                  <a:pt x="569" y="1201"/>
                </a:cubicBezTo>
                <a:lnTo>
                  <a:pt x="665" y="1297"/>
                </a:lnTo>
                <a:close/>
                <a:moveTo>
                  <a:pt x="707" y="1185"/>
                </a:moveTo>
                <a:cubicBezTo>
                  <a:pt x="709" y="1187"/>
                  <a:pt x="709" y="1188"/>
                  <a:pt x="709" y="1190"/>
                </a:cubicBezTo>
                <a:cubicBezTo>
                  <a:pt x="709" y="1192"/>
                  <a:pt x="708" y="1193"/>
                  <a:pt x="707" y="1195"/>
                </a:cubicBezTo>
                <a:lnTo>
                  <a:pt x="665" y="1237"/>
                </a:lnTo>
                <a:cubicBezTo>
                  <a:pt x="668" y="1241"/>
                  <a:pt x="672" y="1244"/>
                  <a:pt x="675" y="1246"/>
                </a:cubicBezTo>
                <a:cubicBezTo>
                  <a:pt x="679" y="1248"/>
                  <a:pt x="683" y="1249"/>
                  <a:pt x="687" y="1250"/>
                </a:cubicBezTo>
                <a:cubicBezTo>
                  <a:pt x="690" y="1250"/>
                  <a:pt x="694" y="1249"/>
                  <a:pt x="698" y="1248"/>
                </a:cubicBezTo>
                <a:cubicBezTo>
                  <a:pt x="702" y="1246"/>
                  <a:pt x="705" y="1243"/>
                  <a:pt x="709" y="1240"/>
                </a:cubicBezTo>
                <a:cubicBezTo>
                  <a:pt x="712" y="1236"/>
                  <a:pt x="715" y="1233"/>
                  <a:pt x="717" y="1231"/>
                </a:cubicBezTo>
                <a:cubicBezTo>
                  <a:pt x="719" y="1228"/>
                  <a:pt x="720" y="1225"/>
                  <a:pt x="721" y="1223"/>
                </a:cubicBezTo>
                <a:cubicBezTo>
                  <a:pt x="723" y="1220"/>
                  <a:pt x="723" y="1218"/>
                  <a:pt x="724" y="1217"/>
                </a:cubicBezTo>
                <a:cubicBezTo>
                  <a:pt x="725" y="1215"/>
                  <a:pt x="725" y="1214"/>
                  <a:pt x="726" y="1213"/>
                </a:cubicBezTo>
                <a:cubicBezTo>
                  <a:pt x="726" y="1213"/>
                  <a:pt x="727" y="1213"/>
                  <a:pt x="727" y="1213"/>
                </a:cubicBezTo>
                <a:cubicBezTo>
                  <a:pt x="727" y="1213"/>
                  <a:pt x="728" y="1213"/>
                  <a:pt x="728" y="1213"/>
                </a:cubicBezTo>
                <a:cubicBezTo>
                  <a:pt x="729" y="1213"/>
                  <a:pt x="729" y="1213"/>
                  <a:pt x="730" y="1214"/>
                </a:cubicBezTo>
                <a:cubicBezTo>
                  <a:pt x="731" y="1214"/>
                  <a:pt x="732" y="1215"/>
                  <a:pt x="732" y="1216"/>
                </a:cubicBezTo>
                <a:cubicBezTo>
                  <a:pt x="733" y="1217"/>
                  <a:pt x="734" y="1217"/>
                  <a:pt x="734" y="1218"/>
                </a:cubicBezTo>
                <a:cubicBezTo>
                  <a:pt x="734" y="1218"/>
                  <a:pt x="735" y="1219"/>
                  <a:pt x="735" y="1219"/>
                </a:cubicBezTo>
                <a:cubicBezTo>
                  <a:pt x="735" y="1219"/>
                  <a:pt x="735" y="1220"/>
                  <a:pt x="736" y="1220"/>
                </a:cubicBezTo>
                <a:cubicBezTo>
                  <a:pt x="736" y="1221"/>
                  <a:pt x="736" y="1221"/>
                  <a:pt x="736" y="1222"/>
                </a:cubicBezTo>
                <a:cubicBezTo>
                  <a:pt x="736" y="1222"/>
                  <a:pt x="735" y="1224"/>
                  <a:pt x="735" y="1225"/>
                </a:cubicBezTo>
                <a:cubicBezTo>
                  <a:pt x="734" y="1227"/>
                  <a:pt x="733" y="1230"/>
                  <a:pt x="731" y="1232"/>
                </a:cubicBezTo>
                <a:cubicBezTo>
                  <a:pt x="730" y="1235"/>
                  <a:pt x="728" y="1238"/>
                  <a:pt x="726" y="1241"/>
                </a:cubicBezTo>
                <a:cubicBezTo>
                  <a:pt x="724" y="1244"/>
                  <a:pt x="721" y="1247"/>
                  <a:pt x="718" y="1250"/>
                </a:cubicBezTo>
                <a:cubicBezTo>
                  <a:pt x="713" y="1256"/>
                  <a:pt x="707" y="1259"/>
                  <a:pt x="702" y="1262"/>
                </a:cubicBezTo>
                <a:cubicBezTo>
                  <a:pt x="696" y="1265"/>
                  <a:pt x="691" y="1266"/>
                  <a:pt x="685" y="1265"/>
                </a:cubicBezTo>
                <a:cubicBezTo>
                  <a:pt x="679" y="1265"/>
                  <a:pt x="674" y="1264"/>
                  <a:pt x="668" y="1261"/>
                </a:cubicBezTo>
                <a:cubicBezTo>
                  <a:pt x="662" y="1258"/>
                  <a:pt x="656" y="1253"/>
                  <a:pt x="650" y="1247"/>
                </a:cubicBezTo>
                <a:cubicBezTo>
                  <a:pt x="645" y="1242"/>
                  <a:pt x="641" y="1236"/>
                  <a:pt x="638" y="1230"/>
                </a:cubicBezTo>
                <a:cubicBezTo>
                  <a:pt x="635" y="1224"/>
                  <a:pt x="633" y="1219"/>
                  <a:pt x="632" y="1213"/>
                </a:cubicBezTo>
                <a:cubicBezTo>
                  <a:pt x="632" y="1207"/>
                  <a:pt x="633" y="1201"/>
                  <a:pt x="635" y="1196"/>
                </a:cubicBezTo>
                <a:cubicBezTo>
                  <a:pt x="637" y="1190"/>
                  <a:pt x="641" y="1185"/>
                  <a:pt x="646" y="1181"/>
                </a:cubicBezTo>
                <a:cubicBezTo>
                  <a:pt x="651" y="1175"/>
                  <a:pt x="656" y="1172"/>
                  <a:pt x="661" y="1170"/>
                </a:cubicBezTo>
                <a:cubicBezTo>
                  <a:pt x="666" y="1168"/>
                  <a:pt x="671" y="1167"/>
                  <a:pt x="676" y="1168"/>
                </a:cubicBezTo>
                <a:cubicBezTo>
                  <a:pt x="681" y="1168"/>
                  <a:pt x="686" y="1170"/>
                  <a:pt x="691" y="1172"/>
                </a:cubicBezTo>
                <a:cubicBezTo>
                  <a:pt x="696" y="1175"/>
                  <a:pt x="700" y="1178"/>
                  <a:pt x="705" y="1183"/>
                </a:cubicBezTo>
                <a:lnTo>
                  <a:pt x="707" y="1185"/>
                </a:lnTo>
                <a:close/>
                <a:moveTo>
                  <a:pt x="691" y="1193"/>
                </a:moveTo>
                <a:cubicBezTo>
                  <a:pt x="685" y="1187"/>
                  <a:pt x="679" y="1183"/>
                  <a:pt x="672" y="1183"/>
                </a:cubicBezTo>
                <a:cubicBezTo>
                  <a:pt x="666" y="1182"/>
                  <a:pt x="660" y="1185"/>
                  <a:pt x="654" y="1190"/>
                </a:cubicBezTo>
                <a:cubicBezTo>
                  <a:pt x="651" y="1193"/>
                  <a:pt x="649" y="1196"/>
                  <a:pt x="648" y="1200"/>
                </a:cubicBezTo>
                <a:cubicBezTo>
                  <a:pt x="647" y="1203"/>
                  <a:pt x="647" y="1206"/>
                  <a:pt x="647" y="1210"/>
                </a:cubicBezTo>
                <a:cubicBezTo>
                  <a:pt x="647" y="1213"/>
                  <a:pt x="648" y="1216"/>
                  <a:pt x="650" y="1220"/>
                </a:cubicBezTo>
                <a:cubicBezTo>
                  <a:pt x="651" y="1223"/>
                  <a:pt x="653" y="1226"/>
                  <a:pt x="656" y="1228"/>
                </a:cubicBezTo>
                <a:lnTo>
                  <a:pt x="691" y="1193"/>
                </a:lnTo>
                <a:close/>
                <a:moveTo>
                  <a:pt x="789" y="1138"/>
                </a:moveTo>
                <a:cubicBezTo>
                  <a:pt x="792" y="1141"/>
                  <a:pt x="795" y="1145"/>
                  <a:pt x="796" y="1148"/>
                </a:cubicBezTo>
                <a:cubicBezTo>
                  <a:pt x="797" y="1152"/>
                  <a:pt x="798" y="1156"/>
                  <a:pt x="797" y="1160"/>
                </a:cubicBezTo>
                <a:cubicBezTo>
                  <a:pt x="797" y="1164"/>
                  <a:pt x="795" y="1168"/>
                  <a:pt x="793" y="1172"/>
                </a:cubicBezTo>
                <a:cubicBezTo>
                  <a:pt x="791" y="1176"/>
                  <a:pt x="788" y="1180"/>
                  <a:pt x="784" y="1184"/>
                </a:cubicBezTo>
                <a:cubicBezTo>
                  <a:pt x="782" y="1186"/>
                  <a:pt x="780" y="1188"/>
                  <a:pt x="777" y="1190"/>
                </a:cubicBezTo>
                <a:cubicBezTo>
                  <a:pt x="775" y="1192"/>
                  <a:pt x="772" y="1193"/>
                  <a:pt x="770" y="1194"/>
                </a:cubicBezTo>
                <a:cubicBezTo>
                  <a:pt x="768" y="1195"/>
                  <a:pt x="766" y="1196"/>
                  <a:pt x="764" y="1197"/>
                </a:cubicBezTo>
                <a:cubicBezTo>
                  <a:pt x="763" y="1197"/>
                  <a:pt x="761" y="1197"/>
                  <a:pt x="760" y="1197"/>
                </a:cubicBezTo>
                <a:cubicBezTo>
                  <a:pt x="759" y="1198"/>
                  <a:pt x="758" y="1197"/>
                  <a:pt x="757" y="1197"/>
                </a:cubicBezTo>
                <a:cubicBezTo>
                  <a:pt x="756" y="1196"/>
                  <a:pt x="755" y="1195"/>
                  <a:pt x="753" y="1193"/>
                </a:cubicBezTo>
                <a:cubicBezTo>
                  <a:pt x="752" y="1193"/>
                  <a:pt x="751" y="1192"/>
                  <a:pt x="751" y="1191"/>
                </a:cubicBezTo>
                <a:cubicBezTo>
                  <a:pt x="750" y="1190"/>
                  <a:pt x="750" y="1190"/>
                  <a:pt x="750" y="1189"/>
                </a:cubicBezTo>
                <a:cubicBezTo>
                  <a:pt x="750" y="1189"/>
                  <a:pt x="749" y="1188"/>
                  <a:pt x="750" y="1188"/>
                </a:cubicBezTo>
                <a:cubicBezTo>
                  <a:pt x="750" y="1187"/>
                  <a:pt x="750" y="1187"/>
                  <a:pt x="750" y="1187"/>
                </a:cubicBezTo>
                <a:cubicBezTo>
                  <a:pt x="751" y="1186"/>
                  <a:pt x="752" y="1186"/>
                  <a:pt x="754" y="1185"/>
                </a:cubicBezTo>
                <a:cubicBezTo>
                  <a:pt x="755" y="1185"/>
                  <a:pt x="757" y="1184"/>
                  <a:pt x="759" y="1184"/>
                </a:cubicBezTo>
                <a:cubicBezTo>
                  <a:pt x="762" y="1183"/>
                  <a:pt x="764" y="1182"/>
                  <a:pt x="767" y="1180"/>
                </a:cubicBezTo>
                <a:cubicBezTo>
                  <a:pt x="770" y="1179"/>
                  <a:pt x="772" y="1177"/>
                  <a:pt x="775" y="1174"/>
                </a:cubicBezTo>
                <a:cubicBezTo>
                  <a:pt x="777" y="1172"/>
                  <a:pt x="779" y="1170"/>
                  <a:pt x="780" y="1168"/>
                </a:cubicBezTo>
                <a:cubicBezTo>
                  <a:pt x="781" y="1166"/>
                  <a:pt x="782" y="1164"/>
                  <a:pt x="782" y="1162"/>
                </a:cubicBezTo>
                <a:cubicBezTo>
                  <a:pt x="783" y="1160"/>
                  <a:pt x="782" y="1158"/>
                  <a:pt x="782" y="1156"/>
                </a:cubicBezTo>
                <a:cubicBezTo>
                  <a:pt x="781" y="1154"/>
                  <a:pt x="780" y="1152"/>
                  <a:pt x="778" y="1150"/>
                </a:cubicBezTo>
                <a:cubicBezTo>
                  <a:pt x="776" y="1149"/>
                  <a:pt x="774" y="1147"/>
                  <a:pt x="772" y="1147"/>
                </a:cubicBezTo>
                <a:cubicBezTo>
                  <a:pt x="770" y="1147"/>
                  <a:pt x="768" y="1147"/>
                  <a:pt x="765" y="1148"/>
                </a:cubicBezTo>
                <a:cubicBezTo>
                  <a:pt x="763" y="1148"/>
                  <a:pt x="760" y="1149"/>
                  <a:pt x="757" y="1150"/>
                </a:cubicBezTo>
                <a:cubicBezTo>
                  <a:pt x="755" y="1151"/>
                  <a:pt x="752" y="1153"/>
                  <a:pt x="749" y="1154"/>
                </a:cubicBezTo>
                <a:cubicBezTo>
                  <a:pt x="746" y="1155"/>
                  <a:pt x="743" y="1156"/>
                  <a:pt x="740" y="1157"/>
                </a:cubicBezTo>
                <a:cubicBezTo>
                  <a:pt x="737" y="1158"/>
                  <a:pt x="734" y="1158"/>
                  <a:pt x="731" y="1158"/>
                </a:cubicBezTo>
                <a:cubicBezTo>
                  <a:pt x="728" y="1158"/>
                  <a:pt x="725" y="1158"/>
                  <a:pt x="722" y="1157"/>
                </a:cubicBezTo>
                <a:cubicBezTo>
                  <a:pt x="719" y="1156"/>
                  <a:pt x="716" y="1154"/>
                  <a:pt x="714" y="1151"/>
                </a:cubicBezTo>
                <a:cubicBezTo>
                  <a:pt x="711" y="1148"/>
                  <a:pt x="709" y="1145"/>
                  <a:pt x="708" y="1142"/>
                </a:cubicBezTo>
                <a:cubicBezTo>
                  <a:pt x="706" y="1139"/>
                  <a:pt x="706" y="1135"/>
                  <a:pt x="706" y="1132"/>
                </a:cubicBezTo>
                <a:cubicBezTo>
                  <a:pt x="706" y="1128"/>
                  <a:pt x="707" y="1124"/>
                  <a:pt x="709" y="1120"/>
                </a:cubicBezTo>
                <a:cubicBezTo>
                  <a:pt x="711" y="1116"/>
                  <a:pt x="714" y="1112"/>
                  <a:pt x="718" y="1108"/>
                </a:cubicBezTo>
                <a:cubicBezTo>
                  <a:pt x="720" y="1106"/>
                  <a:pt x="722" y="1105"/>
                  <a:pt x="724" y="1103"/>
                </a:cubicBezTo>
                <a:cubicBezTo>
                  <a:pt x="726" y="1102"/>
                  <a:pt x="728" y="1101"/>
                  <a:pt x="729" y="1100"/>
                </a:cubicBezTo>
                <a:cubicBezTo>
                  <a:pt x="731" y="1099"/>
                  <a:pt x="733" y="1098"/>
                  <a:pt x="734" y="1098"/>
                </a:cubicBezTo>
                <a:cubicBezTo>
                  <a:pt x="736" y="1097"/>
                  <a:pt x="737" y="1097"/>
                  <a:pt x="738" y="1097"/>
                </a:cubicBezTo>
                <a:cubicBezTo>
                  <a:pt x="739" y="1097"/>
                  <a:pt x="739" y="1097"/>
                  <a:pt x="740" y="1097"/>
                </a:cubicBezTo>
                <a:cubicBezTo>
                  <a:pt x="740" y="1097"/>
                  <a:pt x="741" y="1097"/>
                  <a:pt x="741" y="1097"/>
                </a:cubicBezTo>
                <a:cubicBezTo>
                  <a:pt x="742" y="1098"/>
                  <a:pt x="742" y="1098"/>
                  <a:pt x="743" y="1098"/>
                </a:cubicBezTo>
                <a:cubicBezTo>
                  <a:pt x="743" y="1099"/>
                  <a:pt x="744" y="1099"/>
                  <a:pt x="745" y="1100"/>
                </a:cubicBezTo>
                <a:cubicBezTo>
                  <a:pt x="746" y="1101"/>
                  <a:pt x="746" y="1102"/>
                  <a:pt x="747" y="1102"/>
                </a:cubicBezTo>
                <a:cubicBezTo>
                  <a:pt x="747" y="1103"/>
                  <a:pt x="748" y="1104"/>
                  <a:pt x="748" y="1104"/>
                </a:cubicBezTo>
                <a:cubicBezTo>
                  <a:pt x="748" y="1105"/>
                  <a:pt x="748" y="1105"/>
                  <a:pt x="748" y="1106"/>
                </a:cubicBezTo>
                <a:cubicBezTo>
                  <a:pt x="748" y="1106"/>
                  <a:pt x="748" y="1106"/>
                  <a:pt x="748" y="1107"/>
                </a:cubicBezTo>
                <a:cubicBezTo>
                  <a:pt x="747" y="1107"/>
                  <a:pt x="746" y="1108"/>
                  <a:pt x="745" y="1108"/>
                </a:cubicBezTo>
                <a:cubicBezTo>
                  <a:pt x="744" y="1108"/>
                  <a:pt x="742" y="1109"/>
                  <a:pt x="740" y="1109"/>
                </a:cubicBezTo>
                <a:cubicBezTo>
                  <a:pt x="738" y="1110"/>
                  <a:pt x="736" y="1111"/>
                  <a:pt x="734" y="1112"/>
                </a:cubicBezTo>
                <a:cubicBezTo>
                  <a:pt x="732" y="1113"/>
                  <a:pt x="729" y="1115"/>
                  <a:pt x="727" y="1117"/>
                </a:cubicBezTo>
                <a:cubicBezTo>
                  <a:pt x="725" y="1119"/>
                  <a:pt x="723" y="1121"/>
                  <a:pt x="722" y="1123"/>
                </a:cubicBezTo>
                <a:cubicBezTo>
                  <a:pt x="721" y="1125"/>
                  <a:pt x="721" y="1127"/>
                  <a:pt x="721" y="1129"/>
                </a:cubicBezTo>
                <a:cubicBezTo>
                  <a:pt x="720" y="1131"/>
                  <a:pt x="721" y="1133"/>
                  <a:pt x="721" y="1134"/>
                </a:cubicBezTo>
                <a:cubicBezTo>
                  <a:pt x="722" y="1136"/>
                  <a:pt x="723" y="1137"/>
                  <a:pt x="724" y="1139"/>
                </a:cubicBezTo>
                <a:cubicBezTo>
                  <a:pt x="726" y="1141"/>
                  <a:pt x="728" y="1142"/>
                  <a:pt x="730" y="1142"/>
                </a:cubicBezTo>
                <a:cubicBezTo>
                  <a:pt x="733" y="1142"/>
                  <a:pt x="735" y="1142"/>
                  <a:pt x="738" y="1142"/>
                </a:cubicBezTo>
                <a:cubicBezTo>
                  <a:pt x="740" y="1141"/>
                  <a:pt x="743" y="1140"/>
                  <a:pt x="745" y="1139"/>
                </a:cubicBezTo>
                <a:cubicBezTo>
                  <a:pt x="748" y="1138"/>
                  <a:pt x="751" y="1137"/>
                  <a:pt x="754" y="1135"/>
                </a:cubicBezTo>
                <a:cubicBezTo>
                  <a:pt x="757" y="1134"/>
                  <a:pt x="759" y="1133"/>
                  <a:pt x="762" y="1132"/>
                </a:cubicBezTo>
                <a:cubicBezTo>
                  <a:pt x="765" y="1131"/>
                  <a:pt x="768" y="1131"/>
                  <a:pt x="771" y="1130"/>
                </a:cubicBezTo>
                <a:cubicBezTo>
                  <a:pt x="774" y="1130"/>
                  <a:pt x="777" y="1131"/>
                  <a:pt x="780" y="1132"/>
                </a:cubicBezTo>
                <a:cubicBezTo>
                  <a:pt x="783" y="1133"/>
                  <a:pt x="786" y="1135"/>
                  <a:pt x="789" y="1138"/>
                </a:cubicBezTo>
                <a:close/>
                <a:moveTo>
                  <a:pt x="895" y="1060"/>
                </a:moveTo>
                <a:cubicBezTo>
                  <a:pt x="896" y="1061"/>
                  <a:pt x="896" y="1062"/>
                  <a:pt x="897" y="1063"/>
                </a:cubicBezTo>
                <a:cubicBezTo>
                  <a:pt x="898" y="1063"/>
                  <a:pt x="898" y="1064"/>
                  <a:pt x="898" y="1065"/>
                </a:cubicBezTo>
                <a:cubicBezTo>
                  <a:pt x="898" y="1066"/>
                  <a:pt x="898" y="1066"/>
                  <a:pt x="898" y="1067"/>
                </a:cubicBezTo>
                <a:cubicBezTo>
                  <a:pt x="898" y="1067"/>
                  <a:pt x="898" y="1068"/>
                  <a:pt x="897" y="1068"/>
                </a:cubicBezTo>
                <a:lnTo>
                  <a:pt x="853" y="1113"/>
                </a:lnTo>
                <a:cubicBezTo>
                  <a:pt x="852" y="1114"/>
                  <a:pt x="850" y="1114"/>
                  <a:pt x="849" y="1115"/>
                </a:cubicBezTo>
                <a:cubicBezTo>
                  <a:pt x="847" y="1115"/>
                  <a:pt x="845" y="1114"/>
                  <a:pt x="843" y="1112"/>
                </a:cubicBezTo>
                <a:lnTo>
                  <a:pt x="760" y="1029"/>
                </a:lnTo>
                <a:cubicBezTo>
                  <a:pt x="758" y="1027"/>
                  <a:pt x="758" y="1026"/>
                  <a:pt x="758" y="1024"/>
                </a:cubicBezTo>
                <a:cubicBezTo>
                  <a:pt x="758" y="1022"/>
                  <a:pt x="759" y="1021"/>
                  <a:pt x="760" y="1020"/>
                </a:cubicBezTo>
                <a:lnTo>
                  <a:pt x="804" y="976"/>
                </a:lnTo>
                <a:cubicBezTo>
                  <a:pt x="804" y="975"/>
                  <a:pt x="805" y="975"/>
                  <a:pt x="805" y="975"/>
                </a:cubicBezTo>
                <a:cubicBezTo>
                  <a:pt x="806" y="975"/>
                  <a:pt x="806" y="975"/>
                  <a:pt x="807" y="975"/>
                </a:cubicBezTo>
                <a:cubicBezTo>
                  <a:pt x="808" y="975"/>
                  <a:pt x="808" y="976"/>
                  <a:pt x="809" y="976"/>
                </a:cubicBezTo>
                <a:cubicBezTo>
                  <a:pt x="810" y="977"/>
                  <a:pt x="811" y="977"/>
                  <a:pt x="812" y="978"/>
                </a:cubicBezTo>
                <a:cubicBezTo>
                  <a:pt x="813" y="979"/>
                  <a:pt x="813" y="980"/>
                  <a:pt x="814" y="981"/>
                </a:cubicBezTo>
                <a:cubicBezTo>
                  <a:pt x="814" y="982"/>
                  <a:pt x="815" y="982"/>
                  <a:pt x="815" y="983"/>
                </a:cubicBezTo>
                <a:cubicBezTo>
                  <a:pt x="815" y="983"/>
                  <a:pt x="815" y="984"/>
                  <a:pt x="815" y="984"/>
                </a:cubicBezTo>
                <a:cubicBezTo>
                  <a:pt x="815" y="985"/>
                  <a:pt x="815" y="985"/>
                  <a:pt x="814" y="986"/>
                </a:cubicBezTo>
                <a:lnTo>
                  <a:pt x="778" y="1022"/>
                </a:lnTo>
                <a:lnTo>
                  <a:pt x="807" y="1051"/>
                </a:lnTo>
                <a:lnTo>
                  <a:pt x="838" y="1020"/>
                </a:lnTo>
                <a:cubicBezTo>
                  <a:pt x="839" y="1020"/>
                  <a:pt x="839" y="1019"/>
                  <a:pt x="840" y="1019"/>
                </a:cubicBezTo>
                <a:cubicBezTo>
                  <a:pt x="840" y="1019"/>
                  <a:pt x="841" y="1019"/>
                  <a:pt x="841" y="1020"/>
                </a:cubicBezTo>
                <a:cubicBezTo>
                  <a:pt x="842" y="1020"/>
                  <a:pt x="843" y="1020"/>
                  <a:pt x="843" y="1021"/>
                </a:cubicBezTo>
                <a:cubicBezTo>
                  <a:pt x="844" y="1021"/>
                  <a:pt x="845" y="1022"/>
                  <a:pt x="846" y="1023"/>
                </a:cubicBezTo>
                <a:cubicBezTo>
                  <a:pt x="847" y="1024"/>
                  <a:pt x="847" y="1024"/>
                  <a:pt x="848" y="1025"/>
                </a:cubicBezTo>
                <a:cubicBezTo>
                  <a:pt x="848" y="1026"/>
                  <a:pt x="849" y="1027"/>
                  <a:pt x="849" y="1027"/>
                </a:cubicBezTo>
                <a:cubicBezTo>
                  <a:pt x="849" y="1028"/>
                  <a:pt x="849" y="1028"/>
                  <a:pt x="849" y="1029"/>
                </a:cubicBezTo>
                <a:cubicBezTo>
                  <a:pt x="849" y="1029"/>
                  <a:pt x="849" y="1030"/>
                  <a:pt x="848" y="1030"/>
                </a:cubicBezTo>
                <a:lnTo>
                  <a:pt x="817" y="1061"/>
                </a:lnTo>
                <a:lnTo>
                  <a:pt x="850" y="1095"/>
                </a:lnTo>
                <a:lnTo>
                  <a:pt x="887" y="1058"/>
                </a:lnTo>
                <a:cubicBezTo>
                  <a:pt x="888" y="1057"/>
                  <a:pt x="888" y="1057"/>
                  <a:pt x="888" y="1057"/>
                </a:cubicBezTo>
                <a:cubicBezTo>
                  <a:pt x="889" y="1057"/>
                  <a:pt x="890" y="1057"/>
                  <a:pt x="890" y="1057"/>
                </a:cubicBezTo>
                <a:cubicBezTo>
                  <a:pt x="891" y="1057"/>
                  <a:pt x="892" y="1058"/>
                  <a:pt x="892" y="1058"/>
                </a:cubicBezTo>
                <a:cubicBezTo>
                  <a:pt x="893" y="1059"/>
                  <a:pt x="894" y="1059"/>
                  <a:pt x="895" y="1060"/>
                </a:cubicBezTo>
                <a:close/>
                <a:moveTo>
                  <a:pt x="969" y="993"/>
                </a:moveTo>
                <a:cubicBezTo>
                  <a:pt x="969" y="994"/>
                  <a:pt x="969" y="994"/>
                  <a:pt x="969" y="994"/>
                </a:cubicBezTo>
                <a:cubicBezTo>
                  <a:pt x="969" y="995"/>
                  <a:pt x="969" y="995"/>
                  <a:pt x="969" y="996"/>
                </a:cubicBezTo>
                <a:cubicBezTo>
                  <a:pt x="969" y="997"/>
                  <a:pt x="968" y="997"/>
                  <a:pt x="968" y="998"/>
                </a:cubicBezTo>
                <a:cubicBezTo>
                  <a:pt x="967" y="999"/>
                  <a:pt x="966" y="1000"/>
                  <a:pt x="965" y="1001"/>
                </a:cubicBezTo>
                <a:cubicBezTo>
                  <a:pt x="964" y="1002"/>
                  <a:pt x="963" y="1003"/>
                  <a:pt x="962" y="1004"/>
                </a:cubicBezTo>
                <a:cubicBezTo>
                  <a:pt x="961" y="1005"/>
                  <a:pt x="960" y="1005"/>
                  <a:pt x="960" y="1005"/>
                </a:cubicBezTo>
                <a:cubicBezTo>
                  <a:pt x="959" y="1006"/>
                  <a:pt x="958" y="1006"/>
                  <a:pt x="958" y="1006"/>
                </a:cubicBezTo>
                <a:cubicBezTo>
                  <a:pt x="958" y="1006"/>
                  <a:pt x="957" y="1005"/>
                  <a:pt x="957" y="1005"/>
                </a:cubicBezTo>
                <a:lnTo>
                  <a:pt x="919" y="967"/>
                </a:lnTo>
                <a:cubicBezTo>
                  <a:pt x="915" y="963"/>
                  <a:pt x="912" y="961"/>
                  <a:pt x="909" y="959"/>
                </a:cubicBezTo>
                <a:cubicBezTo>
                  <a:pt x="906" y="957"/>
                  <a:pt x="904" y="956"/>
                  <a:pt x="901" y="956"/>
                </a:cubicBezTo>
                <a:cubicBezTo>
                  <a:pt x="898" y="955"/>
                  <a:pt x="895" y="955"/>
                  <a:pt x="893" y="956"/>
                </a:cubicBezTo>
                <a:cubicBezTo>
                  <a:pt x="890" y="957"/>
                  <a:pt x="888" y="959"/>
                  <a:pt x="885" y="961"/>
                </a:cubicBezTo>
                <a:cubicBezTo>
                  <a:pt x="882" y="964"/>
                  <a:pt x="881" y="968"/>
                  <a:pt x="880" y="973"/>
                </a:cubicBezTo>
                <a:cubicBezTo>
                  <a:pt x="879" y="978"/>
                  <a:pt x="879" y="984"/>
                  <a:pt x="880" y="992"/>
                </a:cubicBezTo>
                <a:lnTo>
                  <a:pt x="925" y="1037"/>
                </a:lnTo>
                <a:cubicBezTo>
                  <a:pt x="925" y="1037"/>
                  <a:pt x="925" y="1038"/>
                  <a:pt x="926" y="1038"/>
                </a:cubicBezTo>
                <a:cubicBezTo>
                  <a:pt x="926" y="1039"/>
                  <a:pt x="925" y="1039"/>
                  <a:pt x="925" y="1040"/>
                </a:cubicBezTo>
                <a:cubicBezTo>
                  <a:pt x="925" y="1040"/>
                  <a:pt x="925" y="1041"/>
                  <a:pt x="924" y="1042"/>
                </a:cubicBezTo>
                <a:cubicBezTo>
                  <a:pt x="923" y="1043"/>
                  <a:pt x="922" y="1044"/>
                  <a:pt x="921" y="1045"/>
                </a:cubicBezTo>
                <a:cubicBezTo>
                  <a:pt x="920" y="1046"/>
                  <a:pt x="919" y="1047"/>
                  <a:pt x="918" y="1048"/>
                </a:cubicBezTo>
                <a:cubicBezTo>
                  <a:pt x="917" y="1049"/>
                  <a:pt x="916" y="1049"/>
                  <a:pt x="916" y="1049"/>
                </a:cubicBezTo>
                <a:cubicBezTo>
                  <a:pt x="915" y="1050"/>
                  <a:pt x="915" y="1050"/>
                  <a:pt x="914" y="1050"/>
                </a:cubicBezTo>
                <a:cubicBezTo>
                  <a:pt x="914" y="1049"/>
                  <a:pt x="913" y="1049"/>
                  <a:pt x="913" y="1049"/>
                </a:cubicBezTo>
                <a:lnTo>
                  <a:pt x="848" y="984"/>
                </a:lnTo>
                <a:cubicBezTo>
                  <a:pt x="848" y="984"/>
                  <a:pt x="848" y="983"/>
                  <a:pt x="848" y="983"/>
                </a:cubicBezTo>
                <a:cubicBezTo>
                  <a:pt x="847" y="983"/>
                  <a:pt x="848" y="982"/>
                  <a:pt x="848" y="981"/>
                </a:cubicBezTo>
                <a:cubicBezTo>
                  <a:pt x="848" y="981"/>
                  <a:pt x="848" y="980"/>
                  <a:pt x="849" y="979"/>
                </a:cubicBezTo>
                <a:cubicBezTo>
                  <a:pt x="850" y="979"/>
                  <a:pt x="850" y="978"/>
                  <a:pt x="851" y="977"/>
                </a:cubicBezTo>
                <a:cubicBezTo>
                  <a:pt x="853" y="976"/>
                  <a:pt x="853" y="975"/>
                  <a:pt x="854" y="974"/>
                </a:cubicBezTo>
                <a:cubicBezTo>
                  <a:pt x="855" y="973"/>
                  <a:pt x="856" y="973"/>
                  <a:pt x="856" y="973"/>
                </a:cubicBezTo>
                <a:cubicBezTo>
                  <a:pt x="857" y="973"/>
                  <a:pt x="857" y="973"/>
                  <a:pt x="858" y="973"/>
                </a:cubicBezTo>
                <a:cubicBezTo>
                  <a:pt x="858" y="973"/>
                  <a:pt x="859" y="973"/>
                  <a:pt x="859" y="973"/>
                </a:cubicBezTo>
                <a:lnTo>
                  <a:pt x="868" y="982"/>
                </a:lnTo>
                <a:cubicBezTo>
                  <a:pt x="867" y="974"/>
                  <a:pt x="868" y="968"/>
                  <a:pt x="870" y="962"/>
                </a:cubicBezTo>
                <a:cubicBezTo>
                  <a:pt x="871" y="957"/>
                  <a:pt x="874" y="952"/>
                  <a:pt x="878" y="948"/>
                </a:cubicBezTo>
                <a:cubicBezTo>
                  <a:pt x="882" y="944"/>
                  <a:pt x="886" y="941"/>
                  <a:pt x="891" y="940"/>
                </a:cubicBezTo>
                <a:cubicBezTo>
                  <a:pt x="895" y="938"/>
                  <a:pt x="899" y="938"/>
                  <a:pt x="904" y="938"/>
                </a:cubicBezTo>
                <a:cubicBezTo>
                  <a:pt x="908" y="939"/>
                  <a:pt x="912" y="941"/>
                  <a:pt x="916" y="943"/>
                </a:cubicBezTo>
                <a:cubicBezTo>
                  <a:pt x="920" y="946"/>
                  <a:pt x="925" y="949"/>
                  <a:pt x="929" y="954"/>
                </a:cubicBezTo>
                <a:lnTo>
                  <a:pt x="969" y="993"/>
                </a:lnTo>
                <a:close/>
                <a:moveTo>
                  <a:pt x="1012" y="879"/>
                </a:moveTo>
                <a:cubicBezTo>
                  <a:pt x="1014" y="881"/>
                  <a:pt x="1015" y="883"/>
                  <a:pt x="1015" y="885"/>
                </a:cubicBezTo>
                <a:cubicBezTo>
                  <a:pt x="1015" y="886"/>
                  <a:pt x="1014" y="888"/>
                  <a:pt x="1013" y="889"/>
                </a:cubicBezTo>
                <a:lnTo>
                  <a:pt x="970" y="932"/>
                </a:lnTo>
                <a:cubicBezTo>
                  <a:pt x="974" y="935"/>
                  <a:pt x="977" y="938"/>
                  <a:pt x="981" y="940"/>
                </a:cubicBezTo>
                <a:cubicBezTo>
                  <a:pt x="985" y="942"/>
                  <a:pt x="988" y="944"/>
                  <a:pt x="992" y="944"/>
                </a:cubicBezTo>
                <a:cubicBezTo>
                  <a:pt x="996" y="944"/>
                  <a:pt x="999" y="944"/>
                  <a:pt x="1003" y="942"/>
                </a:cubicBezTo>
                <a:cubicBezTo>
                  <a:pt x="1007" y="941"/>
                  <a:pt x="1011" y="938"/>
                  <a:pt x="1015" y="934"/>
                </a:cubicBezTo>
                <a:cubicBezTo>
                  <a:pt x="1018" y="931"/>
                  <a:pt x="1020" y="928"/>
                  <a:pt x="1022" y="925"/>
                </a:cubicBezTo>
                <a:cubicBezTo>
                  <a:pt x="1024" y="922"/>
                  <a:pt x="1026" y="920"/>
                  <a:pt x="1027" y="917"/>
                </a:cubicBezTo>
                <a:cubicBezTo>
                  <a:pt x="1028" y="915"/>
                  <a:pt x="1029" y="913"/>
                  <a:pt x="1029" y="911"/>
                </a:cubicBezTo>
                <a:cubicBezTo>
                  <a:pt x="1030" y="909"/>
                  <a:pt x="1031" y="908"/>
                  <a:pt x="1031" y="908"/>
                </a:cubicBezTo>
                <a:cubicBezTo>
                  <a:pt x="1032" y="907"/>
                  <a:pt x="1032" y="907"/>
                  <a:pt x="1032" y="907"/>
                </a:cubicBezTo>
                <a:cubicBezTo>
                  <a:pt x="1033" y="907"/>
                  <a:pt x="1033" y="907"/>
                  <a:pt x="1034" y="907"/>
                </a:cubicBezTo>
                <a:cubicBezTo>
                  <a:pt x="1034" y="907"/>
                  <a:pt x="1035" y="908"/>
                  <a:pt x="1036" y="908"/>
                </a:cubicBezTo>
                <a:cubicBezTo>
                  <a:pt x="1036" y="909"/>
                  <a:pt x="1037" y="910"/>
                  <a:pt x="1038" y="910"/>
                </a:cubicBezTo>
                <a:cubicBezTo>
                  <a:pt x="1038" y="911"/>
                  <a:pt x="1039" y="912"/>
                  <a:pt x="1039" y="912"/>
                </a:cubicBezTo>
                <a:cubicBezTo>
                  <a:pt x="1040" y="913"/>
                  <a:pt x="1040" y="913"/>
                  <a:pt x="1040" y="914"/>
                </a:cubicBezTo>
                <a:cubicBezTo>
                  <a:pt x="1041" y="914"/>
                  <a:pt x="1041" y="914"/>
                  <a:pt x="1041" y="915"/>
                </a:cubicBezTo>
                <a:cubicBezTo>
                  <a:pt x="1041" y="915"/>
                  <a:pt x="1041" y="916"/>
                  <a:pt x="1041" y="916"/>
                </a:cubicBezTo>
                <a:cubicBezTo>
                  <a:pt x="1041" y="917"/>
                  <a:pt x="1041" y="918"/>
                  <a:pt x="1040" y="920"/>
                </a:cubicBezTo>
                <a:cubicBezTo>
                  <a:pt x="1039" y="922"/>
                  <a:pt x="1038" y="924"/>
                  <a:pt x="1037" y="927"/>
                </a:cubicBezTo>
                <a:cubicBezTo>
                  <a:pt x="1035" y="929"/>
                  <a:pt x="1034" y="932"/>
                  <a:pt x="1031" y="935"/>
                </a:cubicBezTo>
                <a:cubicBezTo>
                  <a:pt x="1029" y="939"/>
                  <a:pt x="1026" y="942"/>
                  <a:pt x="1023" y="945"/>
                </a:cubicBezTo>
                <a:cubicBezTo>
                  <a:pt x="1018" y="950"/>
                  <a:pt x="1013" y="954"/>
                  <a:pt x="1007" y="957"/>
                </a:cubicBezTo>
                <a:cubicBezTo>
                  <a:pt x="1002" y="959"/>
                  <a:pt x="996" y="960"/>
                  <a:pt x="990" y="960"/>
                </a:cubicBezTo>
                <a:cubicBezTo>
                  <a:pt x="985" y="960"/>
                  <a:pt x="979" y="958"/>
                  <a:pt x="973" y="955"/>
                </a:cubicBezTo>
                <a:cubicBezTo>
                  <a:pt x="967" y="952"/>
                  <a:pt x="962" y="948"/>
                  <a:pt x="956" y="942"/>
                </a:cubicBezTo>
                <a:cubicBezTo>
                  <a:pt x="950" y="936"/>
                  <a:pt x="946" y="931"/>
                  <a:pt x="943" y="925"/>
                </a:cubicBezTo>
                <a:cubicBezTo>
                  <a:pt x="940" y="919"/>
                  <a:pt x="938" y="913"/>
                  <a:pt x="938" y="907"/>
                </a:cubicBezTo>
                <a:cubicBezTo>
                  <a:pt x="938" y="901"/>
                  <a:pt x="938" y="896"/>
                  <a:pt x="941" y="890"/>
                </a:cubicBezTo>
                <a:cubicBezTo>
                  <a:pt x="943" y="885"/>
                  <a:pt x="946" y="880"/>
                  <a:pt x="951" y="875"/>
                </a:cubicBezTo>
                <a:cubicBezTo>
                  <a:pt x="956" y="870"/>
                  <a:pt x="961" y="866"/>
                  <a:pt x="966" y="865"/>
                </a:cubicBezTo>
                <a:cubicBezTo>
                  <a:pt x="972" y="863"/>
                  <a:pt x="977" y="862"/>
                  <a:pt x="982" y="862"/>
                </a:cubicBezTo>
                <a:cubicBezTo>
                  <a:pt x="987" y="863"/>
                  <a:pt x="992" y="864"/>
                  <a:pt x="997" y="867"/>
                </a:cubicBezTo>
                <a:cubicBezTo>
                  <a:pt x="1001" y="870"/>
                  <a:pt x="1006" y="873"/>
                  <a:pt x="1010" y="877"/>
                </a:cubicBezTo>
                <a:lnTo>
                  <a:pt x="1012" y="879"/>
                </a:lnTo>
                <a:close/>
                <a:moveTo>
                  <a:pt x="997" y="888"/>
                </a:moveTo>
                <a:cubicBezTo>
                  <a:pt x="991" y="881"/>
                  <a:pt x="984" y="878"/>
                  <a:pt x="978" y="877"/>
                </a:cubicBezTo>
                <a:cubicBezTo>
                  <a:pt x="971" y="877"/>
                  <a:pt x="965" y="879"/>
                  <a:pt x="960" y="885"/>
                </a:cubicBezTo>
                <a:cubicBezTo>
                  <a:pt x="957" y="888"/>
                  <a:pt x="955" y="891"/>
                  <a:pt x="954" y="894"/>
                </a:cubicBezTo>
                <a:cubicBezTo>
                  <a:pt x="952" y="898"/>
                  <a:pt x="952" y="901"/>
                  <a:pt x="952" y="904"/>
                </a:cubicBezTo>
                <a:cubicBezTo>
                  <a:pt x="953" y="908"/>
                  <a:pt x="954" y="911"/>
                  <a:pt x="955" y="914"/>
                </a:cubicBezTo>
                <a:cubicBezTo>
                  <a:pt x="957" y="917"/>
                  <a:pt x="959" y="920"/>
                  <a:pt x="961" y="923"/>
                </a:cubicBezTo>
                <a:lnTo>
                  <a:pt x="997" y="888"/>
                </a:lnTo>
                <a:close/>
                <a:moveTo>
                  <a:pt x="1049" y="792"/>
                </a:moveTo>
                <a:cubicBezTo>
                  <a:pt x="1050" y="793"/>
                  <a:pt x="1051" y="794"/>
                  <a:pt x="1051" y="795"/>
                </a:cubicBezTo>
                <a:cubicBezTo>
                  <a:pt x="1052" y="796"/>
                  <a:pt x="1052" y="796"/>
                  <a:pt x="1053" y="797"/>
                </a:cubicBezTo>
                <a:cubicBezTo>
                  <a:pt x="1053" y="798"/>
                  <a:pt x="1053" y="798"/>
                  <a:pt x="1053" y="798"/>
                </a:cubicBezTo>
                <a:cubicBezTo>
                  <a:pt x="1053" y="799"/>
                  <a:pt x="1053" y="799"/>
                  <a:pt x="1053" y="800"/>
                </a:cubicBezTo>
                <a:cubicBezTo>
                  <a:pt x="1052" y="800"/>
                  <a:pt x="1052" y="800"/>
                  <a:pt x="1051" y="801"/>
                </a:cubicBezTo>
                <a:cubicBezTo>
                  <a:pt x="1050" y="801"/>
                  <a:pt x="1049" y="801"/>
                  <a:pt x="1048" y="802"/>
                </a:cubicBezTo>
                <a:cubicBezTo>
                  <a:pt x="1047" y="802"/>
                  <a:pt x="1046" y="803"/>
                  <a:pt x="1045" y="804"/>
                </a:cubicBezTo>
                <a:cubicBezTo>
                  <a:pt x="1044" y="804"/>
                  <a:pt x="1043" y="805"/>
                  <a:pt x="1042" y="806"/>
                </a:cubicBezTo>
                <a:cubicBezTo>
                  <a:pt x="1041" y="807"/>
                  <a:pt x="1040" y="809"/>
                  <a:pt x="1039" y="810"/>
                </a:cubicBezTo>
                <a:cubicBezTo>
                  <a:pt x="1039" y="812"/>
                  <a:pt x="1038" y="814"/>
                  <a:pt x="1038" y="816"/>
                </a:cubicBezTo>
                <a:cubicBezTo>
                  <a:pt x="1038" y="819"/>
                  <a:pt x="1038" y="822"/>
                  <a:pt x="1039" y="825"/>
                </a:cubicBezTo>
                <a:cubicBezTo>
                  <a:pt x="1039" y="828"/>
                  <a:pt x="1040" y="832"/>
                  <a:pt x="1041" y="836"/>
                </a:cubicBezTo>
                <a:lnTo>
                  <a:pt x="1083" y="879"/>
                </a:lnTo>
                <a:cubicBezTo>
                  <a:pt x="1084" y="879"/>
                  <a:pt x="1084" y="879"/>
                  <a:pt x="1084" y="880"/>
                </a:cubicBezTo>
                <a:cubicBezTo>
                  <a:pt x="1084" y="880"/>
                  <a:pt x="1084" y="881"/>
                  <a:pt x="1084" y="881"/>
                </a:cubicBezTo>
                <a:cubicBezTo>
                  <a:pt x="1083" y="882"/>
                  <a:pt x="1083" y="883"/>
                  <a:pt x="1082" y="884"/>
                </a:cubicBezTo>
                <a:cubicBezTo>
                  <a:pt x="1082" y="885"/>
                  <a:pt x="1081" y="886"/>
                  <a:pt x="1079" y="887"/>
                </a:cubicBezTo>
                <a:cubicBezTo>
                  <a:pt x="1078" y="888"/>
                  <a:pt x="1077" y="889"/>
                  <a:pt x="1076" y="889"/>
                </a:cubicBezTo>
                <a:cubicBezTo>
                  <a:pt x="1076" y="890"/>
                  <a:pt x="1075" y="891"/>
                  <a:pt x="1074" y="891"/>
                </a:cubicBezTo>
                <a:cubicBezTo>
                  <a:pt x="1074" y="891"/>
                  <a:pt x="1073" y="891"/>
                  <a:pt x="1073" y="891"/>
                </a:cubicBezTo>
                <a:cubicBezTo>
                  <a:pt x="1072" y="891"/>
                  <a:pt x="1072" y="891"/>
                  <a:pt x="1071" y="890"/>
                </a:cubicBezTo>
                <a:lnTo>
                  <a:pt x="1007" y="826"/>
                </a:lnTo>
                <a:cubicBezTo>
                  <a:pt x="1006" y="825"/>
                  <a:pt x="1006" y="825"/>
                  <a:pt x="1006" y="825"/>
                </a:cubicBezTo>
                <a:cubicBezTo>
                  <a:pt x="1006" y="824"/>
                  <a:pt x="1006" y="824"/>
                  <a:pt x="1006" y="823"/>
                </a:cubicBezTo>
                <a:cubicBezTo>
                  <a:pt x="1006" y="822"/>
                  <a:pt x="1007" y="822"/>
                  <a:pt x="1007" y="821"/>
                </a:cubicBezTo>
                <a:cubicBezTo>
                  <a:pt x="1008" y="820"/>
                  <a:pt x="1009" y="819"/>
                  <a:pt x="1010" y="818"/>
                </a:cubicBezTo>
                <a:cubicBezTo>
                  <a:pt x="1011" y="817"/>
                  <a:pt x="1012" y="816"/>
                  <a:pt x="1013" y="816"/>
                </a:cubicBezTo>
                <a:cubicBezTo>
                  <a:pt x="1013" y="815"/>
                  <a:pt x="1014" y="815"/>
                  <a:pt x="1015" y="814"/>
                </a:cubicBezTo>
                <a:cubicBezTo>
                  <a:pt x="1015" y="814"/>
                  <a:pt x="1016" y="814"/>
                  <a:pt x="1016" y="814"/>
                </a:cubicBezTo>
                <a:cubicBezTo>
                  <a:pt x="1017" y="814"/>
                  <a:pt x="1017" y="815"/>
                  <a:pt x="1017" y="815"/>
                </a:cubicBezTo>
                <a:lnTo>
                  <a:pt x="1027" y="825"/>
                </a:lnTo>
                <a:cubicBezTo>
                  <a:pt x="1026" y="820"/>
                  <a:pt x="1026" y="816"/>
                  <a:pt x="1026" y="813"/>
                </a:cubicBezTo>
                <a:cubicBezTo>
                  <a:pt x="1025" y="810"/>
                  <a:pt x="1026" y="807"/>
                  <a:pt x="1026" y="805"/>
                </a:cubicBezTo>
                <a:cubicBezTo>
                  <a:pt x="1027" y="803"/>
                  <a:pt x="1027" y="801"/>
                  <a:pt x="1028" y="799"/>
                </a:cubicBezTo>
                <a:cubicBezTo>
                  <a:pt x="1029" y="797"/>
                  <a:pt x="1030" y="796"/>
                  <a:pt x="1032" y="794"/>
                </a:cubicBezTo>
                <a:cubicBezTo>
                  <a:pt x="1032" y="794"/>
                  <a:pt x="1033" y="793"/>
                  <a:pt x="1034" y="792"/>
                </a:cubicBezTo>
                <a:cubicBezTo>
                  <a:pt x="1035" y="791"/>
                  <a:pt x="1036" y="791"/>
                  <a:pt x="1037" y="790"/>
                </a:cubicBezTo>
                <a:cubicBezTo>
                  <a:pt x="1038" y="789"/>
                  <a:pt x="1039" y="789"/>
                  <a:pt x="1040" y="788"/>
                </a:cubicBezTo>
                <a:cubicBezTo>
                  <a:pt x="1041" y="788"/>
                  <a:pt x="1042" y="788"/>
                  <a:pt x="1042" y="788"/>
                </a:cubicBezTo>
                <a:cubicBezTo>
                  <a:pt x="1043" y="788"/>
                  <a:pt x="1043" y="788"/>
                  <a:pt x="1043" y="788"/>
                </a:cubicBezTo>
                <a:cubicBezTo>
                  <a:pt x="1044" y="788"/>
                  <a:pt x="1044" y="788"/>
                  <a:pt x="1044" y="788"/>
                </a:cubicBezTo>
                <a:cubicBezTo>
                  <a:pt x="1045" y="789"/>
                  <a:pt x="1045" y="789"/>
                  <a:pt x="1046" y="790"/>
                </a:cubicBezTo>
                <a:cubicBezTo>
                  <a:pt x="1047" y="790"/>
                  <a:pt x="1048" y="791"/>
                  <a:pt x="1049" y="792"/>
                </a:cubicBezTo>
                <a:close/>
                <a:moveTo>
                  <a:pt x="1120" y="718"/>
                </a:moveTo>
                <a:cubicBezTo>
                  <a:pt x="1122" y="720"/>
                  <a:pt x="1123" y="721"/>
                  <a:pt x="1123" y="722"/>
                </a:cubicBezTo>
                <a:cubicBezTo>
                  <a:pt x="1123" y="724"/>
                  <a:pt x="1123" y="725"/>
                  <a:pt x="1123" y="725"/>
                </a:cubicBezTo>
                <a:lnTo>
                  <a:pt x="1113" y="735"/>
                </a:lnTo>
                <a:cubicBezTo>
                  <a:pt x="1117" y="735"/>
                  <a:pt x="1120" y="735"/>
                  <a:pt x="1123" y="737"/>
                </a:cubicBezTo>
                <a:cubicBezTo>
                  <a:pt x="1125" y="738"/>
                  <a:pt x="1128" y="740"/>
                  <a:pt x="1130" y="742"/>
                </a:cubicBezTo>
                <a:cubicBezTo>
                  <a:pt x="1134" y="746"/>
                  <a:pt x="1136" y="750"/>
                  <a:pt x="1138" y="754"/>
                </a:cubicBezTo>
                <a:cubicBezTo>
                  <a:pt x="1140" y="758"/>
                  <a:pt x="1141" y="762"/>
                  <a:pt x="1140" y="766"/>
                </a:cubicBezTo>
                <a:cubicBezTo>
                  <a:pt x="1140" y="771"/>
                  <a:pt x="1139" y="775"/>
                  <a:pt x="1137" y="779"/>
                </a:cubicBezTo>
                <a:cubicBezTo>
                  <a:pt x="1135" y="783"/>
                  <a:pt x="1132" y="787"/>
                  <a:pt x="1128" y="791"/>
                </a:cubicBezTo>
                <a:cubicBezTo>
                  <a:pt x="1126" y="793"/>
                  <a:pt x="1123" y="795"/>
                  <a:pt x="1120" y="797"/>
                </a:cubicBezTo>
                <a:cubicBezTo>
                  <a:pt x="1117" y="799"/>
                  <a:pt x="1114" y="800"/>
                  <a:pt x="1112" y="800"/>
                </a:cubicBezTo>
                <a:cubicBezTo>
                  <a:pt x="1112" y="802"/>
                  <a:pt x="1112" y="803"/>
                  <a:pt x="1112" y="805"/>
                </a:cubicBezTo>
                <a:cubicBezTo>
                  <a:pt x="1113" y="807"/>
                  <a:pt x="1114" y="808"/>
                  <a:pt x="1115" y="810"/>
                </a:cubicBezTo>
                <a:cubicBezTo>
                  <a:pt x="1117" y="811"/>
                  <a:pt x="1119" y="812"/>
                  <a:pt x="1122" y="812"/>
                </a:cubicBezTo>
                <a:cubicBezTo>
                  <a:pt x="1125" y="811"/>
                  <a:pt x="1127" y="810"/>
                  <a:pt x="1130" y="807"/>
                </a:cubicBezTo>
                <a:lnTo>
                  <a:pt x="1148" y="791"/>
                </a:lnTo>
                <a:cubicBezTo>
                  <a:pt x="1151" y="788"/>
                  <a:pt x="1154" y="785"/>
                  <a:pt x="1158" y="783"/>
                </a:cubicBezTo>
                <a:cubicBezTo>
                  <a:pt x="1161" y="782"/>
                  <a:pt x="1165" y="780"/>
                  <a:pt x="1168" y="780"/>
                </a:cubicBezTo>
                <a:cubicBezTo>
                  <a:pt x="1171" y="779"/>
                  <a:pt x="1175" y="780"/>
                  <a:pt x="1178" y="781"/>
                </a:cubicBezTo>
                <a:cubicBezTo>
                  <a:pt x="1181" y="782"/>
                  <a:pt x="1184" y="784"/>
                  <a:pt x="1187" y="786"/>
                </a:cubicBezTo>
                <a:cubicBezTo>
                  <a:pt x="1190" y="789"/>
                  <a:pt x="1192" y="793"/>
                  <a:pt x="1194" y="797"/>
                </a:cubicBezTo>
                <a:cubicBezTo>
                  <a:pt x="1195" y="801"/>
                  <a:pt x="1196" y="805"/>
                  <a:pt x="1195" y="810"/>
                </a:cubicBezTo>
                <a:cubicBezTo>
                  <a:pt x="1195" y="814"/>
                  <a:pt x="1193" y="819"/>
                  <a:pt x="1190" y="824"/>
                </a:cubicBezTo>
                <a:cubicBezTo>
                  <a:pt x="1187" y="829"/>
                  <a:pt x="1183" y="835"/>
                  <a:pt x="1178" y="840"/>
                </a:cubicBezTo>
                <a:cubicBezTo>
                  <a:pt x="1173" y="845"/>
                  <a:pt x="1168" y="849"/>
                  <a:pt x="1163" y="852"/>
                </a:cubicBezTo>
                <a:cubicBezTo>
                  <a:pt x="1159" y="855"/>
                  <a:pt x="1154" y="857"/>
                  <a:pt x="1150" y="857"/>
                </a:cubicBezTo>
                <a:cubicBezTo>
                  <a:pt x="1147" y="858"/>
                  <a:pt x="1143" y="858"/>
                  <a:pt x="1140" y="857"/>
                </a:cubicBezTo>
                <a:cubicBezTo>
                  <a:pt x="1137" y="856"/>
                  <a:pt x="1134" y="854"/>
                  <a:pt x="1131" y="852"/>
                </a:cubicBezTo>
                <a:cubicBezTo>
                  <a:pt x="1130" y="850"/>
                  <a:pt x="1128" y="848"/>
                  <a:pt x="1127" y="847"/>
                </a:cubicBezTo>
                <a:cubicBezTo>
                  <a:pt x="1126" y="845"/>
                  <a:pt x="1125" y="843"/>
                  <a:pt x="1125" y="841"/>
                </a:cubicBezTo>
                <a:cubicBezTo>
                  <a:pt x="1124" y="838"/>
                  <a:pt x="1124" y="836"/>
                  <a:pt x="1124" y="834"/>
                </a:cubicBezTo>
                <a:cubicBezTo>
                  <a:pt x="1124" y="831"/>
                  <a:pt x="1124" y="829"/>
                  <a:pt x="1124" y="826"/>
                </a:cubicBezTo>
                <a:cubicBezTo>
                  <a:pt x="1121" y="827"/>
                  <a:pt x="1118" y="827"/>
                  <a:pt x="1115" y="827"/>
                </a:cubicBezTo>
                <a:cubicBezTo>
                  <a:pt x="1112" y="826"/>
                  <a:pt x="1109" y="825"/>
                  <a:pt x="1107" y="823"/>
                </a:cubicBezTo>
                <a:cubicBezTo>
                  <a:pt x="1104" y="820"/>
                  <a:pt x="1102" y="816"/>
                  <a:pt x="1101" y="813"/>
                </a:cubicBezTo>
                <a:cubicBezTo>
                  <a:pt x="1100" y="809"/>
                  <a:pt x="1099" y="806"/>
                  <a:pt x="1099" y="802"/>
                </a:cubicBezTo>
                <a:cubicBezTo>
                  <a:pt x="1096" y="802"/>
                  <a:pt x="1093" y="801"/>
                  <a:pt x="1090" y="800"/>
                </a:cubicBezTo>
                <a:cubicBezTo>
                  <a:pt x="1087" y="798"/>
                  <a:pt x="1084" y="796"/>
                  <a:pt x="1080" y="793"/>
                </a:cubicBezTo>
                <a:cubicBezTo>
                  <a:pt x="1077" y="789"/>
                  <a:pt x="1074" y="785"/>
                  <a:pt x="1072" y="781"/>
                </a:cubicBezTo>
                <a:cubicBezTo>
                  <a:pt x="1071" y="777"/>
                  <a:pt x="1070" y="773"/>
                  <a:pt x="1070" y="769"/>
                </a:cubicBezTo>
                <a:cubicBezTo>
                  <a:pt x="1070" y="764"/>
                  <a:pt x="1071" y="760"/>
                  <a:pt x="1073" y="756"/>
                </a:cubicBezTo>
                <a:cubicBezTo>
                  <a:pt x="1076" y="752"/>
                  <a:pt x="1078" y="748"/>
                  <a:pt x="1082" y="744"/>
                </a:cubicBezTo>
                <a:cubicBezTo>
                  <a:pt x="1084" y="742"/>
                  <a:pt x="1086" y="741"/>
                  <a:pt x="1088" y="739"/>
                </a:cubicBezTo>
                <a:cubicBezTo>
                  <a:pt x="1090" y="738"/>
                  <a:pt x="1092" y="736"/>
                  <a:pt x="1093" y="735"/>
                </a:cubicBezTo>
                <a:lnTo>
                  <a:pt x="1113" y="716"/>
                </a:lnTo>
                <a:cubicBezTo>
                  <a:pt x="1114" y="715"/>
                  <a:pt x="1115" y="715"/>
                  <a:pt x="1116" y="715"/>
                </a:cubicBezTo>
                <a:cubicBezTo>
                  <a:pt x="1117" y="716"/>
                  <a:pt x="1119" y="717"/>
                  <a:pt x="1120" y="718"/>
                </a:cubicBezTo>
                <a:close/>
                <a:moveTo>
                  <a:pt x="1119" y="754"/>
                </a:moveTo>
                <a:cubicBezTo>
                  <a:pt x="1114" y="749"/>
                  <a:pt x="1110" y="747"/>
                  <a:pt x="1105" y="747"/>
                </a:cubicBezTo>
                <a:cubicBezTo>
                  <a:pt x="1100" y="747"/>
                  <a:pt x="1095" y="749"/>
                  <a:pt x="1091" y="754"/>
                </a:cubicBezTo>
                <a:cubicBezTo>
                  <a:pt x="1089" y="756"/>
                  <a:pt x="1087" y="758"/>
                  <a:pt x="1086" y="761"/>
                </a:cubicBezTo>
                <a:cubicBezTo>
                  <a:pt x="1085" y="763"/>
                  <a:pt x="1085" y="766"/>
                  <a:pt x="1085" y="768"/>
                </a:cubicBezTo>
                <a:cubicBezTo>
                  <a:pt x="1085" y="771"/>
                  <a:pt x="1086" y="773"/>
                  <a:pt x="1087" y="775"/>
                </a:cubicBezTo>
                <a:cubicBezTo>
                  <a:pt x="1088" y="778"/>
                  <a:pt x="1090" y="780"/>
                  <a:pt x="1092" y="782"/>
                </a:cubicBezTo>
                <a:cubicBezTo>
                  <a:pt x="1096" y="786"/>
                  <a:pt x="1100" y="788"/>
                  <a:pt x="1105" y="788"/>
                </a:cubicBezTo>
                <a:cubicBezTo>
                  <a:pt x="1110" y="788"/>
                  <a:pt x="1115" y="786"/>
                  <a:pt x="1119" y="782"/>
                </a:cubicBezTo>
                <a:cubicBezTo>
                  <a:pt x="1122" y="779"/>
                  <a:pt x="1123" y="777"/>
                  <a:pt x="1124" y="774"/>
                </a:cubicBezTo>
                <a:cubicBezTo>
                  <a:pt x="1125" y="772"/>
                  <a:pt x="1126" y="769"/>
                  <a:pt x="1125" y="767"/>
                </a:cubicBezTo>
                <a:cubicBezTo>
                  <a:pt x="1125" y="765"/>
                  <a:pt x="1124" y="762"/>
                  <a:pt x="1123" y="760"/>
                </a:cubicBezTo>
                <a:cubicBezTo>
                  <a:pt x="1122" y="758"/>
                  <a:pt x="1121" y="756"/>
                  <a:pt x="1119" y="754"/>
                </a:cubicBezTo>
                <a:close/>
                <a:moveTo>
                  <a:pt x="1176" y="799"/>
                </a:moveTo>
                <a:cubicBezTo>
                  <a:pt x="1173" y="796"/>
                  <a:pt x="1170" y="795"/>
                  <a:pt x="1166" y="796"/>
                </a:cubicBezTo>
                <a:cubicBezTo>
                  <a:pt x="1162" y="797"/>
                  <a:pt x="1158" y="799"/>
                  <a:pt x="1154" y="803"/>
                </a:cubicBezTo>
                <a:lnTo>
                  <a:pt x="1137" y="819"/>
                </a:lnTo>
                <a:cubicBezTo>
                  <a:pt x="1137" y="822"/>
                  <a:pt x="1137" y="824"/>
                  <a:pt x="1137" y="826"/>
                </a:cubicBezTo>
                <a:cubicBezTo>
                  <a:pt x="1137" y="828"/>
                  <a:pt x="1137" y="830"/>
                  <a:pt x="1138" y="832"/>
                </a:cubicBezTo>
                <a:cubicBezTo>
                  <a:pt x="1138" y="833"/>
                  <a:pt x="1138" y="834"/>
                  <a:pt x="1139" y="836"/>
                </a:cubicBezTo>
                <a:cubicBezTo>
                  <a:pt x="1140" y="837"/>
                  <a:pt x="1141" y="838"/>
                  <a:pt x="1142" y="839"/>
                </a:cubicBezTo>
                <a:cubicBezTo>
                  <a:pt x="1145" y="842"/>
                  <a:pt x="1149" y="843"/>
                  <a:pt x="1154" y="841"/>
                </a:cubicBezTo>
                <a:cubicBezTo>
                  <a:pt x="1158" y="840"/>
                  <a:pt x="1164" y="836"/>
                  <a:pt x="1169" y="830"/>
                </a:cubicBezTo>
                <a:cubicBezTo>
                  <a:pt x="1173" y="827"/>
                  <a:pt x="1176" y="823"/>
                  <a:pt x="1177" y="820"/>
                </a:cubicBezTo>
                <a:cubicBezTo>
                  <a:pt x="1179" y="817"/>
                  <a:pt x="1180" y="814"/>
                  <a:pt x="1180" y="812"/>
                </a:cubicBezTo>
                <a:cubicBezTo>
                  <a:pt x="1181" y="809"/>
                  <a:pt x="1180" y="807"/>
                  <a:pt x="1180" y="805"/>
                </a:cubicBezTo>
                <a:cubicBezTo>
                  <a:pt x="1179" y="802"/>
                  <a:pt x="1178" y="801"/>
                  <a:pt x="1176" y="799"/>
                </a:cubicBezTo>
                <a:close/>
                <a:moveTo>
                  <a:pt x="1227" y="738"/>
                </a:moveTo>
                <a:lnTo>
                  <a:pt x="1242" y="771"/>
                </a:lnTo>
                <a:cubicBezTo>
                  <a:pt x="1243" y="772"/>
                  <a:pt x="1243" y="773"/>
                  <a:pt x="1242" y="775"/>
                </a:cubicBezTo>
                <a:cubicBezTo>
                  <a:pt x="1241" y="776"/>
                  <a:pt x="1239" y="778"/>
                  <a:pt x="1237" y="781"/>
                </a:cubicBezTo>
                <a:cubicBezTo>
                  <a:pt x="1236" y="782"/>
                  <a:pt x="1235" y="783"/>
                  <a:pt x="1234" y="783"/>
                </a:cubicBezTo>
                <a:cubicBezTo>
                  <a:pt x="1233" y="784"/>
                  <a:pt x="1232" y="784"/>
                  <a:pt x="1231" y="785"/>
                </a:cubicBezTo>
                <a:cubicBezTo>
                  <a:pt x="1231" y="785"/>
                  <a:pt x="1230" y="785"/>
                  <a:pt x="1230" y="784"/>
                </a:cubicBezTo>
                <a:cubicBezTo>
                  <a:pt x="1229" y="784"/>
                  <a:pt x="1229" y="783"/>
                  <a:pt x="1228" y="782"/>
                </a:cubicBezTo>
                <a:lnTo>
                  <a:pt x="1215" y="751"/>
                </a:lnTo>
                <a:cubicBezTo>
                  <a:pt x="1214" y="751"/>
                  <a:pt x="1213" y="751"/>
                  <a:pt x="1213" y="751"/>
                </a:cubicBezTo>
                <a:cubicBezTo>
                  <a:pt x="1212" y="751"/>
                  <a:pt x="1211" y="751"/>
                  <a:pt x="1210" y="750"/>
                </a:cubicBezTo>
                <a:lnTo>
                  <a:pt x="1126" y="712"/>
                </a:lnTo>
                <a:cubicBezTo>
                  <a:pt x="1124" y="711"/>
                  <a:pt x="1123" y="710"/>
                  <a:pt x="1123" y="710"/>
                </a:cubicBezTo>
                <a:cubicBezTo>
                  <a:pt x="1122" y="709"/>
                  <a:pt x="1122" y="709"/>
                  <a:pt x="1122" y="708"/>
                </a:cubicBezTo>
                <a:cubicBezTo>
                  <a:pt x="1122" y="707"/>
                  <a:pt x="1122" y="706"/>
                  <a:pt x="1123" y="705"/>
                </a:cubicBezTo>
                <a:cubicBezTo>
                  <a:pt x="1124" y="704"/>
                  <a:pt x="1125" y="703"/>
                  <a:pt x="1126" y="702"/>
                </a:cubicBezTo>
                <a:cubicBezTo>
                  <a:pt x="1128" y="700"/>
                  <a:pt x="1129" y="699"/>
                  <a:pt x="1130" y="699"/>
                </a:cubicBezTo>
                <a:cubicBezTo>
                  <a:pt x="1131" y="698"/>
                  <a:pt x="1131" y="697"/>
                  <a:pt x="1132" y="697"/>
                </a:cubicBezTo>
                <a:cubicBezTo>
                  <a:pt x="1133" y="697"/>
                  <a:pt x="1133" y="697"/>
                  <a:pt x="1134" y="697"/>
                </a:cubicBezTo>
                <a:cubicBezTo>
                  <a:pt x="1135" y="697"/>
                  <a:pt x="1135" y="697"/>
                  <a:pt x="1136" y="698"/>
                </a:cubicBezTo>
                <a:lnTo>
                  <a:pt x="1206" y="731"/>
                </a:lnTo>
                <a:lnTo>
                  <a:pt x="1207" y="731"/>
                </a:lnTo>
                <a:lnTo>
                  <a:pt x="1172" y="661"/>
                </a:lnTo>
                <a:cubicBezTo>
                  <a:pt x="1172" y="660"/>
                  <a:pt x="1171" y="659"/>
                  <a:pt x="1172" y="658"/>
                </a:cubicBezTo>
                <a:cubicBezTo>
                  <a:pt x="1172" y="657"/>
                  <a:pt x="1172" y="656"/>
                  <a:pt x="1173" y="656"/>
                </a:cubicBezTo>
                <a:cubicBezTo>
                  <a:pt x="1174" y="655"/>
                  <a:pt x="1175" y="653"/>
                  <a:pt x="1176" y="652"/>
                </a:cubicBezTo>
                <a:cubicBezTo>
                  <a:pt x="1178" y="651"/>
                  <a:pt x="1179" y="649"/>
                  <a:pt x="1180" y="649"/>
                </a:cubicBezTo>
                <a:cubicBezTo>
                  <a:pt x="1181" y="648"/>
                  <a:pt x="1182" y="648"/>
                  <a:pt x="1182" y="648"/>
                </a:cubicBezTo>
                <a:cubicBezTo>
                  <a:pt x="1183" y="647"/>
                  <a:pt x="1184" y="648"/>
                  <a:pt x="1184" y="648"/>
                </a:cubicBezTo>
                <a:cubicBezTo>
                  <a:pt x="1185" y="649"/>
                  <a:pt x="1185" y="650"/>
                  <a:pt x="1186" y="651"/>
                </a:cubicBezTo>
                <a:lnTo>
                  <a:pt x="1227" y="738"/>
                </a:lnTo>
                <a:close/>
                <a:moveTo>
                  <a:pt x="1271" y="519"/>
                </a:moveTo>
                <a:cubicBezTo>
                  <a:pt x="1272" y="520"/>
                  <a:pt x="1273" y="520"/>
                  <a:pt x="1274" y="521"/>
                </a:cubicBezTo>
                <a:cubicBezTo>
                  <a:pt x="1274" y="522"/>
                  <a:pt x="1275" y="523"/>
                  <a:pt x="1275" y="523"/>
                </a:cubicBezTo>
                <a:cubicBezTo>
                  <a:pt x="1275" y="524"/>
                  <a:pt x="1275" y="525"/>
                  <a:pt x="1275" y="525"/>
                </a:cubicBezTo>
                <a:cubicBezTo>
                  <a:pt x="1275" y="526"/>
                  <a:pt x="1275" y="526"/>
                  <a:pt x="1274" y="526"/>
                </a:cubicBezTo>
                <a:lnTo>
                  <a:pt x="1248" y="552"/>
                </a:lnTo>
                <a:lnTo>
                  <a:pt x="1329" y="633"/>
                </a:lnTo>
                <a:cubicBezTo>
                  <a:pt x="1329" y="633"/>
                  <a:pt x="1329" y="634"/>
                  <a:pt x="1329" y="634"/>
                </a:cubicBezTo>
                <a:cubicBezTo>
                  <a:pt x="1329" y="635"/>
                  <a:pt x="1329" y="635"/>
                  <a:pt x="1329" y="636"/>
                </a:cubicBezTo>
                <a:cubicBezTo>
                  <a:pt x="1329" y="637"/>
                  <a:pt x="1328" y="637"/>
                  <a:pt x="1328" y="638"/>
                </a:cubicBezTo>
                <a:cubicBezTo>
                  <a:pt x="1327" y="639"/>
                  <a:pt x="1326" y="640"/>
                  <a:pt x="1325" y="642"/>
                </a:cubicBezTo>
                <a:cubicBezTo>
                  <a:pt x="1324" y="643"/>
                  <a:pt x="1323" y="644"/>
                  <a:pt x="1322" y="644"/>
                </a:cubicBezTo>
                <a:cubicBezTo>
                  <a:pt x="1321" y="645"/>
                  <a:pt x="1320" y="645"/>
                  <a:pt x="1319" y="646"/>
                </a:cubicBezTo>
                <a:cubicBezTo>
                  <a:pt x="1319" y="646"/>
                  <a:pt x="1318" y="646"/>
                  <a:pt x="1318" y="646"/>
                </a:cubicBezTo>
                <a:cubicBezTo>
                  <a:pt x="1317" y="646"/>
                  <a:pt x="1317" y="646"/>
                  <a:pt x="1316" y="645"/>
                </a:cubicBezTo>
                <a:lnTo>
                  <a:pt x="1236" y="565"/>
                </a:lnTo>
                <a:lnTo>
                  <a:pt x="1210" y="591"/>
                </a:lnTo>
                <a:cubicBezTo>
                  <a:pt x="1209" y="591"/>
                  <a:pt x="1209" y="592"/>
                  <a:pt x="1208" y="592"/>
                </a:cubicBezTo>
                <a:cubicBezTo>
                  <a:pt x="1208" y="592"/>
                  <a:pt x="1207" y="592"/>
                  <a:pt x="1207" y="592"/>
                </a:cubicBezTo>
                <a:cubicBezTo>
                  <a:pt x="1206" y="591"/>
                  <a:pt x="1205" y="591"/>
                  <a:pt x="1204" y="590"/>
                </a:cubicBezTo>
                <a:cubicBezTo>
                  <a:pt x="1204" y="590"/>
                  <a:pt x="1203" y="589"/>
                  <a:pt x="1202" y="588"/>
                </a:cubicBezTo>
                <a:cubicBezTo>
                  <a:pt x="1201" y="587"/>
                  <a:pt x="1200" y="586"/>
                  <a:pt x="1200" y="586"/>
                </a:cubicBezTo>
                <a:cubicBezTo>
                  <a:pt x="1199" y="585"/>
                  <a:pt x="1199" y="584"/>
                  <a:pt x="1198" y="584"/>
                </a:cubicBezTo>
                <a:cubicBezTo>
                  <a:pt x="1198" y="583"/>
                  <a:pt x="1198" y="582"/>
                  <a:pt x="1198" y="582"/>
                </a:cubicBezTo>
                <a:cubicBezTo>
                  <a:pt x="1198" y="581"/>
                  <a:pt x="1199" y="581"/>
                  <a:pt x="1199" y="580"/>
                </a:cubicBezTo>
                <a:lnTo>
                  <a:pt x="1264" y="516"/>
                </a:lnTo>
                <a:cubicBezTo>
                  <a:pt x="1264" y="515"/>
                  <a:pt x="1264" y="515"/>
                  <a:pt x="1265" y="515"/>
                </a:cubicBezTo>
                <a:cubicBezTo>
                  <a:pt x="1265" y="515"/>
                  <a:pt x="1266" y="515"/>
                  <a:pt x="1267" y="515"/>
                </a:cubicBezTo>
                <a:cubicBezTo>
                  <a:pt x="1267" y="515"/>
                  <a:pt x="1268" y="516"/>
                  <a:pt x="1269" y="516"/>
                </a:cubicBezTo>
                <a:cubicBezTo>
                  <a:pt x="1270" y="517"/>
                  <a:pt x="1271" y="518"/>
                  <a:pt x="1271" y="519"/>
                </a:cubicBezTo>
                <a:close/>
                <a:moveTo>
                  <a:pt x="1377" y="584"/>
                </a:moveTo>
                <a:cubicBezTo>
                  <a:pt x="1378" y="585"/>
                  <a:pt x="1378" y="585"/>
                  <a:pt x="1378" y="586"/>
                </a:cubicBezTo>
                <a:cubicBezTo>
                  <a:pt x="1378" y="586"/>
                  <a:pt x="1378" y="587"/>
                  <a:pt x="1378" y="587"/>
                </a:cubicBezTo>
                <a:cubicBezTo>
                  <a:pt x="1378" y="588"/>
                  <a:pt x="1377" y="589"/>
                  <a:pt x="1376" y="590"/>
                </a:cubicBezTo>
                <a:cubicBezTo>
                  <a:pt x="1376" y="590"/>
                  <a:pt x="1375" y="591"/>
                  <a:pt x="1374" y="593"/>
                </a:cubicBezTo>
                <a:cubicBezTo>
                  <a:pt x="1372" y="594"/>
                  <a:pt x="1371" y="595"/>
                  <a:pt x="1371" y="595"/>
                </a:cubicBezTo>
                <a:cubicBezTo>
                  <a:pt x="1370" y="596"/>
                  <a:pt x="1369" y="596"/>
                  <a:pt x="1368" y="597"/>
                </a:cubicBezTo>
                <a:cubicBezTo>
                  <a:pt x="1368" y="597"/>
                  <a:pt x="1367" y="597"/>
                  <a:pt x="1367" y="597"/>
                </a:cubicBezTo>
                <a:cubicBezTo>
                  <a:pt x="1366" y="597"/>
                  <a:pt x="1366" y="597"/>
                  <a:pt x="1366" y="596"/>
                </a:cubicBezTo>
                <a:lnTo>
                  <a:pt x="1301" y="532"/>
                </a:lnTo>
                <a:cubicBezTo>
                  <a:pt x="1301" y="531"/>
                  <a:pt x="1300" y="531"/>
                  <a:pt x="1300" y="530"/>
                </a:cubicBezTo>
                <a:cubicBezTo>
                  <a:pt x="1300" y="530"/>
                  <a:pt x="1300" y="529"/>
                  <a:pt x="1300" y="529"/>
                </a:cubicBezTo>
                <a:cubicBezTo>
                  <a:pt x="1301" y="528"/>
                  <a:pt x="1301" y="527"/>
                  <a:pt x="1302" y="527"/>
                </a:cubicBezTo>
                <a:cubicBezTo>
                  <a:pt x="1302" y="526"/>
                  <a:pt x="1303" y="525"/>
                  <a:pt x="1305" y="524"/>
                </a:cubicBezTo>
                <a:cubicBezTo>
                  <a:pt x="1306" y="522"/>
                  <a:pt x="1307" y="521"/>
                  <a:pt x="1308" y="521"/>
                </a:cubicBezTo>
                <a:cubicBezTo>
                  <a:pt x="1308" y="520"/>
                  <a:pt x="1309" y="520"/>
                  <a:pt x="1310" y="519"/>
                </a:cubicBezTo>
                <a:cubicBezTo>
                  <a:pt x="1310" y="519"/>
                  <a:pt x="1311" y="519"/>
                  <a:pt x="1312" y="519"/>
                </a:cubicBezTo>
                <a:cubicBezTo>
                  <a:pt x="1312" y="519"/>
                  <a:pt x="1312" y="519"/>
                  <a:pt x="1313" y="520"/>
                </a:cubicBezTo>
                <a:lnTo>
                  <a:pt x="1377" y="584"/>
                </a:lnTo>
                <a:close/>
                <a:moveTo>
                  <a:pt x="1292" y="497"/>
                </a:moveTo>
                <a:cubicBezTo>
                  <a:pt x="1295" y="499"/>
                  <a:pt x="1296" y="502"/>
                  <a:pt x="1296" y="504"/>
                </a:cubicBezTo>
                <a:cubicBezTo>
                  <a:pt x="1296" y="506"/>
                  <a:pt x="1295" y="508"/>
                  <a:pt x="1292" y="511"/>
                </a:cubicBezTo>
                <a:cubicBezTo>
                  <a:pt x="1289" y="514"/>
                  <a:pt x="1287" y="515"/>
                  <a:pt x="1285" y="515"/>
                </a:cubicBezTo>
                <a:cubicBezTo>
                  <a:pt x="1283" y="515"/>
                  <a:pt x="1280" y="514"/>
                  <a:pt x="1278" y="511"/>
                </a:cubicBezTo>
                <a:cubicBezTo>
                  <a:pt x="1275" y="509"/>
                  <a:pt x="1274" y="506"/>
                  <a:pt x="1274" y="504"/>
                </a:cubicBezTo>
                <a:cubicBezTo>
                  <a:pt x="1274" y="502"/>
                  <a:pt x="1275" y="500"/>
                  <a:pt x="1278" y="497"/>
                </a:cubicBezTo>
                <a:cubicBezTo>
                  <a:pt x="1281" y="494"/>
                  <a:pt x="1283" y="493"/>
                  <a:pt x="1285" y="493"/>
                </a:cubicBezTo>
                <a:cubicBezTo>
                  <a:pt x="1287" y="493"/>
                  <a:pt x="1290" y="494"/>
                  <a:pt x="1292" y="497"/>
                </a:cubicBezTo>
                <a:close/>
                <a:moveTo>
                  <a:pt x="1495" y="466"/>
                </a:moveTo>
                <a:cubicBezTo>
                  <a:pt x="1496" y="467"/>
                  <a:pt x="1496" y="467"/>
                  <a:pt x="1496" y="468"/>
                </a:cubicBezTo>
                <a:cubicBezTo>
                  <a:pt x="1496" y="468"/>
                  <a:pt x="1496" y="469"/>
                  <a:pt x="1496" y="469"/>
                </a:cubicBezTo>
                <a:cubicBezTo>
                  <a:pt x="1496" y="470"/>
                  <a:pt x="1495" y="471"/>
                  <a:pt x="1494" y="472"/>
                </a:cubicBezTo>
                <a:cubicBezTo>
                  <a:pt x="1494" y="472"/>
                  <a:pt x="1493" y="473"/>
                  <a:pt x="1492" y="475"/>
                </a:cubicBezTo>
                <a:cubicBezTo>
                  <a:pt x="1490" y="476"/>
                  <a:pt x="1489" y="477"/>
                  <a:pt x="1489" y="477"/>
                </a:cubicBezTo>
                <a:cubicBezTo>
                  <a:pt x="1488" y="478"/>
                  <a:pt x="1487" y="479"/>
                  <a:pt x="1486" y="479"/>
                </a:cubicBezTo>
                <a:cubicBezTo>
                  <a:pt x="1486" y="479"/>
                  <a:pt x="1485" y="479"/>
                  <a:pt x="1485" y="479"/>
                </a:cubicBezTo>
                <a:cubicBezTo>
                  <a:pt x="1484" y="479"/>
                  <a:pt x="1484" y="479"/>
                  <a:pt x="1483" y="478"/>
                </a:cubicBezTo>
                <a:lnTo>
                  <a:pt x="1444" y="439"/>
                </a:lnTo>
                <a:cubicBezTo>
                  <a:pt x="1441" y="436"/>
                  <a:pt x="1439" y="434"/>
                  <a:pt x="1436" y="432"/>
                </a:cubicBezTo>
                <a:cubicBezTo>
                  <a:pt x="1433" y="431"/>
                  <a:pt x="1431" y="429"/>
                  <a:pt x="1428" y="429"/>
                </a:cubicBezTo>
                <a:cubicBezTo>
                  <a:pt x="1425" y="428"/>
                  <a:pt x="1423" y="428"/>
                  <a:pt x="1420" y="429"/>
                </a:cubicBezTo>
                <a:cubicBezTo>
                  <a:pt x="1418" y="430"/>
                  <a:pt x="1415" y="431"/>
                  <a:pt x="1413" y="434"/>
                </a:cubicBezTo>
                <a:cubicBezTo>
                  <a:pt x="1410" y="436"/>
                  <a:pt x="1409" y="440"/>
                  <a:pt x="1408" y="445"/>
                </a:cubicBezTo>
                <a:cubicBezTo>
                  <a:pt x="1407" y="450"/>
                  <a:pt x="1407" y="456"/>
                  <a:pt x="1408" y="463"/>
                </a:cubicBezTo>
                <a:lnTo>
                  <a:pt x="1453" y="508"/>
                </a:lnTo>
                <a:cubicBezTo>
                  <a:pt x="1454" y="509"/>
                  <a:pt x="1454" y="509"/>
                  <a:pt x="1454" y="510"/>
                </a:cubicBezTo>
                <a:cubicBezTo>
                  <a:pt x="1454" y="510"/>
                  <a:pt x="1454" y="511"/>
                  <a:pt x="1454" y="511"/>
                </a:cubicBezTo>
                <a:cubicBezTo>
                  <a:pt x="1453" y="512"/>
                  <a:pt x="1453" y="513"/>
                  <a:pt x="1452" y="514"/>
                </a:cubicBezTo>
                <a:cubicBezTo>
                  <a:pt x="1452" y="515"/>
                  <a:pt x="1451" y="516"/>
                  <a:pt x="1450" y="517"/>
                </a:cubicBezTo>
                <a:cubicBezTo>
                  <a:pt x="1448" y="518"/>
                  <a:pt x="1447" y="519"/>
                  <a:pt x="1447" y="519"/>
                </a:cubicBezTo>
                <a:cubicBezTo>
                  <a:pt x="1446" y="520"/>
                  <a:pt x="1445" y="521"/>
                  <a:pt x="1444" y="521"/>
                </a:cubicBezTo>
                <a:cubicBezTo>
                  <a:pt x="1444" y="521"/>
                  <a:pt x="1443" y="521"/>
                  <a:pt x="1443" y="521"/>
                </a:cubicBezTo>
                <a:cubicBezTo>
                  <a:pt x="1442" y="521"/>
                  <a:pt x="1442" y="521"/>
                  <a:pt x="1441" y="520"/>
                </a:cubicBezTo>
                <a:lnTo>
                  <a:pt x="1402" y="481"/>
                </a:lnTo>
                <a:cubicBezTo>
                  <a:pt x="1399" y="478"/>
                  <a:pt x="1397" y="476"/>
                  <a:pt x="1394" y="474"/>
                </a:cubicBezTo>
                <a:cubicBezTo>
                  <a:pt x="1391" y="473"/>
                  <a:pt x="1388" y="471"/>
                  <a:pt x="1386" y="471"/>
                </a:cubicBezTo>
                <a:cubicBezTo>
                  <a:pt x="1383" y="470"/>
                  <a:pt x="1380" y="470"/>
                  <a:pt x="1378" y="471"/>
                </a:cubicBezTo>
                <a:cubicBezTo>
                  <a:pt x="1376" y="472"/>
                  <a:pt x="1373" y="473"/>
                  <a:pt x="1371" y="476"/>
                </a:cubicBezTo>
                <a:cubicBezTo>
                  <a:pt x="1368" y="478"/>
                  <a:pt x="1367" y="482"/>
                  <a:pt x="1366" y="487"/>
                </a:cubicBezTo>
                <a:cubicBezTo>
                  <a:pt x="1365" y="492"/>
                  <a:pt x="1365" y="498"/>
                  <a:pt x="1366" y="505"/>
                </a:cubicBezTo>
                <a:lnTo>
                  <a:pt x="1411" y="550"/>
                </a:lnTo>
                <a:cubicBezTo>
                  <a:pt x="1412" y="551"/>
                  <a:pt x="1412" y="551"/>
                  <a:pt x="1412" y="552"/>
                </a:cubicBezTo>
                <a:cubicBezTo>
                  <a:pt x="1412" y="552"/>
                  <a:pt x="1412" y="553"/>
                  <a:pt x="1412" y="553"/>
                </a:cubicBezTo>
                <a:cubicBezTo>
                  <a:pt x="1411" y="554"/>
                  <a:pt x="1411" y="555"/>
                  <a:pt x="1410" y="556"/>
                </a:cubicBezTo>
                <a:cubicBezTo>
                  <a:pt x="1410" y="556"/>
                  <a:pt x="1409" y="557"/>
                  <a:pt x="1408" y="559"/>
                </a:cubicBezTo>
                <a:cubicBezTo>
                  <a:pt x="1406" y="560"/>
                  <a:pt x="1405" y="561"/>
                  <a:pt x="1405" y="561"/>
                </a:cubicBezTo>
                <a:cubicBezTo>
                  <a:pt x="1404" y="562"/>
                  <a:pt x="1403" y="563"/>
                  <a:pt x="1402" y="563"/>
                </a:cubicBezTo>
                <a:cubicBezTo>
                  <a:pt x="1402" y="563"/>
                  <a:pt x="1401" y="563"/>
                  <a:pt x="1401" y="563"/>
                </a:cubicBezTo>
                <a:cubicBezTo>
                  <a:pt x="1400" y="563"/>
                  <a:pt x="1400" y="563"/>
                  <a:pt x="1399" y="562"/>
                </a:cubicBezTo>
                <a:lnTo>
                  <a:pt x="1335" y="498"/>
                </a:lnTo>
                <a:cubicBezTo>
                  <a:pt x="1334" y="497"/>
                  <a:pt x="1334" y="497"/>
                  <a:pt x="1334" y="497"/>
                </a:cubicBezTo>
                <a:cubicBezTo>
                  <a:pt x="1334" y="496"/>
                  <a:pt x="1334" y="496"/>
                  <a:pt x="1334" y="495"/>
                </a:cubicBezTo>
                <a:cubicBezTo>
                  <a:pt x="1334" y="494"/>
                  <a:pt x="1335" y="494"/>
                  <a:pt x="1335" y="493"/>
                </a:cubicBezTo>
                <a:cubicBezTo>
                  <a:pt x="1336" y="492"/>
                  <a:pt x="1337" y="491"/>
                  <a:pt x="1338" y="490"/>
                </a:cubicBezTo>
                <a:cubicBezTo>
                  <a:pt x="1339" y="489"/>
                  <a:pt x="1340" y="488"/>
                  <a:pt x="1341" y="488"/>
                </a:cubicBezTo>
                <a:cubicBezTo>
                  <a:pt x="1341" y="487"/>
                  <a:pt x="1342" y="487"/>
                  <a:pt x="1343" y="486"/>
                </a:cubicBezTo>
                <a:cubicBezTo>
                  <a:pt x="1343" y="486"/>
                  <a:pt x="1344" y="486"/>
                  <a:pt x="1344" y="486"/>
                </a:cubicBezTo>
                <a:cubicBezTo>
                  <a:pt x="1345" y="486"/>
                  <a:pt x="1345" y="487"/>
                  <a:pt x="1346" y="487"/>
                </a:cubicBezTo>
                <a:lnTo>
                  <a:pt x="1354" y="496"/>
                </a:lnTo>
                <a:cubicBezTo>
                  <a:pt x="1354" y="488"/>
                  <a:pt x="1354" y="481"/>
                  <a:pt x="1356" y="476"/>
                </a:cubicBezTo>
                <a:cubicBezTo>
                  <a:pt x="1357" y="471"/>
                  <a:pt x="1360" y="466"/>
                  <a:pt x="1363" y="463"/>
                </a:cubicBezTo>
                <a:cubicBezTo>
                  <a:pt x="1366" y="460"/>
                  <a:pt x="1369" y="458"/>
                  <a:pt x="1371" y="457"/>
                </a:cubicBezTo>
                <a:cubicBezTo>
                  <a:pt x="1374" y="455"/>
                  <a:pt x="1377" y="454"/>
                  <a:pt x="1380" y="453"/>
                </a:cubicBezTo>
                <a:cubicBezTo>
                  <a:pt x="1382" y="453"/>
                  <a:pt x="1385" y="453"/>
                  <a:pt x="1388" y="453"/>
                </a:cubicBezTo>
                <a:cubicBezTo>
                  <a:pt x="1391" y="454"/>
                  <a:pt x="1393" y="455"/>
                  <a:pt x="1396" y="456"/>
                </a:cubicBezTo>
                <a:cubicBezTo>
                  <a:pt x="1396" y="451"/>
                  <a:pt x="1396" y="447"/>
                  <a:pt x="1396" y="444"/>
                </a:cubicBezTo>
                <a:cubicBezTo>
                  <a:pt x="1396" y="440"/>
                  <a:pt x="1397" y="437"/>
                  <a:pt x="1398" y="434"/>
                </a:cubicBezTo>
                <a:cubicBezTo>
                  <a:pt x="1399" y="431"/>
                  <a:pt x="1400" y="429"/>
                  <a:pt x="1401" y="427"/>
                </a:cubicBezTo>
                <a:cubicBezTo>
                  <a:pt x="1402" y="424"/>
                  <a:pt x="1404" y="423"/>
                  <a:pt x="1405" y="421"/>
                </a:cubicBezTo>
                <a:cubicBezTo>
                  <a:pt x="1409" y="417"/>
                  <a:pt x="1414" y="414"/>
                  <a:pt x="1418" y="412"/>
                </a:cubicBezTo>
                <a:cubicBezTo>
                  <a:pt x="1422" y="411"/>
                  <a:pt x="1426" y="411"/>
                  <a:pt x="1431" y="411"/>
                </a:cubicBezTo>
                <a:cubicBezTo>
                  <a:pt x="1435" y="412"/>
                  <a:pt x="1439" y="414"/>
                  <a:pt x="1443" y="416"/>
                </a:cubicBezTo>
                <a:cubicBezTo>
                  <a:pt x="1447" y="419"/>
                  <a:pt x="1451" y="422"/>
                  <a:pt x="1454" y="426"/>
                </a:cubicBezTo>
                <a:lnTo>
                  <a:pt x="1495" y="466"/>
                </a:lnTo>
                <a:close/>
                <a:moveTo>
                  <a:pt x="1533" y="359"/>
                </a:moveTo>
                <a:cubicBezTo>
                  <a:pt x="1534" y="361"/>
                  <a:pt x="1535" y="363"/>
                  <a:pt x="1535" y="364"/>
                </a:cubicBezTo>
                <a:cubicBezTo>
                  <a:pt x="1535" y="366"/>
                  <a:pt x="1534" y="368"/>
                  <a:pt x="1533" y="369"/>
                </a:cubicBezTo>
                <a:lnTo>
                  <a:pt x="1491" y="411"/>
                </a:lnTo>
                <a:cubicBezTo>
                  <a:pt x="1494" y="415"/>
                  <a:pt x="1498" y="418"/>
                  <a:pt x="1501" y="420"/>
                </a:cubicBezTo>
                <a:cubicBezTo>
                  <a:pt x="1505" y="422"/>
                  <a:pt x="1509" y="423"/>
                  <a:pt x="1512" y="424"/>
                </a:cubicBezTo>
                <a:cubicBezTo>
                  <a:pt x="1516" y="424"/>
                  <a:pt x="1520" y="423"/>
                  <a:pt x="1524" y="422"/>
                </a:cubicBezTo>
                <a:cubicBezTo>
                  <a:pt x="1528" y="420"/>
                  <a:pt x="1531" y="418"/>
                  <a:pt x="1535" y="414"/>
                </a:cubicBezTo>
                <a:cubicBezTo>
                  <a:pt x="1538" y="411"/>
                  <a:pt x="1541" y="408"/>
                  <a:pt x="1543" y="405"/>
                </a:cubicBezTo>
                <a:cubicBezTo>
                  <a:pt x="1545" y="402"/>
                  <a:pt x="1546" y="399"/>
                  <a:pt x="1547" y="397"/>
                </a:cubicBezTo>
                <a:cubicBezTo>
                  <a:pt x="1548" y="394"/>
                  <a:pt x="1549" y="392"/>
                  <a:pt x="1550" y="391"/>
                </a:cubicBezTo>
                <a:cubicBezTo>
                  <a:pt x="1551" y="389"/>
                  <a:pt x="1551" y="388"/>
                  <a:pt x="1552" y="387"/>
                </a:cubicBezTo>
                <a:cubicBezTo>
                  <a:pt x="1552" y="387"/>
                  <a:pt x="1552" y="387"/>
                  <a:pt x="1553" y="387"/>
                </a:cubicBezTo>
                <a:cubicBezTo>
                  <a:pt x="1553" y="387"/>
                  <a:pt x="1554" y="387"/>
                  <a:pt x="1554" y="387"/>
                </a:cubicBezTo>
                <a:cubicBezTo>
                  <a:pt x="1555" y="387"/>
                  <a:pt x="1555" y="387"/>
                  <a:pt x="1556" y="388"/>
                </a:cubicBezTo>
                <a:cubicBezTo>
                  <a:pt x="1557" y="388"/>
                  <a:pt x="1557" y="389"/>
                  <a:pt x="1558" y="390"/>
                </a:cubicBezTo>
                <a:cubicBezTo>
                  <a:pt x="1559" y="391"/>
                  <a:pt x="1559" y="391"/>
                  <a:pt x="1560" y="392"/>
                </a:cubicBezTo>
                <a:cubicBezTo>
                  <a:pt x="1560" y="392"/>
                  <a:pt x="1561" y="393"/>
                  <a:pt x="1561" y="393"/>
                </a:cubicBezTo>
                <a:cubicBezTo>
                  <a:pt x="1561" y="394"/>
                  <a:pt x="1561" y="394"/>
                  <a:pt x="1561" y="394"/>
                </a:cubicBezTo>
                <a:cubicBezTo>
                  <a:pt x="1562" y="395"/>
                  <a:pt x="1562" y="395"/>
                  <a:pt x="1562" y="396"/>
                </a:cubicBezTo>
                <a:cubicBezTo>
                  <a:pt x="1562" y="396"/>
                  <a:pt x="1561" y="398"/>
                  <a:pt x="1561" y="400"/>
                </a:cubicBezTo>
                <a:cubicBezTo>
                  <a:pt x="1560" y="401"/>
                  <a:pt x="1559" y="404"/>
                  <a:pt x="1557" y="406"/>
                </a:cubicBezTo>
                <a:cubicBezTo>
                  <a:pt x="1556" y="409"/>
                  <a:pt x="1554" y="412"/>
                  <a:pt x="1552" y="415"/>
                </a:cubicBezTo>
                <a:cubicBezTo>
                  <a:pt x="1549" y="418"/>
                  <a:pt x="1547" y="421"/>
                  <a:pt x="1544" y="424"/>
                </a:cubicBezTo>
                <a:cubicBezTo>
                  <a:pt x="1538" y="430"/>
                  <a:pt x="1533" y="434"/>
                  <a:pt x="1528" y="436"/>
                </a:cubicBezTo>
                <a:cubicBezTo>
                  <a:pt x="1522" y="439"/>
                  <a:pt x="1517" y="440"/>
                  <a:pt x="1511" y="440"/>
                </a:cubicBezTo>
                <a:cubicBezTo>
                  <a:pt x="1505" y="439"/>
                  <a:pt x="1500" y="438"/>
                  <a:pt x="1494" y="435"/>
                </a:cubicBezTo>
                <a:cubicBezTo>
                  <a:pt x="1488" y="432"/>
                  <a:pt x="1482" y="427"/>
                  <a:pt x="1476" y="421"/>
                </a:cubicBezTo>
                <a:cubicBezTo>
                  <a:pt x="1471" y="416"/>
                  <a:pt x="1466" y="410"/>
                  <a:pt x="1463" y="404"/>
                </a:cubicBezTo>
                <a:cubicBezTo>
                  <a:pt x="1460" y="398"/>
                  <a:pt x="1459" y="393"/>
                  <a:pt x="1458" y="387"/>
                </a:cubicBezTo>
                <a:cubicBezTo>
                  <a:pt x="1458" y="381"/>
                  <a:pt x="1459" y="375"/>
                  <a:pt x="1461" y="370"/>
                </a:cubicBezTo>
                <a:cubicBezTo>
                  <a:pt x="1463" y="364"/>
                  <a:pt x="1467" y="359"/>
                  <a:pt x="1471" y="355"/>
                </a:cubicBezTo>
                <a:cubicBezTo>
                  <a:pt x="1477" y="350"/>
                  <a:pt x="1482" y="346"/>
                  <a:pt x="1487" y="344"/>
                </a:cubicBezTo>
                <a:cubicBezTo>
                  <a:pt x="1492" y="342"/>
                  <a:pt x="1497" y="341"/>
                  <a:pt x="1502" y="342"/>
                </a:cubicBezTo>
                <a:cubicBezTo>
                  <a:pt x="1507" y="342"/>
                  <a:pt x="1512" y="344"/>
                  <a:pt x="1517" y="346"/>
                </a:cubicBezTo>
                <a:cubicBezTo>
                  <a:pt x="1522" y="349"/>
                  <a:pt x="1526" y="353"/>
                  <a:pt x="1530" y="357"/>
                </a:cubicBezTo>
                <a:lnTo>
                  <a:pt x="1533" y="359"/>
                </a:lnTo>
                <a:close/>
                <a:moveTo>
                  <a:pt x="1517" y="367"/>
                </a:moveTo>
                <a:cubicBezTo>
                  <a:pt x="1511" y="361"/>
                  <a:pt x="1505" y="357"/>
                  <a:pt x="1498" y="357"/>
                </a:cubicBezTo>
                <a:cubicBezTo>
                  <a:pt x="1492" y="356"/>
                  <a:pt x="1486" y="359"/>
                  <a:pt x="1480" y="364"/>
                </a:cubicBezTo>
                <a:cubicBezTo>
                  <a:pt x="1477" y="367"/>
                  <a:pt x="1475" y="371"/>
                  <a:pt x="1474" y="374"/>
                </a:cubicBezTo>
                <a:cubicBezTo>
                  <a:pt x="1473" y="377"/>
                  <a:pt x="1473" y="381"/>
                  <a:pt x="1473" y="384"/>
                </a:cubicBezTo>
                <a:cubicBezTo>
                  <a:pt x="1473" y="387"/>
                  <a:pt x="1474" y="390"/>
                  <a:pt x="1476" y="394"/>
                </a:cubicBezTo>
                <a:cubicBezTo>
                  <a:pt x="1477" y="397"/>
                  <a:pt x="1479" y="400"/>
                  <a:pt x="1482" y="403"/>
                </a:cubicBezTo>
                <a:lnTo>
                  <a:pt x="1517" y="367"/>
                </a:lnTo>
                <a:close/>
                <a:moveTo>
                  <a:pt x="1664" y="249"/>
                </a:moveTo>
                <a:cubicBezTo>
                  <a:pt x="1668" y="254"/>
                  <a:pt x="1671" y="258"/>
                  <a:pt x="1673" y="263"/>
                </a:cubicBezTo>
                <a:cubicBezTo>
                  <a:pt x="1675" y="268"/>
                  <a:pt x="1676" y="273"/>
                  <a:pt x="1675" y="279"/>
                </a:cubicBezTo>
                <a:cubicBezTo>
                  <a:pt x="1675" y="284"/>
                  <a:pt x="1673" y="289"/>
                  <a:pt x="1671" y="294"/>
                </a:cubicBezTo>
                <a:cubicBezTo>
                  <a:pt x="1668" y="299"/>
                  <a:pt x="1664" y="304"/>
                  <a:pt x="1660" y="308"/>
                </a:cubicBezTo>
                <a:cubicBezTo>
                  <a:pt x="1657" y="311"/>
                  <a:pt x="1654" y="314"/>
                  <a:pt x="1650" y="316"/>
                </a:cubicBezTo>
                <a:cubicBezTo>
                  <a:pt x="1647" y="318"/>
                  <a:pt x="1644" y="320"/>
                  <a:pt x="1641" y="321"/>
                </a:cubicBezTo>
                <a:cubicBezTo>
                  <a:pt x="1639" y="323"/>
                  <a:pt x="1636" y="324"/>
                  <a:pt x="1634" y="324"/>
                </a:cubicBezTo>
                <a:cubicBezTo>
                  <a:pt x="1632" y="325"/>
                  <a:pt x="1630" y="325"/>
                  <a:pt x="1629" y="325"/>
                </a:cubicBezTo>
                <a:cubicBezTo>
                  <a:pt x="1628" y="325"/>
                  <a:pt x="1626" y="325"/>
                  <a:pt x="1625" y="324"/>
                </a:cubicBezTo>
                <a:cubicBezTo>
                  <a:pt x="1624" y="323"/>
                  <a:pt x="1623" y="322"/>
                  <a:pt x="1621" y="321"/>
                </a:cubicBezTo>
                <a:cubicBezTo>
                  <a:pt x="1620" y="320"/>
                  <a:pt x="1620" y="319"/>
                  <a:pt x="1619" y="318"/>
                </a:cubicBezTo>
                <a:cubicBezTo>
                  <a:pt x="1618" y="317"/>
                  <a:pt x="1618" y="317"/>
                  <a:pt x="1618" y="316"/>
                </a:cubicBezTo>
                <a:cubicBezTo>
                  <a:pt x="1617" y="315"/>
                  <a:pt x="1617" y="315"/>
                  <a:pt x="1617" y="314"/>
                </a:cubicBezTo>
                <a:cubicBezTo>
                  <a:pt x="1618" y="314"/>
                  <a:pt x="1618" y="313"/>
                  <a:pt x="1618" y="313"/>
                </a:cubicBezTo>
                <a:cubicBezTo>
                  <a:pt x="1619" y="312"/>
                  <a:pt x="1620" y="312"/>
                  <a:pt x="1622" y="311"/>
                </a:cubicBezTo>
                <a:cubicBezTo>
                  <a:pt x="1624" y="311"/>
                  <a:pt x="1627" y="310"/>
                  <a:pt x="1630" y="309"/>
                </a:cubicBezTo>
                <a:cubicBezTo>
                  <a:pt x="1633" y="308"/>
                  <a:pt x="1636" y="307"/>
                  <a:pt x="1639" y="305"/>
                </a:cubicBezTo>
                <a:cubicBezTo>
                  <a:pt x="1643" y="303"/>
                  <a:pt x="1646" y="301"/>
                  <a:pt x="1650" y="297"/>
                </a:cubicBezTo>
                <a:cubicBezTo>
                  <a:pt x="1653" y="294"/>
                  <a:pt x="1655" y="292"/>
                  <a:pt x="1656" y="289"/>
                </a:cubicBezTo>
                <a:cubicBezTo>
                  <a:pt x="1658" y="286"/>
                  <a:pt x="1659" y="283"/>
                  <a:pt x="1659" y="280"/>
                </a:cubicBezTo>
                <a:cubicBezTo>
                  <a:pt x="1659" y="277"/>
                  <a:pt x="1659" y="274"/>
                  <a:pt x="1658" y="271"/>
                </a:cubicBezTo>
                <a:cubicBezTo>
                  <a:pt x="1657" y="269"/>
                  <a:pt x="1655" y="266"/>
                  <a:pt x="1652" y="263"/>
                </a:cubicBezTo>
                <a:cubicBezTo>
                  <a:pt x="1650" y="261"/>
                  <a:pt x="1647" y="259"/>
                  <a:pt x="1644" y="259"/>
                </a:cubicBezTo>
                <a:cubicBezTo>
                  <a:pt x="1641" y="258"/>
                  <a:pt x="1638" y="258"/>
                  <a:pt x="1634" y="258"/>
                </a:cubicBezTo>
                <a:cubicBezTo>
                  <a:pt x="1631" y="259"/>
                  <a:pt x="1627" y="260"/>
                  <a:pt x="1624" y="261"/>
                </a:cubicBezTo>
                <a:cubicBezTo>
                  <a:pt x="1620" y="263"/>
                  <a:pt x="1616" y="264"/>
                  <a:pt x="1612" y="265"/>
                </a:cubicBezTo>
                <a:cubicBezTo>
                  <a:pt x="1609" y="267"/>
                  <a:pt x="1605" y="268"/>
                  <a:pt x="1601" y="269"/>
                </a:cubicBezTo>
                <a:cubicBezTo>
                  <a:pt x="1597" y="270"/>
                  <a:pt x="1593" y="270"/>
                  <a:pt x="1589" y="270"/>
                </a:cubicBezTo>
                <a:cubicBezTo>
                  <a:pt x="1585" y="270"/>
                  <a:pt x="1581" y="270"/>
                  <a:pt x="1577" y="268"/>
                </a:cubicBezTo>
                <a:cubicBezTo>
                  <a:pt x="1573" y="267"/>
                  <a:pt x="1569" y="264"/>
                  <a:pt x="1565" y="260"/>
                </a:cubicBezTo>
                <a:cubicBezTo>
                  <a:pt x="1561" y="256"/>
                  <a:pt x="1559" y="252"/>
                  <a:pt x="1557" y="248"/>
                </a:cubicBezTo>
                <a:cubicBezTo>
                  <a:pt x="1555" y="243"/>
                  <a:pt x="1555" y="239"/>
                  <a:pt x="1555" y="234"/>
                </a:cubicBezTo>
                <a:cubicBezTo>
                  <a:pt x="1556" y="230"/>
                  <a:pt x="1557" y="225"/>
                  <a:pt x="1560" y="220"/>
                </a:cubicBezTo>
                <a:cubicBezTo>
                  <a:pt x="1562" y="216"/>
                  <a:pt x="1565" y="212"/>
                  <a:pt x="1569" y="208"/>
                </a:cubicBezTo>
                <a:cubicBezTo>
                  <a:pt x="1571" y="206"/>
                  <a:pt x="1573" y="204"/>
                  <a:pt x="1576" y="202"/>
                </a:cubicBezTo>
                <a:cubicBezTo>
                  <a:pt x="1578" y="200"/>
                  <a:pt x="1581" y="199"/>
                  <a:pt x="1583" y="197"/>
                </a:cubicBezTo>
                <a:cubicBezTo>
                  <a:pt x="1586" y="196"/>
                  <a:pt x="1588" y="195"/>
                  <a:pt x="1590" y="195"/>
                </a:cubicBezTo>
                <a:cubicBezTo>
                  <a:pt x="1592" y="194"/>
                  <a:pt x="1594" y="194"/>
                  <a:pt x="1595" y="194"/>
                </a:cubicBezTo>
                <a:cubicBezTo>
                  <a:pt x="1596" y="194"/>
                  <a:pt x="1596" y="194"/>
                  <a:pt x="1597" y="194"/>
                </a:cubicBezTo>
                <a:cubicBezTo>
                  <a:pt x="1597" y="194"/>
                  <a:pt x="1598" y="194"/>
                  <a:pt x="1598" y="194"/>
                </a:cubicBezTo>
                <a:cubicBezTo>
                  <a:pt x="1599" y="195"/>
                  <a:pt x="1599" y="195"/>
                  <a:pt x="1600" y="196"/>
                </a:cubicBezTo>
                <a:cubicBezTo>
                  <a:pt x="1600" y="196"/>
                  <a:pt x="1601" y="197"/>
                  <a:pt x="1602" y="198"/>
                </a:cubicBezTo>
                <a:cubicBezTo>
                  <a:pt x="1603" y="199"/>
                  <a:pt x="1604" y="199"/>
                  <a:pt x="1604" y="200"/>
                </a:cubicBezTo>
                <a:cubicBezTo>
                  <a:pt x="1605" y="201"/>
                  <a:pt x="1605" y="202"/>
                  <a:pt x="1606" y="202"/>
                </a:cubicBezTo>
                <a:cubicBezTo>
                  <a:pt x="1606" y="203"/>
                  <a:pt x="1606" y="203"/>
                  <a:pt x="1606" y="204"/>
                </a:cubicBezTo>
                <a:cubicBezTo>
                  <a:pt x="1606" y="204"/>
                  <a:pt x="1606" y="205"/>
                  <a:pt x="1606" y="205"/>
                </a:cubicBezTo>
                <a:cubicBezTo>
                  <a:pt x="1605" y="206"/>
                  <a:pt x="1604" y="206"/>
                  <a:pt x="1602" y="207"/>
                </a:cubicBezTo>
                <a:cubicBezTo>
                  <a:pt x="1600" y="207"/>
                  <a:pt x="1598" y="208"/>
                  <a:pt x="1596" y="208"/>
                </a:cubicBezTo>
                <a:cubicBezTo>
                  <a:pt x="1593" y="209"/>
                  <a:pt x="1590" y="210"/>
                  <a:pt x="1588" y="212"/>
                </a:cubicBezTo>
                <a:cubicBezTo>
                  <a:pt x="1585" y="213"/>
                  <a:pt x="1582" y="216"/>
                  <a:pt x="1579" y="218"/>
                </a:cubicBezTo>
                <a:cubicBezTo>
                  <a:pt x="1576" y="221"/>
                  <a:pt x="1575" y="223"/>
                  <a:pt x="1573" y="226"/>
                </a:cubicBezTo>
                <a:cubicBezTo>
                  <a:pt x="1572" y="229"/>
                  <a:pt x="1571" y="231"/>
                  <a:pt x="1571" y="234"/>
                </a:cubicBezTo>
                <a:cubicBezTo>
                  <a:pt x="1571" y="236"/>
                  <a:pt x="1572" y="238"/>
                  <a:pt x="1573" y="241"/>
                </a:cubicBezTo>
                <a:cubicBezTo>
                  <a:pt x="1574" y="243"/>
                  <a:pt x="1575" y="245"/>
                  <a:pt x="1577" y="246"/>
                </a:cubicBezTo>
                <a:cubicBezTo>
                  <a:pt x="1579" y="249"/>
                  <a:pt x="1582" y="251"/>
                  <a:pt x="1585" y="251"/>
                </a:cubicBezTo>
                <a:cubicBezTo>
                  <a:pt x="1588" y="252"/>
                  <a:pt x="1592" y="252"/>
                  <a:pt x="1595" y="252"/>
                </a:cubicBezTo>
                <a:cubicBezTo>
                  <a:pt x="1598" y="251"/>
                  <a:pt x="1602" y="250"/>
                  <a:pt x="1606" y="249"/>
                </a:cubicBezTo>
                <a:cubicBezTo>
                  <a:pt x="1609" y="247"/>
                  <a:pt x="1613" y="246"/>
                  <a:pt x="1617" y="245"/>
                </a:cubicBezTo>
                <a:cubicBezTo>
                  <a:pt x="1621" y="243"/>
                  <a:pt x="1625" y="242"/>
                  <a:pt x="1629" y="241"/>
                </a:cubicBezTo>
                <a:cubicBezTo>
                  <a:pt x="1633" y="240"/>
                  <a:pt x="1637" y="239"/>
                  <a:pt x="1641" y="239"/>
                </a:cubicBezTo>
                <a:cubicBezTo>
                  <a:pt x="1645" y="239"/>
                  <a:pt x="1649" y="240"/>
                  <a:pt x="1653" y="241"/>
                </a:cubicBezTo>
                <a:cubicBezTo>
                  <a:pt x="1657" y="243"/>
                  <a:pt x="1660" y="246"/>
                  <a:pt x="1664" y="249"/>
                </a:cubicBezTo>
                <a:close/>
                <a:moveTo>
                  <a:pt x="1761" y="201"/>
                </a:moveTo>
                <a:cubicBezTo>
                  <a:pt x="1761" y="202"/>
                  <a:pt x="1761" y="202"/>
                  <a:pt x="1761" y="202"/>
                </a:cubicBezTo>
                <a:cubicBezTo>
                  <a:pt x="1761" y="203"/>
                  <a:pt x="1761" y="203"/>
                  <a:pt x="1761" y="204"/>
                </a:cubicBezTo>
                <a:cubicBezTo>
                  <a:pt x="1761" y="205"/>
                  <a:pt x="1760" y="205"/>
                  <a:pt x="1760" y="206"/>
                </a:cubicBezTo>
                <a:cubicBezTo>
                  <a:pt x="1759" y="207"/>
                  <a:pt x="1758" y="208"/>
                  <a:pt x="1757" y="209"/>
                </a:cubicBezTo>
                <a:cubicBezTo>
                  <a:pt x="1756" y="211"/>
                  <a:pt x="1755" y="211"/>
                  <a:pt x="1754" y="212"/>
                </a:cubicBezTo>
                <a:cubicBezTo>
                  <a:pt x="1753" y="213"/>
                  <a:pt x="1752" y="213"/>
                  <a:pt x="1752" y="213"/>
                </a:cubicBezTo>
                <a:cubicBezTo>
                  <a:pt x="1751" y="214"/>
                  <a:pt x="1750" y="214"/>
                  <a:pt x="1750" y="214"/>
                </a:cubicBezTo>
                <a:cubicBezTo>
                  <a:pt x="1750" y="214"/>
                  <a:pt x="1749" y="213"/>
                  <a:pt x="1749" y="213"/>
                </a:cubicBezTo>
                <a:lnTo>
                  <a:pt x="1711" y="175"/>
                </a:lnTo>
                <a:cubicBezTo>
                  <a:pt x="1707" y="172"/>
                  <a:pt x="1704" y="169"/>
                  <a:pt x="1701" y="167"/>
                </a:cubicBezTo>
                <a:cubicBezTo>
                  <a:pt x="1698" y="165"/>
                  <a:pt x="1696" y="164"/>
                  <a:pt x="1693" y="164"/>
                </a:cubicBezTo>
                <a:cubicBezTo>
                  <a:pt x="1690" y="163"/>
                  <a:pt x="1687" y="164"/>
                  <a:pt x="1685" y="164"/>
                </a:cubicBezTo>
                <a:cubicBezTo>
                  <a:pt x="1682" y="165"/>
                  <a:pt x="1680" y="167"/>
                  <a:pt x="1677" y="169"/>
                </a:cubicBezTo>
                <a:cubicBezTo>
                  <a:pt x="1674" y="172"/>
                  <a:pt x="1673" y="176"/>
                  <a:pt x="1672" y="181"/>
                </a:cubicBezTo>
                <a:cubicBezTo>
                  <a:pt x="1671" y="186"/>
                  <a:pt x="1671" y="193"/>
                  <a:pt x="1672" y="200"/>
                </a:cubicBezTo>
                <a:lnTo>
                  <a:pt x="1717" y="245"/>
                </a:lnTo>
                <a:cubicBezTo>
                  <a:pt x="1717" y="245"/>
                  <a:pt x="1717" y="246"/>
                  <a:pt x="1717" y="246"/>
                </a:cubicBezTo>
                <a:cubicBezTo>
                  <a:pt x="1718" y="247"/>
                  <a:pt x="1717" y="247"/>
                  <a:pt x="1717" y="248"/>
                </a:cubicBezTo>
                <a:cubicBezTo>
                  <a:pt x="1717" y="249"/>
                  <a:pt x="1717" y="249"/>
                  <a:pt x="1716" y="250"/>
                </a:cubicBezTo>
                <a:cubicBezTo>
                  <a:pt x="1715" y="251"/>
                  <a:pt x="1714" y="252"/>
                  <a:pt x="1713" y="253"/>
                </a:cubicBezTo>
                <a:cubicBezTo>
                  <a:pt x="1712" y="254"/>
                  <a:pt x="1711" y="255"/>
                  <a:pt x="1710" y="256"/>
                </a:cubicBezTo>
                <a:cubicBezTo>
                  <a:pt x="1709" y="257"/>
                  <a:pt x="1708" y="257"/>
                  <a:pt x="1708" y="257"/>
                </a:cubicBezTo>
                <a:cubicBezTo>
                  <a:pt x="1707" y="258"/>
                  <a:pt x="1707" y="258"/>
                  <a:pt x="1706" y="258"/>
                </a:cubicBezTo>
                <a:cubicBezTo>
                  <a:pt x="1706" y="257"/>
                  <a:pt x="1705" y="257"/>
                  <a:pt x="1705" y="257"/>
                </a:cubicBezTo>
                <a:lnTo>
                  <a:pt x="1609" y="161"/>
                </a:lnTo>
                <a:cubicBezTo>
                  <a:pt x="1609" y="161"/>
                  <a:pt x="1608" y="160"/>
                  <a:pt x="1608" y="160"/>
                </a:cubicBezTo>
                <a:cubicBezTo>
                  <a:pt x="1608" y="159"/>
                  <a:pt x="1608" y="159"/>
                  <a:pt x="1608" y="158"/>
                </a:cubicBezTo>
                <a:cubicBezTo>
                  <a:pt x="1609" y="157"/>
                  <a:pt x="1609" y="157"/>
                  <a:pt x="1610" y="156"/>
                </a:cubicBezTo>
                <a:cubicBezTo>
                  <a:pt x="1611" y="155"/>
                  <a:pt x="1611" y="154"/>
                  <a:pt x="1613" y="153"/>
                </a:cubicBezTo>
                <a:cubicBezTo>
                  <a:pt x="1614" y="152"/>
                  <a:pt x="1615" y="151"/>
                  <a:pt x="1616" y="150"/>
                </a:cubicBezTo>
                <a:cubicBezTo>
                  <a:pt x="1617" y="149"/>
                  <a:pt x="1617" y="149"/>
                  <a:pt x="1618" y="149"/>
                </a:cubicBezTo>
                <a:cubicBezTo>
                  <a:pt x="1619" y="148"/>
                  <a:pt x="1619" y="148"/>
                  <a:pt x="1620" y="148"/>
                </a:cubicBezTo>
                <a:cubicBezTo>
                  <a:pt x="1620" y="148"/>
                  <a:pt x="1620" y="149"/>
                  <a:pt x="1621" y="149"/>
                </a:cubicBezTo>
                <a:lnTo>
                  <a:pt x="1660" y="188"/>
                </a:lnTo>
                <a:cubicBezTo>
                  <a:pt x="1659" y="181"/>
                  <a:pt x="1660" y="175"/>
                  <a:pt x="1662" y="169"/>
                </a:cubicBezTo>
                <a:cubicBezTo>
                  <a:pt x="1664" y="164"/>
                  <a:pt x="1666" y="160"/>
                  <a:pt x="1670" y="156"/>
                </a:cubicBezTo>
                <a:cubicBezTo>
                  <a:pt x="1674" y="152"/>
                  <a:pt x="1678" y="149"/>
                  <a:pt x="1683" y="148"/>
                </a:cubicBezTo>
                <a:cubicBezTo>
                  <a:pt x="1687" y="146"/>
                  <a:pt x="1691" y="146"/>
                  <a:pt x="1696" y="146"/>
                </a:cubicBezTo>
                <a:cubicBezTo>
                  <a:pt x="1700" y="147"/>
                  <a:pt x="1704" y="149"/>
                  <a:pt x="1708" y="151"/>
                </a:cubicBezTo>
                <a:cubicBezTo>
                  <a:pt x="1712" y="154"/>
                  <a:pt x="1717" y="157"/>
                  <a:pt x="1721" y="162"/>
                </a:cubicBezTo>
                <a:lnTo>
                  <a:pt x="1761" y="201"/>
                </a:lnTo>
                <a:close/>
                <a:moveTo>
                  <a:pt x="1796" y="166"/>
                </a:moveTo>
                <a:cubicBezTo>
                  <a:pt x="1796" y="166"/>
                  <a:pt x="1797" y="167"/>
                  <a:pt x="1797" y="167"/>
                </a:cubicBezTo>
                <a:cubicBezTo>
                  <a:pt x="1797" y="168"/>
                  <a:pt x="1797" y="168"/>
                  <a:pt x="1796" y="169"/>
                </a:cubicBezTo>
                <a:cubicBezTo>
                  <a:pt x="1796" y="169"/>
                  <a:pt x="1796" y="170"/>
                  <a:pt x="1795" y="171"/>
                </a:cubicBezTo>
                <a:cubicBezTo>
                  <a:pt x="1794" y="172"/>
                  <a:pt x="1793" y="173"/>
                  <a:pt x="1792" y="174"/>
                </a:cubicBezTo>
                <a:cubicBezTo>
                  <a:pt x="1791" y="175"/>
                  <a:pt x="1790" y="176"/>
                  <a:pt x="1789" y="177"/>
                </a:cubicBezTo>
                <a:cubicBezTo>
                  <a:pt x="1788" y="177"/>
                  <a:pt x="1788" y="178"/>
                  <a:pt x="1787" y="178"/>
                </a:cubicBezTo>
                <a:cubicBezTo>
                  <a:pt x="1786" y="178"/>
                  <a:pt x="1786" y="178"/>
                  <a:pt x="1785" y="178"/>
                </a:cubicBezTo>
                <a:cubicBezTo>
                  <a:pt x="1785" y="178"/>
                  <a:pt x="1785" y="178"/>
                  <a:pt x="1784" y="178"/>
                </a:cubicBezTo>
                <a:lnTo>
                  <a:pt x="1719" y="113"/>
                </a:lnTo>
                <a:cubicBezTo>
                  <a:pt x="1719" y="113"/>
                  <a:pt x="1719" y="112"/>
                  <a:pt x="1719" y="112"/>
                </a:cubicBezTo>
                <a:cubicBezTo>
                  <a:pt x="1719" y="111"/>
                  <a:pt x="1719" y="111"/>
                  <a:pt x="1719" y="110"/>
                </a:cubicBezTo>
                <a:cubicBezTo>
                  <a:pt x="1719" y="110"/>
                  <a:pt x="1720" y="109"/>
                  <a:pt x="1720" y="108"/>
                </a:cubicBezTo>
                <a:cubicBezTo>
                  <a:pt x="1721" y="107"/>
                  <a:pt x="1722" y="106"/>
                  <a:pt x="1723" y="105"/>
                </a:cubicBezTo>
                <a:cubicBezTo>
                  <a:pt x="1724" y="104"/>
                  <a:pt x="1725" y="103"/>
                  <a:pt x="1726" y="102"/>
                </a:cubicBezTo>
                <a:cubicBezTo>
                  <a:pt x="1727" y="101"/>
                  <a:pt x="1728" y="101"/>
                  <a:pt x="1728" y="101"/>
                </a:cubicBezTo>
                <a:cubicBezTo>
                  <a:pt x="1729" y="101"/>
                  <a:pt x="1730" y="100"/>
                  <a:pt x="1730" y="101"/>
                </a:cubicBezTo>
                <a:cubicBezTo>
                  <a:pt x="1731" y="101"/>
                  <a:pt x="1731" y="101"/>
                  <a:pt x="1731" y="101"/>
                </a:cubicBezTo>
                <a:lnTo>
                  <a:pt x="1796" y="166"/>
                </a:lnTo>
                <a:close/>
                <a:moveTo>
                  <a:pt x="1711" y="78"/>
                </a:moveTo>
                <a:cubicBezTo>
                  <a:pt x="1714" y="81"/>
                  <a:pt x="1715" y="83"/>
                  <a:pt x="1715" y="85"/>
                </a:cubicBezTo>
                <a:cubicBezTo>
                  <a:pt x="1715" y="87"/>
                  <a:pt x="1713" y="90"/>
                  <a:pt x="1711" y="93"/>
                </a:cubicBezTo>
                <a:cubicBezTo>
                  <a:pt x="1708" y="95"/>
                  <a:pt x="1705" y="97"/>
                  <a:pt x="1703" y="97"/>
                </a:cubicBezTo>
                <a:cubicBezTo>
                  <a:pt x="1701" y="97"/>
                  <a:pt x="1699" y="96"/>
                  <a:pt x="1696" y="93"/>
                </a:cubicBezTo>
                <a:cubicBezTo>
                  <a:pt x="1694" y="90"/>
                  <a:pt x="1692" y="88"/>
                  <a:pt x="1692" y="86"/>
                </a:cubicBezTo>
                <a:cubicBezTo>
                  <a:pt x="1692" y="83"/>
                  <a:pt x="1694" y="81"/>
                  <a:pt x="1697" y="78"/>
                </a:cubicBezTo>
                <a:cubicBezTo>
                  <a:pt x="1699" y="75"/>
                  <a:pt x="1702" y="74"/>
                  <a:pt x="1704" y="74"/>
                </a:cubicBezTo>
                <a:cubicBezTo>
                  <a:pt x="1706" y="74"/>
                  <a:pt x="1708" y="75"/>
                  <a:pt x="1711" y="78"/>
                </a:cubicBezTo>
                <a:close/>
                <a:moveTo>
                  <a:pt x="1762" y="17"/>
                </a:moveTo>
                <a:cubicBezTo>
                  <a:pt x="1763" y="18"/>
                  <a:pt x="1764" y="19"/>
                  <a:pt x="1764" y="19"/>
                </a:cubicBezTo>
                <a:cubicBezTo>
                  <a:pt x="1765" y="20"/>
                  <a:pt x="1765" y="21"/>
                  <a:pt x="1765" y="21"/>
                </a:cubicBezTo>
                <a:cubicBezTo>
                  <a:pt x="1766" y="22"/>
                  <a:pt x="1766" y="22"/>
                  <a:pt x="1766" y="22"/>
                </a:cubicBezTo>
                <a:cubicBezTo>
                  <a:pt x="1765" y="23"/>
                  <a:pt x="1765" y="23"/>
                  <a:pt x="1765" y="23"/>
                </a:cubicBezTo>
                <a:cubicBezTo>
                  <a:pt x="1765" y="23"/>
                  <a:pt x="1764" y="24"/>
                  <a:pt x="1763" y="24"/>
                </a:cubicBezTo>
                <a:cubicBezTo>
                  <a:pt x="1763" y="24"/>
                  <a:pt x="1762" y="25"/>
                  <a:pt x="1761" y="25"/>
                </a:cubicBezTo>
                <a:cubicBezTo>
                  <a:pt x="1760" y="26"/>
                  <a:pt x="1759" y="26"/>
                  <a:pt x="1758" y="27"/>
                </a:cubicBezTo>
                <a:cubicBezTo>
                  <a:pt x="1756" y="28"/>
                  <a:pt x="1755" y="29"/>
                  <a:pt x="1754" y="30"/>
                </a:cubicBezTo>
                <a:cubicBezTo>
                  <a:pt x="1752" y="32"/>
                  <a:pt x="1751" y="34"/>
                  <a:pt x="1750" y="35"/>
                </a:cubicBezTo>
                <a:cubicBezTo>
                  <a:pt x="1750" y="37"/>
                  <a:pt x="1749" y="39"/>
                  <a:pt x="1750" y="41"/>
                </a:cubicBezTo>
                <a:cubicBezTo>
                  <a:pt x="1750" y="43"/>
                  <a:pt x="1751" y="45"/>
                  <a:pt x="1753" y="48"/>
                </a:cubicBezTo>
                <a:cubicBezTo>
                  <a:pt x="1755" y="50"/>
                  <a:pt x="1757" y="52"/>
                  <a:pt x="1760" y="55"/>
                </a:cubicBezTo>
                <a:lnTo>
                  <a:pt x="1767" y="62"/>
                </a:lnTo>
                <a:lnTo>
                  <a:pt x="1781" y="48"/>
                </a:lnTo>
                <a:cubicBezTo>
                  <a:pt x="1781" y="47"/>
                  <a:pt x="1782" y="47"/>
                  <a:pt x="1782" y="47"/>
                </a:cubicBezTo>
                <a:cubicBezTo>
                  <a:pt x="1783" y="47"/>
                  <a:pt x="1783" y="47"/>
                  <a:pt x="1784" y="47"/>
                </a:cubicBezTo>
                <a:cubicBezTo>
                  <a:pt x="1784" y="47"/>
                  <a:pt x="1785" y="48"/>
                  <a:pt x="1786" y="48"/>
                </a:cubicBezTo>
                <a:cubicBezTo>
                  <a:pt x="1787" y="49"/>
                  <a:pt x="1787" y="49"/>
                  <a:pt x="1788" y="50"/>
                </a:cubicBezTo>
                <a:cubicBezTo>
                  <a:pt x="1790" y="52"/>
                  <a:pt x="1791" y="54"/>
                  <a:pt x="1791" y="55"/>
                </a:cubicBezTo>
                <a:cubicBezTo>
                  <a:pt x="1792" y="56"/>
                  <a:pt x="1792" y="57"/>
                  <a:pt x="1791" y="58"/>
                </a:cubicBezTo>
                <a:lnTo>
                  <a:pt x="1776" y="72"/>
                </a:lnTo>
                <a:lnTo>
                  <a:pt x="1833" y="129"/>
                </a:lnTo>
                <a:cubicBezTo>
                  <a:pt x="1833" y="129"/>
                  <a:pt x="1834" y="130"/>
                  <a:pt x="1834" y="130"/>
                </a:cubicBezTo>
                <a:cubicBezTo>
                  <a:pt x="1834" y="130"/>
                  <a:pt x="1834" y="131"/>
                  <a:pt x="1833" y="132"/>
                </a:cubicBezTo>
                <a:cubicBezTo>
                  <a:pt x="1833" y="132"/>
                  <a:pt x="1833" y="133"/>
                  <a:pt x="1832" y="134"/>
                </a:cubicBezTo>
                <a:cubicBezTo>
                  <a:pt x="1831" y="135"/>
                  <a:pt x="1830" y="136"/>
                  <a:pt x="1829" y="137"/>
                </a:cubicBezTo>
                <a:cubicBezTo>
                  <a:pt x="1828" y="138"/>
                  <a:pt x="1827" y="139"/>
                  <a:pt x="1826" y="140"/>
                </a:cubicBezTo>
                <a:cubicBezTo>
                  <a:pt x="1825" y="140"/>
                  <a:pt x="1825" y="141"/>
                  <a:pt x="1824" y="141"/>
                </a:cubicBezTo>
                <a:cubicBezTo>
                  <a:pt x="1823" y="141"/>
                  <a:pt x="1823" y="141"/>
                  <a:pt x="1822" y="141"/>
                </a:cubicBezTo>
                <a:cubicBezTo>
                  <a:pt x="1822" y="141"/>
                  <a:pt x="1822" y="141"/>
                  <a:pt x="1821" y="141"/>
                </a:cubicBezTo>
                <a:lnTo>
                  <a:pt x="1764" y="84"/>
                </a:lnTo>
                <a:lnTo>
                  <a:pt x="1755" y="93"/>
                </a:lnTo>
                <a:cubicBezTo>
                  <a:pt x="1755" y="94"/>
                  <a:pt x="1754" y="94"/>
                  <a:pt x="1752" y="94"/>
                </a:cubicBezTo>
                <a:cubicBezTo>
                  <a:pt x="1751" y="93"/>
                  <a:pt x="1750" y="92"/>
                  <a:pt x="1748" y="91"/>
                </a:cubicBezTo>
                <a:cubicBezTo>
                  <a:pt x="1747" y="90"/>
                  <a:pt x="1747" y="89"/>
                  <a:pt x="1746" y="88"/>
                </a:cubicBezTo>
                <a:cubicBezTo>
                  <a:pt x="1746" y="87"/>
                  <a:pt x="1745" y="87"/>
                  <a:pt x="1745" y="86"/>
                </a:cubicBezTo>
                <a:cubicBezTo>
                  <a:pt x="1745" y="85"/>
                  <a:pt x="1745" y="85"/>
                  <a:pt x="1745" y="85"/>
                </a:cubicBezTo>
                <a:cubicBezTo>
                  <a:pt x="1745" y="84"/>
                  <a:pt x="1745" y="84"/>
                  <a:pt x="1746" y="83"/>
                </a:cubicBezTo>
                <a:lnTo>
                  <a:pt x="1755" y="74"/>
                </a:lnTo>
                <a:lnTo>
                  <a:pt x="1748" y="67"/>
                </a:lnTo>
                <a:cubicBezTo>
                  <a:pt x="1743" y="63"/>
                  <a:pt x="1740" y="59"/>
                  <a:pt x="1738" y="55"/>
                </a:cubicBezTo>
                <a:cubicBezTo>
                  <a:pt x="1735" y="51"/>
                  <a:pt x="1734" y="47"/>
                  <a:pt x="1734" y="43"/>
                </a:cubicBezTo>
                <a:cubicBezTo>
                  <a:pt x="1733" y="39"/>
                  <a:pt x="1734" y="35"/>
                  <a:pt x="1735" y="32"/>
                </a:cubicBezTo>
                <a:cubicBezTo>
                  <a:pt x="1737" y="28"/>
                  <a:pt x="1740" y="25"/>
                  <a:pt x="1743" y="21"/>
                </a:cubicBezTo>
                <a:cubicBezTo>
                  <a:pt x="1745" y="19"/>
                  <a:pt x="1747" y="18"/>
                  <a:pt x="1749" y="17"/>
                </a:cubicBezTo>
                <a:cubicBezTo>
                  <a:pt x="1750" y="15"/>
                  <a:pt x="1752" y="14"/>
                  <a:pt x="1753" y="14"/>
                </a:cubicBezTo>
                <a:cubicBezTo>
                  <a:pt x="1754" y="13"/>
                  <a:pt x="1755" y="13"/>
                  <a:pt x="1756" y="13"/>
                </a:cubicBezTo>
                <a:cubicBezTo>
                  <a:pt x="1757" y="13"/>
                  <a:pt x="1757" y="13"/>
                  <a:pt x="1758" y="14"/>
                </a:cubicBezTo>
                <a:cubicBezTo>
                  <a:pt x="1758" y="14"/>
                  <a:pt x="1759" y="14"/>
                  <a:pt x="1760" y="15"/>
                </a:cubicBezTo>
                <a:cubicBezTo>
                  <a:pt x="1761" y="15"/>
                  <a:pt x="1761" y="16"/>
                  <a:pt x="1762" y="17"/>
                </a:cubicBezTo>
                <a:close/>
                <a:moveTo>
                  <a:pt x="1892" y="60"/>
                </a:moveTo>
                <a:cubicBezTo>
                  <a:pt x="1894" y="62"/>
                  <a:pt x="1895" y="63"/>
                  <a:pt x="1895" y="64"/>
                </a:cubicBezTo>
                <a:cubicBezTo>
                  <a:pt x="1896" y="65"/>
                  <a:pt x="1896" y="66"/>
                  <a:pt x="1896" y="66"/>
                </a:cubicBezTo>
                <a:cubicBezTo>
                  <a:pt x="1896" y="67"/>
                  <a:pt x="1896" y="68"/>
                  <a:pt x="1895" y="69"/>
                </a:cubicBezTo>
                <a:cubicBezTo>
                  <a:pt x="1895" y="70"/>
                  <a:pt x="1894" y="71"/>
                  <a:pt x="1894" y="73"/>
                </a:cubicBezTo>
                <a:cubicBezTo>
                  <a:pt x="1893" y="74"/>
                  <a:pt x="1892" y="75"/>
                  <a:pt x="1891" y="76"/>
                </a:cubicBezTo>
                <a:cubicBezTo>
                  <a:pt x="1890" y="78"/>
                  <a:pt x="1889" y="79"/>
                  <a:pt x="1888" y="80"/>
                </a:cubicBezTo>
                <a:cubicBezTo>
                  <a:pt x="1885" y="83"/>
                  <a:pt x="1881" y="86"/>
                  <a:pt x="1878" y="87"/>
                </a:cubicBezTo>
                <a:cubicBezTo>
                  <a:pt x="1875" y="89"/>
                  <a:pt x="1871" y="89"/>
                  <a:pt x="1868" y="89"/>
                </a:cubicBezTo>
                <a:cubicBezTo>
                  <a:pt x="1865" y="89"/>
                  <a:pt x="1861" y="88"/>
                  <a:pt x="1858" y="85"/>
                </a:cubicBezTo>
                <a:cubicBezTo>
                  <a:pt x="1855" y="83"/>
                  <a:pt x="1851" y="81"/>
                  <a:pt x="1847" y="77"/>
                </a:cubicBezTo>
                <a:lnTo>
                  <a:pt x="1809" y="39"/>
                </a:lnTo>
                <a:lnTo>
                  <a:pt x="1800" y="48"/>
                </a:lnTo>
                <a:cubicBezTo>
                  <a:pt x="1800" y="49"/>
                  <a:pt x="1799" y="49"/>
                  <a:pt x="1798" y="49"/>
                </a:cubicBezTo>
                <a:cubicBezTo>
                  <a:pt x="1796" y="48"/>
                  <a:pt x="1795" y="47"/>
                  <a:pt x="1793" y="46"/>
                </a:cubicBezTo>
                <a:cubicBezTo>
                  <a:pt x="1792" y="45"/>
                  <a:pt x="1792" y="44"/>
                  <a:pt x="1791" y="43"/>
                </a:cubicBezTo>
                <a:cubicBezTo>
                  <a:pt x="1791" y="42"/>
                  <a:pt x="1790" y="42"/>
                  <a:pt x="1790" y="41"/>
                </a:cubicBezTo>
                <a:cubicBezTo>
                  <a:pt x="1790" y="40"/>
                  <a:pt x="1790" y="40"/>
                  <a:pt x="1790" y="39"/>
                </a:cubicBezTo>
                <a:cubicBezTo>
                  <a:pt x="1790" y="39"/>
                  <a:pt x="1790" y="39"/>
                  <a:pt x="1791" y="38"/>
                </a:cubicBezTo>
                <a:lnTo>
                  <a:pt x="1800" y="29"/>
                </a:lnTo>
                <a:lnTo>
                  <a:pt x="1784" y="14"/>
                </a:lnTo>
                <a:cubicBezTo>
                  <a:pt x="1784" y="13"/>
                  <a:pt x="1784" y="13"/>
                  <a:pt x="1784" y="13"/>
                </a:cubicBezTo>
                <a:cubicBezTo>
                  <a:pt x="1783" y="12"/>
                  <a:pt x="1784" y="12"/>
                  <a:pt x="1784" y="11"/>
                </a:cubicBezTo>
                <a:cubicBezTo>
                  <a:pt x="1784" y="10"/>
                  <a:pt x="1784" y="9"/>
                  <a:pt x="1785" y="9"/>
                </a:cubicBezTo>
                <a:cubicBezTo>
                  <a:pt x="1786" y="8"/>
                  <a:pt x="1787" y="7"/>
                  <a:pt x="1788" y="6"/>
                </a:cubicBezTo>
                <a:cubicBezTo>
                  <a:pt x="1789" y="4"/>
                  <a:pt x="1790" y="3"/>
                  <a:pt x="1791" y="3"/>
                </a:cubicBezTo>
                <a:cubicBezTo>
                  <a:pt x="1792" y="2"/>
                  <a:pt x="1793" y="2"/>
                  <a:pt x="1793" y="1"/>
                </a:cubicBezTo>
                <a:cubicBezTo>
                  <a:pt x="1794" y="1"/>
                  <a:pt x="1794" y="1"/>
                  <a:pt x="1795" y="1"/>
                </a:cubicBezTo>
                <a:cubicBezTo>
                  <a:pt x="1795" y="1"/>
                  <a:pt x="1796" y="2"/>
                  <a:pt x="1796" y="2"/>
                </a:cubicBezTo>
                <a:lnTo>
                  <a:pt x="1811" y="17"/>
                </a:lnTo>
                <a:lnTo>
                  <a:pt x="1828" y="1"/>
                </a:lnTo>
                <a:cubicBezTo>
                  <a:pt x="1828" y="0"/>
                  <a:pt x="1829" y="0"/>
                  <a:pt x="1829" y="0"/>
                </a:cubicBezTo>
                <a:cubicBezTo>
                  <a:pt x="1830" y="0"/>
                  <a:pt x="1830" y="0"/>
                  <a:pt x="1831" y="0"/>
                </a:cubicBezTo>
                <a:cubicBezTo>
                  <a:pt x="1832" y="0"/>
                  <a:pt x="1832" y="1"/>
                  <a:pt x="1833" y="1"/>
                </a:cubicBezTo>
                <a:cubicBezTo>
                  <a:pt x="1834" y="2"/>
                  <a:pt x="1834" y="2"/>
                  <a:pt x="1835" y="3"/>
                </a:cubicBezTo>
                <a:cubicBezTo>
                  <a:pt x="1837" y="5"/>
                  <a:pt x="1838" y="6"/>
                  <a:pt x="1838" y="8"/>
                </a:cubicBezTo>
                <a:cubicBezTo>
                  <a:pt x="1839" y="9"/>
                  <a:pt x="1839" y="10"/>
                  <a:pt x="1838" y="11"/>
                </a:cubicBezTo>
                <a:lnTo>
                  <a:pt x="1821" y="27"/>
                </a:lnTo>
                <a:lnTo>
                  <a:pt x="1857" y="63"/>
                </a:lnTo>
                <a:cubicBezTo>
                  <a:pt x="1862" y="68"/>
                  <a:pt x="1866" y="70"/>
                  <a:pt x="1869" y="71"/>
                </a:cubicBezTo>
                <a:cubicBezTo>
                  <a:pt x="1873" y="72"/>
                  <a:pt x="1877" y="71"/>
                  <a:pt x="1880" y="68"/>
                </a:cubicBezTo>
                <a:cubicBezTo>
                  <a:pt x="1881" y="67"/>
                  <a:pt x="1882" y="65"/>
                  <a:pt x="1883" y="64"/>
                </a:cubicBezTo>
                <a:cubicBezTo>
                  <a:pt x="1883" y="63"/>
                  <a:pt x="1884" y="62"/>
                  <a:pt x="1884" y="61"/>
                </a:cubicBezTo>
                <a:cubicBezTo>
                  <a:pt x="1885" y="61"/>
                  <a:pt x="1885" y="60"/>
                  <a:pt x="1885" y="59"/>
                </a:cubicBezTo>
                <a:cubicBezTo>
                  <a:pt x="1885" y="58"/>
                  <a:pt x="1886" y="58"/>
                  <a:pt x="1886" y="57"/>
                </a:cubicBezTo>
                <a:cubicBezTo>
                  <a:pt x="1886" y="57"/>
                  <a:pt x="1887" y="57"/>
                  <a:pt x="1887" y="57"/>
                </a:cubicBezTo>
                <a:cubicBezTo>
                  <a:pt x="1887" y="57"/>
                  <a:pt x="1888" y="57"/>
                  <a:pt x="1888" y="57"/>
                </a:cubicBezTo>
                <a:cubicBezTo>
                  <a:pt x="1889" y="57"/>
                  <a:pt x="1889" y="58"/>
                  <a:pt x="1890" y="58"/>
                </a:cubicBezTo>
                <a:cubicBezTo>
                  <a:pt x="1891" y="59"/>
                  <a:pt x="1891" y="59"/>
                  <a:pt x="1892" y="60"/>
                </a:cubicBezTo>
                <a:close/>
              </a:path>
            </a:pathLst>
          </a:custGeom>
          <a:solidFill>
            <a:srgbClr val="000000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102" name="Freeform 46"/>
          <p:cNvSpPr>
            <a:spLocks noEditPoints="1"/>
          </p:cNvSpPr>
          <p:nvPr/>
        </p:nvSpPr>
        <p:spPr bwMode="auto">
          <a:xfrm>
            <a:off x="5262822" y="3982331"/>
            <a:ext cx="617538" cy="593725"/>
          </a:xfrm>
          <a:custGeom>
            <a:avLst/>
            <a:gdLst/>
            <a:ahLst/>
            <a:cxnLst>
              <a:cxn ang="0">
                <a:pos x="86" y="940"/>
              </a:cxn>
              <a:cxn ang="0">
                <a:pos x="11" y="841"/>
              </a:cxn>
              <a:cxn ang="0">
                <a:pos x="183" y="784"/>
              </a:cxn>
              <a:cxn ang="0">
                <a:pos x="120" y="850"/>
              </a:cxn>
              <a:cxn ang="0">
                <a:pos x="183" y="784"/>
              </a:cxn>
              <a:cxn ang="0">
                <a:pos x="122" y="825"/>
              </a:cxn>
              <a:cxn ang="0">
                <a:pos x="181" y="808"/>
              </a:cxn>
              <a:cxn ang="0">
                <a:pos x="274" y="759"/>
              </a:cxn>
              <a:cxn ang="0">
                <a:pos x="207" y="774"/>
              </a:cxn>
              <a:cxn ang="0">
                <a:pos x="207" y="712"/>
              </a:cxn>
              <a:cxn ang="0">
                <a:pos x="180" y="745"/>
              </a:cxn>
              <a:cxn ang="0">
                <a:pos x="204" y="696"/>
              </a:cxn>
              <a:cxn ang="0">
                <a:pos x="222" y="759"/>
              </a:cxn>
              <a:cxn ang="0">
                <a:pos x="359" y="675"/>
              </a:cxn>
              <a:cxn ang="0">
                <a:pos x="348" y="685"/>
              </a:cxn>
              <a:cxn ang="0">
                <a:pos x="254" y="686"/>
              </a:cxn>
              <a:cxn ang="0">
                <a:pos x="251" y="588"/>
              </a:cxn>
              <a:cxn ang="0">
                <a:pos x="301" y="641"/>
              </a:cxn>
              <a:cxn ang="0">
                <a:pos x="300" y="703"/>
              </a:cxn>
              <a:cxn ang="0">
                <a:pos x="369" y="492"/>
              </a:cxn>
              <a:cxn ang="0">
                <a:pos x="403" y="532"/>
              </a:cxn>
              <a:cxn ang="0">
                <a:pos x="380" y="576"/>
              </a:cxn>
              <a:cxn ang="0">
                <a:pos x="408" y="627"/>
              </a:cxn>
              <a:cxn ang="0">
                <a:pos x="367" y="490"/>
              </a:cxn>
              <a:cxn ang="0">
                <a:pos x="470" y="551"/>
              </a:cxn>
              <a:cxn ang="0">
                <a:pos x="467" y="449"/>
              </a:cxn>
              <a:cxn ang="0">
                <a:pos x="436" y="485"/>
              </a:cxn>
              <a:cxn ang="0">
                <a:pos x="501" y="515"/>
              </a:cxn>
              <a:cxn ang="0">
                <a:pos x="560" y="477"/>
              </a:cxn>
              <a:cxn ang="0">
                <a:pos x="457" y="380"/>
              </a:cxn>
              <a:cxn ang="0">
                <a:pos x="599" y="437"/>
              </a:cxn>
              <a:cxn ang="0">
                <a:pos x="490" y="351"/>
              </a:cxn>
              <a:cxn ang="0">
                <a:pos x="502" y="339"/>
              </a:cxn>
              <a:cxn ang="0">
                <a:pos x="617" y="404"/>
              </a:cxn>
              <a:cxn ang="0">
                <a:pos x="614" y="302"/>
              </a:cxn>
              <a:cxn ang="0">
                <a:pos x="583" y="338"/>
              </a:cxn>
              <a:cxn ang="0">
                <a:pos x="648" y="368"/>
              </a:cxn>
              <a:cxn ang="0">
                <a:pos x="770" y="265"/>
              </a:cxn>
              <a:cxn ang="0">
                <a:pos x="693" y="245"/>
              </a:cxn>
              <a:cxn ang="0">
                <a:pos x="718" y="319"/>
              </a:cxn>
              <a:cxn ang="0">
                <a:pos x="627" y="273"/>
              </a:cxn>
              <a:cxn ang="0">
                <a:pos x="710" y="302"/>
              </a:cxn>
              <a:cxn ang="0">
                <a:pos x="679" y="221"/>
              </a:cxn>
              <a:cxn ang="0">
                <a:pos x="713" y="188"/>
              </a:cxn>
              <a:cxn ang="0">
                <a:pos x="814" y="222"/>
              </a:cxn>
              <a:cxn ang="0">
                <a:pos x="736" y="168"/>
              </a:cxn>
              <a:cxn ang="0">
                <a:pos x="748" y="156"/>
              </a:cxn>
              <a:cxn ang="0">
                <a:pos x="713" y="133"/>
              </a:cxn>
              <a:cxn ang="0">
                <a:pos x="884" y="153"/>
              </a:cxn>
              <a:cxn ang="0">
                <a:pos x="807" y="111"/>
              </a:cxn>
              <a:cxn ang="0">
                <a:pos x="840" y="197"/>
              </a:cxn>
              <a:cxn ang="0">
                <a:pos x="773" y="126"/>
              </a:cxn>
              <a:cxn ang="0">
                <a:pos x="813" y="89"/>
              </a:cxn>
              <a:cxn ang="0">
                <a:pos x="900" y="20"/>
              </a:cxn>
              <a:cxn ang="0">
                <a:pos x="898" y="85"/>
              </a:cxn>
              <a:cxn ang="0">
                <a:pos x="964" y="66"/>
              </a:cxn>
              <a:cxn ang="0">
                <a:pos x="926" y="142"/>
              </a:cxn>
              <a:cxn ang="0">
                <a:pos x="887" y="98"/>
              </a:cxn>
              <a:cxn ang="0">
                <a:pos x="874" y="24"/>
              </a:cxn>
              <a:cxn ang="0">
                <a:pos x="872" y="46"/>
              </a:cxn>
              <a:cxn ang="0">
                <a:pos x="910" y="45"/>
              </a:cxn>
              <a:cxn ang="0">
                <a:pos x="925" y="121"/>
              </a:cxn>
            </a:cxnLst>
            <a:rect l="0" t="0" r="r" b="b"/>
            <a:pathLst>
              <a:path w="982" h="943">
                <a:moveTo>
                  <a:pt x="134" y="892"/>
                </a:moveTo>
                <a:cubicBezTo>
                  <a:pt x="135" y="893"/>
                  <a:pt x="136" y="894"/>
                  <a:pt x="136" y="894"/>
                </a:cubicBezTo>
                <a:cubicBezTo>
                  <a:pt x="137" y="895"/>
                  <a:pt x="137" y="896"/>
                  <a:pt x="138" y="896"/>
                </a:cubicBezTo>
                <a:cubicBezTo>
                  <a:pt x="138" y="897"/>
                  <a:pt x="138" y="898"/>
                  <a:pt x="138" y="898"/>
                </a:cubicBezTo>
                <a:cubicBezTo>
                  <a:pt x="138" y="899"/>
                  <a:pt x="138" y="899"/>
                  <a:pt x="137" y="900"/>
                </a:cubicBezTo>
                <a:lnTo>
                  <a:pt x="96" y="941"/>
                </a:lnTo>
                <a:cubicBezTo>
                  <a:pt x="95" y="942"/>
                  <a:pt x="94" y="943"/>
                  <a:pt x="92" y="943"/>
                </a:cubicBezTo>
                <a:cubicBezTo>
                  <a:pt x="90" y="943"/>
                  <a:pt x="88" y="942"/>
                  <a:pt x="86" y="940"/>
                </a:cubicBezTo>
                <a:lnTo>
                  <a:pt x="0" y="854"/>
                </a:lnTo>
                <a:cubicBezTo>
                  <a:pt x="0" y="854"/>
                  <a:pt x="0" y="853"/>
                  <a:pt x="0" y="853"/>
                </a:cubicBezTo>
                <a:cubicBezTo>
                  <a:pt x="0" y="853"/>
                  <a:pt x="0" y="852"/>
                  <a:pt x="0" y="851"/>
                </a:cubicBezTo>
                <a:cubicBezTo>
                  <a:pt x="0" y="851"/>
                  <a:pt x="1" y="850"/>
                  <a:pt x="1" y="849"/>
                </a:cubicBezTo>
                <a:cubicBezTo>
                  <a:pt x="2" y="848"/>
                  <a:pt x="3" y="847"/>
                  <a:pt x="4" y="846"/>
                </a:cubicBezTo>
                <a:cubicBezTo>
                  <a:pt x="5" y="845"/>
                  <a:pt x="6" y="844"/>
                  <a:pt x="7" y="843"/>
                </a:cubicBezTo>
                <a:cubicBezTo>
                  <a:pt x="8" y="842"/>
                  <a:pt x="9" y="842"/>
                  <a:pt x="10" y="842"/>
                </a:cubicBezTo>
                <a:cubicBezTo>
                  <a:pt x="10" y="841"/>
                  <a:pt x="11" y="841"/>
                  <a:pt x="11" y="841"/>
                </a:cubicBezTo>
                <a:cubicBezTo>
                  <a:pt x="12" y="841"/>
                  <a:pt x="12" y="842"/>
                  <a:pt x="13" y="842"/>
                </a:cubicBezTo>
                <a:lnTo>
                  <a:pt x="93" y="922"/>
                </a:lnTo>
                <a:lnTo>
                  <a:pt x="126" y="889"/>
                </a:lnTo>
                <a:cubicBezTo>
                  <a:pt x="127" y="889"/>
                  <a:pt x="127" y="888"/>
                  <a:pt x="128" y="888"/>
                </a:cubicBezTo>
                <a:cubicBezTo>
                  <a:pt x="128" y="888"/>
                  <a:pt x="129" y="888"/>
                  <a:pt x="130" y="888"/>
                </a:cubicBezTo>
                <a:cubicBezTo>
                  <a:pt x="130" y="889"/>
                  <a:pt x="131" y="889"/>
                  <a:pt x="132" y="889"/>
                </a:cubicBezTo>
                <a:cubicBezTo>
                  <a:pt x="132" y="890"/>
                  <a:pt x="133" y="891"/>
                  <a:pt x="134" y="892"/>
                </a:cubicBezTo>
                <a:close/>
                <a:moveTo>
                  <a:pt x="183" y="784"/>
                </a:moveTo>
                <a:cubicBezTo>
                  <a:pt x="188" y="789"/>
                  <a:pt x="193" y="795"/>
                  <a:pt x="196" y="801"/>
                </a:cubicBezTo>
                <a:cubicBezTo>
                  <a:pt x="199" y="806"/>
                  <a:pt x="200" y="812"/>
                  <a:pt x="201" y="818"/>
                </a:cubicBezTo>
                <a:cubicBezTo>
                  <a:pt x="201" y="824"/>
                  <a:pt x="200" y="830"/>
                  <a:pt x="198" y="836"/>
                </a:cubicBezTo>
                <a:cubicBezTo>
                  <a:pt x="196" y="842"/>
                  <a:pt x="192" y="848"/>
                  <a:pt x="186" y="853"/>
                </a:cubicBezTo>
                <a:cubicBezTo>
                  <a:pt x="181" y="858"/>
                  <a:pt x="176" y="862"/>
                  <a:pt x="170" y="865"/>
                </a:cubicBezTo>
                <a:cubicBezTo>
                  <a:pt x="165" y="867"/>
                  <a:pt x="159" y="868"/>
                  <a:pt x="153" y="868"/>
                </a:cubicBezTo>
                <a:cubicBezTo>
                  <a:pt x="148" y="867"/>
                  <a:pt x="142" y="866"/>
                  <a:pt x="136" y="863"/>
                </a:cubicBezTo>
                <a:cubicBezTo>
                  <a:pt x="131" y="859"/>
                  <a:pt x="125" y="855"/>
                  <a:pt x="120" y="850"/>
                </a:cubicBezTo>
                <a:cubicBezTo>
                  <a:pt x="115" y="845"/>
                  <a:pt x="110" y="839"/>
                  <a:pt x="107" y="833"/>
                </a:cubicBezTo>
                <a:cubicBezTo>
                  <a:pt x="104" y="827"/>
                  <a:pt x="103" y="822"/>
                  <a:pt x="102" y="816"/>
                </a:cubicBezTo>
                <a:cubicBezTo>
                  <a:pt x="102" y="810"/>
                  <a:pt x="103" y="804"/>
                  <a:pt x="105" y="798"/>
                </a:cubicBezTo>
                <a:cubicBezTo>
                  <a:pt x="107" y="792"/>
                  <a:pt x="111" y="786"/>
                  <a:pt x="117" y="781"/>
                </a:cubicBezTo>
                <a:cubicBezTo>
                  <a:pt x="122" y="775"/>
                  <a:pt x="127" y="772"/>
                  <a:pt x="133" y="769"/>
                </a:cubicBezTo>
                <a:cubicBezTo>
                  <a:pt x="139" y="767"/>
                  <a:pt x="144" y="766"/>
                  <a:pt x="150" y="766"/>
                </a:cubicBezTo>
                <a:cubicBezTo>
                  <a:pt x="155" y="767"/>
                  <a:pt x="161" y="768"/>
                  <a:pt x="167" y="771"/>
                </a:cubicBezTo>
                <a:cubicBezTo>
                  <a:pt x="172" y="774"/>
                  <a:pt x="178" y="778"/>
                  <a:pt x="183" y="784"/>
                </a:cubicBezTo>
                <a:close/>
                <a:moveTo>
                  <a:pt x="172" y="797"/>
                </a:moveTo>
                <a:cubicBezTo>
                  <a:pt x="168" y="793"/>
                  <a:pt x="165" y="790"/>
                  <a:pt x="161" y="788"/>
                </a:cubicBezTo>
                <a:cubicBezTo>
                  <a:pt x="157" y="786"/>
                  <a:pt x="153" y="784"/>
                  <a:pt x="149" y="783"/>
                </a:cubicBezTo>
                <a:cubicBezTo>
                  <a:pt x="146" y="782"/>
                  <a:pt x="142" y="782"/>
                  <a:pt x="138" y="784"/>
                </a:cubicBezTo>
                <a:cubicBezTo>
                  <a:pt x="134" y="785"/>
                  <a:pt x="130" y="787"/>
                  <a:pt x="126" y="791"/>
                </a:cubicBezTo>
                <a:cubicBezTo>
                  <a:pt x="123" y="795"/>
                  <a:pt x="120" y="798"/>
                  <a:pt x="119" y="802"/>
                </a:cubicBezTo>
                <a:cubicBezTo>
                  <a:pt x="118" y="806"/>
                  <a:pt x="117" y="810"/>
                  <a:pt x="118" y="814"/>
                </a:cubicBezTo>
                <a:cubicBezTo>
                  <a:pt x="119" y="818"/>
                  <a:pt x="120" y="821"/>
                  <a:pt x="122" y="825"/>
                </a:cubicBezTo>
                <a:cubicBezTo>
                  <a:pt x="125" y="829"/>
                  <a:pt x="128" y="833"/>
                  <a:pt x="131" y="837"/>
                </a:cubicBezTo>
                <a:cubicBezTo>
                  <a:pt x="135" y="840"/>
                  <a:pt x="139" y="843"/>
                  <a:pt x="142" y="846"/>
                </a:cubicBezTo>
                <a:cubicBezTo>
                  <a:pt x="146" y="848"/>
                  <a:pt x="150" y="850"/>
                  <a:pt x="154" y="851"/>
                </a:cubicBezTo>
                <a:cubicBezTo>
                  <a:pt x="158" y="851"/>
                  <a:pt x="161" y="851"/>
                  <a:pt x="165" y="850"/>
                </a:cubicBezTo>
                <a:cubicBezTo>
                  <a:pt x="169" y="849"/>
                  <a:pt x="173" y="846"/>
                  <a:pt x="177" y="843"/>
                </a:cubicBezTo>
                <a:cubicBezTo>
                  <a:pt x="180" y="839"/>
                  <a:pt x="183" y="835"/>
                  <a:pt x="184" y="832"/>
                </a:cubicBezTo>
                <a:cubicBezTo>
                  <a:pt x="186" y="828"/>
                  <a:pt x="186" y="824"/>
                  <a:pt x="185" y="820"/>
                </a:cubicBezTo>
                <a:cubicBezTo>
                  <a:pt x="185" y="816"/>
                  <a:pt x="183" y="812"/>
                  <a:pt x="181" y="808"/>
                </a:cubicBezTo>
                <a:cubicBezTo>
                  <a:pt x="178" y="804"/>
                  <a:pt x="175" y="801"/>
                  <a:pt x="172" y="797"/>
                </a:cubicBezTo>
                <a:close/>
                <a:moveTo>
                  <a:pt x="284" y="749"/>
                </a:moveTo>
                <a:cubicBezTo>
                  <a:pt x="285" y="750"/>
                  <a:pt x="285" y="750"/>
                  <a:pt x="285" y="751"/>
                </a:cubicBezTo>
                <a:cubicBezTo>
                  <a:pt x="285" y="752"/>
                  <a:pt x="284" y="752"/>
                  <a:pt x="284" y="753"/>
                </a:cubicBezTo>
                <a:cubicBezTo>
                  <a:pt x="283" y="754"/>
                  <a:pt x="282" y="755"/>
                  <a:pt x="281" y="756"/>
                </a:cubicBezTo>
                <a:cubicBezTo>
                  <a:pt x="280" y="758"/>
                  <a:pt x="279" y="759"/>
                  <a:pt x="278" y="759"/>
                </a:cubicBezTo>
                <a:cubicBezTo>
                  <a:pt x="277" y="760"/>
                  <a:pt x="276" y="760"/>
                  <a:pt x="276" y="760"/>
                </a:cubicBezTo>
                <a:cubicBezTo>
                  <a:pt x="275" y="760"/>
                  <a:pt x="274" y="760"/>
                  <a:pt x="274" y="759"/>
                </a:cubicBezTo>
                <a:lnTo>
                  <a:pt x="267" y="753"/>
                </a:lnTo>
                <a:cubicBezTo>
                  <a:pt x="268" y="759"/>
                  <a:pt x="267" y="764"/>
                  <a:pt x="265" y="769"/>
                </a:cubicBezTo>
                <a:cubicBezTo>
                  <a:pt x="263" y="775"/>
                  <a:pt x="260" y="779"/>
                  <a:pt x="257" y="783"/>
                </a:cubicBezTo>
                <a:cubicBezTo>
                  <a:pt x="253" y="786"/>
                  <a:pt x="250" y="789"/>
                  <a:pt x="246" y="791"/>
                </a:cubicBezTo>
                <a:cubicBezTo>
                  <a:pt x="242" y="793"/>
                  <a:pt x="239" y="794"/>
                  <a:pt x="235" y="794"/>
                </a:cubicBezTo>
                <a:cubicBezTo>
                  <a:pt x="231" y="794"/>
                  <a:pt x="228" y="794"/>
                  <a:pt x="224" y="792"/>
                </a:cubicBezTo>
                <a:cubicBezTo>
                  <a:pt x="221" y="791"/>
                  <a:pt x="218" y="789"/>
                  <a:pt x="214" y="786"/>
                </a:cubicBezTo>
                <a:cubicBezTo>
                  <a:pt x="211" y="782"/>
                  <a:pt x="208" y="778"/>
                  <a:pt x="207" y="774"/>
                </a:cubicBezTo>
                <a:cubicBezTo>
                  <a:pt x="206" y="770"/>
                  <a:pt x="206" y="765"/>
                  <a:pt x="207" y="761"/>
                </a:cubicBezTo>
                <a:cubicBezTo>
                  <a:pt x="208" y="756"/>
                  <a:pt x="210" y="752"/>
                  <a:pt x="213" y="747"/>
                </a:cubicBezTo>
                <a:cubicBezTo>
                  <a:pt x="216" y="742"/>
                  <a:pt x="220" y="737"/>
                  <a:pt x="225" y="732"/>
                </a:cubicBezTo>
                <a:lnTo>
                  <a:pt x="234" y="723"/>
                </a:lnTo>
                <a:lnTo>
                  <a:pt x="229" y="718"/>
                </a:lnTo>
                <a:cubicBezTo>
                  <a:pt x="227" y="715"/>
                  <a:pt x="224" y="713"/>
                  <a:pt x="222" y="712"/>
                </a:cubicBezTo>
                <a:cubicBezTo>
                  <a:pt x="219" y="711"/>
                  <a:pt x="217" y="710"/>
                  <a:pt x="215" y="710"/>
                </a:cubicBezTo>
                <a:cubicBezTo>
                  <a:pt x="212" y="710"/>
                  <a:pt x="210" y="710"/>
                  <a:pt x="207" y="712"/>
                </a:cubicBezTo>
                <a:cubicBezTo>
                  <a:pt x="205" y="713"/>
                  <a:pt x="202" y="715"/>
                  <a:pt x="199" y="717"/>
                </a:cubicBezTo>
                <a:cubicBezTo>
                  <a:pt x="196" y="720"/>
                  <a:pt x="194" y="723"/>
                  <a:pt x="192" y="726"/>
                </a:cubicBezTo>
                <a:cubicBezTo>
                  <a:pt x="191" y="729"/>
                  <a:pt x="189" y="732"/>
                  <a:pt x="189" y="735"/>
                </a:cubicBezTo>
                <a:cubicBezTo>
                  <a:pt x="188" y="737"/>
                  <a:pt x="187" y="740"/>
                  <a:pt x="187" y="741"/>
                </a:cubicBezTo>
                <a:cubicBezTo>
                  <a:pt x="186" y="743"/>
                  <a:pt x="185" y="745"/>
                  <a:pt x="185" y="745"/>
                </a:cubicBezTo>
                <a:cubicBezTo>
                  <a:pt x="185" y="745"/>
                  <a:pt x="184" y="746"/>
                  <a:pt x="184" y="746"/>
                </a:cubicBezTo>
                <a:cubicBezTo>
                  <a:pt x="183" y="746"/>
                  <a:pt x="183" y="746"/>
                  <a:pt x="182" y="746"/>
                </a:cubicBezTo>
                <a:cubicBezTo>
                  <a:pt x="181" y="746"/>
                  <a:pt x="181" y="745"/>
                  <a:pt x="180" y="745"/>
                </a:cubicBezTo>
                <a:cubicBezTo>
                  <a:pt x="179" y="744"/>
                  <a:pt x="179" y="744"/>
                  <a:pt x="178" y="743"/>
                </a:cubicBezTo>
                <a:cubicBezTo>
                  <a:pt x="177" y="742"/>
                  <a:pt x="176" y="741"/>
                  <a:pt x="175" y="740"/>
                </a:cubicBezTo>
                <a:cubicBezTo>
                  <a:pt x="175" y="739"/>
                  <a:pt x="175" y="738"/>
                  <a:pt x="175" y="737"/>
                </a:cubicBezTo>
                <a:cubicBezTo>
                  <a:pt x="175" y="735"/>
                  <a:pt x="175" y="733"/>
                  <a:pt x="176" y="731"/>
                </a:cubicBezTo>
                <a:cubicBezTo>
                  <a:pt x="177" y="729"/>
                  <a:pt x="178" y="726"/>
                  <a:pt x="179" y="723"/>
                </a:cubicBezTo>
                <a:cubicBezTo>
                  <a:pt x="180" y="721"/>
                  <a:pt x="182" y="718"/>
                  <a:pt x="184" y="715"/>
                </a:cubicBezTo>
                <a:cubicBezTo>
                  <a:pt x="186" y="712"/>
                  <a:pt x="188" y="709"/>
                  <a:pt x="191" y="707"/>
                </a:cubicBezTo>
                <a:cubicBezTo>
                  <a:pt x="195" y="702"/>
                  <a:pt x="200" y="699"/>
                  <a:pt x="204" y="696"/>
                </a:cubicBezTo>
                <a:cubicBezTo>
                  <a:pt x="208" y="694"/>
                  <a:pt x="213" y="693"/>
                  <a:pt x="217" y="693"/>
                </a:cubicBezTo>
                <a:cubicBezTo>
                  <a:pt x="221" y="693"/>
                  <a:pt x="225" y="694"/>
                  <a:pt x="229" y="696"/>
                </a:cubicBezTo>
                <a:cubicBezTo>
                  <a:pt x="233" y="699"/>
                  <a:pt x="236" y="702"/>
                  <a:pt x="241" y="706"/>
                </a:cubicBezTo>
                <a:lnTo>
                  <a:pt x="284" y="749"/>
                </a:lnTo>
                <a:close/>
                <a:moveTo>
                  <a:pt x="243" y="731"/>
                </a:moveTo>
                <a:lnTo>
                  <a:pt x="233" y="742"/>
                </a:lnTo>
                <a:cubicBezTo>
                  <a:pt x="229" y="745"/>
                  <a:pt x="227" y="748"/>
                  <a:pt x="225" y="751"/>
                </a:cubicBezTo>
                <a:cubicBezTo>
                  <a:pt x="223" y="754"/>
                  <a:pt x="222" y="757"/>
                  <a:pt x="222" y="759"/>
                </a:cubicBezTo>
                <a:cubicBezTo>
                  <a:pt x="221" y="762"/>
                  <a:pt x="221" y="764"/>
                  <a:pt x="222" y="767"/>
                </a:cubicBezTo>
                <a:cubicBezTo>
                  <a:pt x="223" y="769"/>
                  <a:pt x="224" y="771"/>
                  <a:pt x="226" y="773"/>
                </a:cubicBezTo>
                <a:cubicBezTo>
                  <a:pt x="229" y="776"/>
                  <a:pt x="233" y="778"/>
                  <a:pt x="237" y="778"/>
                </a:cubicBezTo>
                <a:cubicBezTo>
                  <a:pt x="241" y="778"/>
                  <a:pt x="245" y="776"/>
                  <a:pt x="249" y="772"/>
                </a:cubicBezTo>
                <a:cubicBezTo>
                  <a:pt x="252" y="769"/>
                  <a:pt x="254" y="765"/>
                  <a:pt x="255" y="761"/>
                </a:cubicBezTo>
                <a:cubicBezTo>
                  <a:pt x="256" y="757"/>
                  <a:pt x="257" y="751"/>
                  <a:pt x="257" y="745"/>
                </a:cubicBezTo>
                <a:lnTo>
                  <a:pt x="243" y="731"/>
                </a:lnTo>
                <a:close/>
                <a:moveTo>
                  <a:pt x="359" y="675"/>
                </a:moveTo>
                <a:cubicBezTo>
                  <a:pt x="359" y="675"/>
                  <a:pt x="359" y="675"/>
                  <a:pt x="359" y="676"/>
                </a:cubicBezTo>
                <a:cubicBezTo>
                  <a:pt x="359" y="676"/>
                  <a:pt x="359" y="677"/>
                  <a:pt x="359" y="677"/>
                </a:cubicBezTo>
                <a:cubicBezTo>
                  <a:pt x="359" y="678"/>
                  <a:pt x="359" y="679"/>
                  <a:pt x="358" y="679"/>
                </a:cubicBezTo>
                <a:cubicBezTo>
                  <a:pt x="357" y="680"/>
                  <a:pt x="357" y="681"/>
                  <a:pt x="356" y="682"/>
                </a:cubicBezTo>
                <a:cubicBezTo>
                  <a:pt x="355" y="683"/>
                  <a:pt x="354" y="684"/>
                  <a:pt x="353" y="684"/>
                </a:cubicBezTo>
                <a:cubicBezTo>
                  <a:pt x="352" y="685"/>
                  <a:pt x="352" y="685"/>
                  <a:pt x="351" y="686"/>
                </a:cubicBezTo>
                <a:cubicBezTo>
                  <a:pt x="350" y="686"/>
                  <a:pt x="350" y="686"/>
                  <a:pt x="349" y="686"/>
                </a:cubicBezTo>
                <a:cubicBezTo>
                  <a:pt x="349" y="686"/>
                  <a:pt x="348" y="686"/>
                  <a:pt x="348" y="685"/>
                </a:cubicBezTo>
                <a:lnTo>
                  <a:pt x="339" y="677"/>
                </a:lnTo>
                <a:cubicBezTo>
                  <a:pt x="340" y="684"/>
                  <a:pt x="339" y="690"/>
                  <a:pt x="338" y="696"/>
                </a:cubicBezTo>
                <a:cubicBezTo>
                  <a:pt x="336" y="702"/>
                  <a:pt x="333" y="707"/>
                  <a:pt x="329" y="711"/>
                </a:cubicBezTo>
                <a:cubicBezTo>
                  <a:pt x="324" y="716"/>
                  <a:pt x="319" y="719"/>
                  <a:pt x="314" y="720"/>
                </a:cubicBezTo>
                <a:cubicBezTo>
                  <a:pt x="308" y="722"/>
                  <a:pt x="303" y="722"/>
                  <a:pt x="298" y="721"/>
                </a:cubicBezTo>
                <a:cubicBezTo>
                  <a:pt x="293" y="720"/>
                  <a:pt x="288" y="718"/>
                  <a:pt x="282" y="714"/>
                </a:cubicBezTo>
                <a:cubicBezTo>
                  <a:pt x="277" y="711"/>
                  <a:pt x="272" y="707"/>
                  <a:pt x="268" y="703"/>
                </a:cubicBezTo>
                <a:cubicBezTo>
                  <a:pt x="262" y="697"/>
                  <a:pt x="258" y="691"/>
                  <a:pt x="254" y="686"/>
                </a:cubicBezTo>
                <a:cubicBezTo>
                  <a:pt x="251" y="680"/>
                  <a:pt x="249" y="674"/>
                  <a:pt x="248" y="669"/>
                </a:cubicBezTo>
                <a:cubicBezTo>
                  <a:pt x="247" y="663"/>
                  <a:pt x="248" y="658"/>
                  <a:pt x="250" y="653"/>
                </a:cubicBezTo>
                <a:cubicBezTo>
                  <a:pt x="251" y="648"/>
                  <a:pt x="255" y="643"/>
                  <a:pt x="259" y="638"/>
                </a:cubicBezTo>
                <a:cubicBezTo>
                  <a:pt x="263" y="635"/>
                  <a:pt x="267" y="632"/>
                  <a:pt x="272" y="630"/>
                </a:cubicBezTo>
                <a:cubicBezTo>
                  <a:pt x="277" y="629"/>
                  <a:pt x="282" y="628"/>
                  <a:pt x="289" y="628"/>
                </a:cubicBezTo>
                <a:lnTo>
                  <a:pt x="251" y="591"/>
                </a:lnTo>
                <a:cubicBezTo>
                  <a:pt x="251" y="591"/>
                  <a:pt x="250" y="590"/>
                  <a:pt x="250" y="590"/>
                </a:cubicBezTo>
                <a:cubicBezTo>
                  <a:pt x="250" y="589"/>
                  <a:pt x="250" y="589"/>
                  <a:pt x="251" y="588"/>
                </a:cubicBezTo>
                <a:cubicBezTo>
                  <a:pt x="251" y="587"/>
                  <a:pt x="251" y="587"/>
                  <a:pt x="252" y="586"/>
                </a:cubicBezTo>
                <a:cubicBezTo>
                  <a:pt x="253" y="585"/>
                  <a:pt x="253" y="584"/>
                  <a:pt x="255" y="583"/>
                </a:cubicBezTo>
                <a:cubicBezTo>
                  <a:pt x="256" y="581"/>
                  <a:pt x="257" y="581"/>
                  <a:pt x="258" y="580"/>
                </a:cubicBezTo>
                <a:cubicBezTo>
                  <a:pt x="259" y="579"/>
                  <a:pt x="259" y="579"/>
                  <a:pt x="260" y="579"/>
                </a:cubicBezTo>
                <a:cubicBezTo>
                  <a:pt x="261" y="578"/>
                  <a:pt x="261" y="578"/>
                  <a:pt x="262" y="578"/>
                </a:cubicBezTo>
                <a:cubicBezTo>
                  <a:pt x="262" y="578"/>
                  <a:pt x="263" y="579"/>
                  <a:pt x="263" y="579"/>
                </a:cubicBezTo>
                <a:lnTo>
                  <a:pt x="359" y="675"/>
                </a:lnTo>
                <a:close/>
                <a:moveTo>
                  <a:pt x="301" y="641"/>
                </a:moveTo>
                <a:cubicBezTo>
                  <a:pt x="294" y="640"/>
                  <a:pt x="288" y="640"/>
                  <a:pt x="283" y="641"/>
                </a:cubicBezTo>
                <a:cubicBezTo>
                  <a:pt x="278" y="642"/>
                  <a:pt x="274" y="644"/>
                  <a:pt x="270" y="648"/>
                </a:cubicBezTo>
                <a:cubicBezTo>
                  <a:pt x="267" y="651"/>
                  <a:pt x="265" y="654"/>
                  <a:pt x="265" y="657"/>
                </a:cubicBezTo>
                <a:cubicBezTo>
                  <a:pt x="264" y="661"/>
                  <a:pt x="264" y="664"/>
                  <a:pt x="265" y="668"/>
                </a:cubicBezTo>
                <a:cubicBezTo>
                  <a:pt x="266" y="672"/>
                  <a:pt x="268" y="675"/>
                  <a:pt x="270" y="679"/>
                </a:cubicBezTo>
                <a:cubicBezTo>
                  <a:pt x="273" y="683"/>
                  <a:pt x="276" y="686"/>
                  <a:pt x="279" y="689"/>
                </a:cubicBezTo>
                <a:cubicBezTo>
                  <a:pt x="282" y="692"/>
                  <a:pt x="285" y="695"/>
                  <a:pt x="289" y="698"/>
                </a:cubicBezTo>
                <a:cubicBezTo>
                  <a:pt x="293" y="700"/>
                  <a:pt x="296" y="702"/>
                  <a:pt x="300" y="703"/>
                </a:cubicBezTo>
                <a:cubicBezTo>
                  <a:pt x="303" y="705"/>
                  <a:pt x="307" y="705"/>
                  <a:pt x="311" y="704"/>
                </a:cubicBezTo>
                <a:cubicBezTo>
                  <a:pt x="314" y="704"/>
                  <a:pt x="317" y="702"/>
                  <a:pt x="321" y="699"/>
                </a:cubicBezTo>
                <a:cubicBezTo>
                  <a:pt x="322" y="697"/>
                  <a:pt x="323" y="695"/>
                  <a:pt x="324" y="693"/>
                </a:cubicBezTo>
                <a:cubicBezTo>
                  <a:pt x="325" y="692"/>
                  <a:pt x="326" y="689"/>
                  <a:pt x="327" y="687"/>
                </a:cubicBezTo>
                <a:cubicBezTo>
                  <a:pt x="327" y="684"/>
                  <a:pt x="328" y="681"/>
                  <a:pt x="328" y="678"/>
                </a:cubicBezTo>
                <a:cubicBezTo>
                  <a:pt x="328" y="675"/>
                  <a:pt x="328" y="671"/>
                  <a:pt x="327" y="667"/>
                </a:cubicBezTo>
                <a:lnTo>
                  <a:pt x="301" y="641"/>
                </a:lnTo>
                <a:close/>
                <a:moveTo>
                  <a:pt x="369" y="492"/>
                </a:moveTo>
                <a:cubicBezTo>
                  <a:pt x="370" y="493"/>
                  <a:pt x="371" y="494"/>
                  <a:pt x="372" y="495"/>
                </a:cubicBezTo>
                <a:cubicBezTo>
                  <a:pt x="372" y="495"/>
                  <a:pt x="373" y="496"/>
                  <a:pt x="373" y="497"/>
                </a:cubicBezTo>
                <a:cubicBezTo>
                  <a:pt x="373" y="497"/>
                  <a:pt x="373" y="498"/>
                  <a:pt x="373" y="498"/>
                </a:cubicBezTo>
                <a:cubicBezTo>
                  <a:pt x="373" y="499"/>
                  <a:pt x="372" y="499"/>
                  <a:pt x="372" y="500"/>
                </a:cubicBezTo>
                <a:lnTo>
                  <a:pt x="338" y="534"/>
                </a:lnTo>
                <a:lnTo>
                  <a:pt x="370" y="565"/>
                </a:lnTo>
                <a:lnTo>
                  <a:pt x="402" y="533"/>
                </a:lnTo>
                <a:cubicBezTo>
                  <a:pt x="402" y="533"/>
                  <a:pt x="403" y="533"/>
                  <a:pt x="403" y="532"/>
                </a:cubicBezTo>
                <a:cubicBezTo>
                  <a:pt x="404" y="532"/>
                  <a:pt x="404" y="532"/>
                  <a:pt x="405" y="532"/>
                </a:cubicBezTo>
                <a:cubicBezTo>
                  <a:pt x="405" y="533"/>
                  <a:pt x="406" y="533"/>
                  <a:pt x="407" y="534"/>
                </a:cubicBezTo>
                <a:cubicBezTo>
                  <a:pt x="408" y="534"/>
                  <a:pt x="408" y="535"/>
                  <a:pt x="409" y="536"/>
                </a:cubicBezTo>
                <a:cubicBezTo>
                  <a:pt x="410" y="537"/>
                  <a:pt x="411" y="538"/>
                  <a:pt x="412" y="538"/>
                </a:cubicBezTo>
                <a:cubicBezTo>
                  <a:pt x="412" y="539"/>
                  <a:pt x="413" y="540"/>
                  <a:pt x="413" y="540"/>
                </a:cubicBezTo>
                <a:cubicBezTo>
                  <a:pt x="413" y="541"/>
                  <a:pt x="413" y="542"/>
                  <a:pt x="413" y="542"/>
                </a:cubicBezTo>
                <a:cubicBezTo>
                  <a:pt x="413" y="543"/>
                  <a:pt x="412" y="543"/>
                  <a:pt x="412" y="543"/>
                </a:cubicBezTo>
                <a:lnTo>
                  <a:pt x="380" y="576"/>
                </a:lnTo>
                <a:lnTo>
                  <a:pt x="419" y="614"/>
                </a:lnTo>
                <a:cubicBezTo>
                  <a:pt x="419" y="615"/>
                  <a:pt x="419" y="615"/>
                  <a:pt x="419" y="616"/>
                </a:cubicBezTo>
                <a:cubicBezTo>
                  <a:pt x="419" y="616"/>
                  <a:pt x="419" y="617"/>
                  <a:pt x="419" y="617"/>
                </a:cubicBezTo>
                <a:cubicBezTo>
                  <a:pt x="419" y="618"/>
                  <a:pt x="418" y="619"/>
                  <a:pt x="418" y="620"/>
                </a:cubicBezTo>
                <a:cubicBezTo>
                  <a:pt x="417" y="620"/>
                  <a:pt x="416" y="622"/>
                  <a:pt x="415" y="623"/>
                </a:cubicBezTo>
                <a:cubicBezTo>
                  <a:pt x="414" y="624"/>
                  <a:pt x="413" y="625"/>
                  <a:pt x="412" y="626"/>
                </a:cubicBezTo>
                <a:cubicBezTo>
                  <a:pt x="411" y="626"/>
                  <a:pt x="410" y="627"/>
                  <a:pt x="409" y="627"/>
                </a:cubicBezTo>
                <a:cubicBezTo>
                  <a:pt x="409" y="627"/>
                  <a:pt x="408" y="627"/>
                  <a:pt x="408" y="627"/>
                </a:cubicBezTo>
                <a:cubicBezTo>
                  <a:pt x="407" y="627"/>
                  <a:pt x="407" y="627"/>
                  <a:pt x="406" y="627"/>
                </a:cubicBezTo>
                <a:lnTo>
                  <a:pt x="320" y="541"/>
                </a:lnTo>
                <a:cubicBezTo>
                  <a:pt x="318" y="539"/>
                  <a:pt x="318" y="537"/>
                  <a:pt x="318" y="535"/>
                </a:cubicBezTo>
                <a:cubicBezTo>
                  <a:pt x="318" y="534"/>
                  <a:pt x="319" y="532"/>
                  <a:pt x="320" y="531"/>
                </a:cubicBezTo>
                <a:lnTo>
                  <a:pt x="362" y="489"/>
                </a:lnTo>
                <a:cubicBezTo>
                  <a:pt x="362" y="489"/>
                  <a:pt x="362" y="489"/>
                  <a:pt x="363" y="489"/>
                </a:cubicBezTo>
                <a:cubicBezTo>
                  <a:pt x="363" y="488"/>
                  <a:pt x="364" y="488"/>
                  <a:pt x="365" y="489"/>
                </a:cubicBezTo>
                <a:cubicBezTo>
                  <a:pt x="365" y="489"/>
                  <a:pt x="366" y="489"/>
                  <a:pt x="367" y="490"/>
                </a:cubicBezTo>
                <a:cubicBezTo>
                  <a:pt x="368" y="490"/>
                  <a:pt x="369" y="491"/>
                  <a:pt x="369" y="492"/>
                </a:cubicBezTo>
                <a:close/>
                <a:moveTo>
                  <a:pt x="500" y="467"/>
                </a:moveTo>
                <a:cubicBezTo>
                  <a:pt x="505" y="472"/>
                  <a:pt x="509" y="478"/>
                  <a:pt x="512" y="484"/>
                </a:cubicBezTo>
                <a:cubicBezTo>
                  <a:pt x="515" y="490"/>
                  <a:pt x="517" y="495"/>
                  <a:pt x="518" y="501"/>
                </a:cubicBezTo>
                <a:cubicBezTo>
                  <a:pt x="518" y="507"/>
                  <a:pt x="517" y="513"/>
                  <a:pt x="515" y="519"/>
                </a:cubicBezTo>
                <a:cubicBezTo>
                  <a:pt x="513" y="525"/>
                  <a:pt x="509" y="531"/>
                  <a:pt x="503" y="536"/>
                </a:cubicBezTo>
                <a:cubicBezTo>
                  <a:pt x="498" y="542"/>
                  <a:pt x="492" y="545"/>
                  <a:pt x="487" y="548"/>
                </a:cubicBezTo>
                <a:cubicBezTo>
                  <a:pt x="481" y="550"/>
                  <a:pt x="476" y="551"/>
                  <a:pt x="470" y="551"/>
                </a:cubicBezTo>
                <a:cubicBezTo>
                  <a:pt x="464" y="550"/>
                  <a:pt x="459" y="549"/>
                  <a:pt x="453" y="546"/>
                </a:cubicBezTo>
                <a:cubicBezTo>
                  <a:pt x="448" y="543"/>
                  <a:pt x="442" y="538"/>
                  <a:pt x="437" y="533"/>
                </a:cubicBezTo>
                <a:cubicBezTo>
                  <a:pt x="431" y="528"/>
                  <a:pt x="427" y="522"/>
                  <a:pt x="424" y="516"/>
                </a:cubicBezTo>
                <a:cubicBezTo>
                  <a:pt x="421" y="511"/>
                  <a:pt x="419" y="505"/>
                  <a:pt x="419" y="499"/>
                </a:cubicBezTo>
                <a:cubicBezTo>
                  <a:pt x="418" y="493"/>
                  <a:pt x="419" y="487"/>
                  <a:pt x="422" y="481"/>
                </a:cubicBezTo>
                <a:cubicBezTo>
                  <a:pt x="424" y="475"/>
                  <a:pt x="428" y="469"/>
                  <a:pt x="433" y="464"/>
                </a:cubicBezTo>
                <a:cubicBezTo>
                  <a:pt x="439" y="459"/>
                  <a:pt x="444" y="455"/>
                  <a:pt x="450" y="452"/>
                </a:cubicBezTo>
                <a:cubicBezTo>
                  <a:pt x="455" y="450"/>
                  <a:pt x="461" y="449"/>
                  <a:pt x="467" y="449"/>
                </a:cubicBezTo>
                <a:cubicBezTo>
                  <a:pt x="472" y="450"/>
                  <a:pt x="478" y="451"/>
                  <a:pt x="483" y="454"/>
                </a:cubicBezTo>
                <a:cubicBezTo>
                  <a:pt x="489" y="457"/>
                  <a:pt x="495" y="462"/>
                  <a:pt x="500" y="467"/>
                </a:cubicBezTo>
                <a:close/>
                <a:moveTo>
                  <a:pt x="489" y="480"/>
                </a:moveTo>
                <a:cubicBezTo>
                  <a:pt x="485" y="477"/>
                  <a:pt x="481" y="474"/>
                  <a:pt x="478" y="471"/>
                </a:cubicBezTo>
                <a:cubicBezTo>
                  <a:pt x="474" y="469"/>
                  <a:pt x="470" y="467"/>
                  <a:pt x="466" y="466"/>
                </a:cubicBezTo>
                <a:cubicBezTo>
                  <a:pt x="462" y="465"/>
                  <a:pt x="458" y="466"/>
                  <a:pt x="455" y="467"/>
                </a:cubicBezTo>
                <a:cubicBezTo>
                  <a:pt x="451" y="468"/>
                  <a:pt x="447" y="470"/>
                  <a:pt x="443" y="474"/>
                </a:cubicBezTo>
                <a:cubicBezTo>
                  <a:pt x="439" y="478"/>
                  <a:pt x="437" y="481"/>
                  <a:pt x="436" y="485"/>
                </a:cubicBezTo>
                <a:cubicBezTo>
                  <a:pt x="434" y="489"/>
                  <a:pt x="434" y="493"/>
                  <a:pt x="435" y="497"/>
                </a:cubicBezTo>
                <a:cubicBezTo>
                  <a:pt x="435" y="501"/>
                  <a:pt x="437" y="505"/>
                  <a:pt x="439" y="509"/>
                </a:cubicBezTo>
                <a:cubicBezTo>
                  <a:pt x="441" y="512"/>
                  <a:pt x="444" y="516"/>
                  <a:pt x="448" y="520"/>
                </a:cubicBezTo>
                <a:cubicBezTo>
                  <a:pt x="452" y="523"/>
                  <a:pt x="455" y="526"/>
                  <a:pt x="459" y="529"/>
                </a:cubicBezTo>
                <a:cubicBezTo>
                  <a:pt x="463" y="531"/>
                  <a:pt x="467" y="533"/>
                  <a:pt x="471" y="534"/>
                </a:cubicBezTo>
                <a:cubicBezTo>
                  <a:pt x="474" y="535"/>
                  <a:pt x="478" y="534"/>
                  <a:pt x="482" y="533"/>
                </a:cubicBezTo>
                <a:cubicBezTo>
                  <a:pt x="486" y="532"/>
                  <a:pt x="490" y="530"/>
                  <a:pt x="494" y="526"/>
                </a:cubicBezTo>
                <a:cubicBezTo>
                  <a:pt x="497" y="522"/>
                  <a:pt x="500" y="519"/>
                  <a:pt x="501" y="515"/>
                </a:cubicBezTo>
                <a:cubicBezTo>
                  <a:pt x="502" y="511"/>
                  <a:pt x="503" y="507"/>
                  <a:pt x="502" y="503"/>
                </a:cubicBezTo>
                <a:cubicBezTo>
                  <a:pt x="501" y="499"/>
                  <a:pt x="500" y="495"/>
                  <a:pt x="498" y="492"/>
                </a:cubicBezTo>
                <a:cubicBezTo>
                  <a:pt x="495" y="488"/>
                  <a:pt x="492" y="484"/>
                  <a:pt x="489" y="480"/>
                </a:cubicBezTo>
                <a:close/>
                <a:moveTo>
                  <a:pt x="564" y="469"/>
                </a:moveTo>
                <a:cubicBezTo>
                  <a:pt x="564" y="470"/>
                  <a:pt x="565" y="470"/>
                  <a:pt x="565" y="470"/>
                </a:cubicBezTo>
                <a:cubicBezTo>
                  <a:pt x="565" y="471"/>
                  <a:pt x="565" y="471"/>
                  <a:pt x="564" y="472"/>
                </a:cubicBezTo>
                <a:cubicBezTo>
                  <a:pt x="564" y="473"/>
                  <a:pt x="564" y="473"/>
                  <a:pt x="563" y="474"/>
                </a:cubicBezTo>
                <a:cubicBezTo>
                  <a:pt x="562" y="475"/>
                  <a:pt x="561" y="476"/>
                  <a:pt x="560" y="477"/>
                </a:cubicBezTo>
                <a:cubicBezTo>
                  <a:pt x="559" y="479"/>
                  <a:pt x="558" y="479"/>
                  <a:pt x="557" y="480"/>
                </a:cubicBezTo>
                <a:cubicBezTo>
                  <a:pt x="556" y="481"/>
                  <a:pt x="556" y="481"/>
                  <a:pt x="555" y="482"/>
                </a:cubicBezTo>
                <a:cubicBezTo>
                  <a:pt x="554" y="482"/>
                  <a:pt x="554" y="482"/>
                  <a:pt x="553" y="482"/>
                </a:cubicBezTo>
                <a:cubicBezTo>
                  <a:pt x="553" y="482"/>
                  <a:pt x="553" y="481"/>
                  <a:pt x="552" y="481"/>
                </a:cubicBezTo>
                <a:lnTo>
                  <a:pt x="456" y="385"/>
                </a:lnTo>
                <a:cubicBezTo>
                  <a:pt x="456" y="385"/>
                  <a:pt x="456" y="384"/>
                  <a:pt x="455" y="384"/>
                </a:cubicBezTo>
                <a:cubicBezTo>
                  <a:pt x="455" y="383"/>
                  <a:pt x="455" y="383"/>
                  <a:pt x="456" y="382"/>
                </a:cubicBezTo>
                <a:cubicBezTo>
                  <a:pt x="456" y="382"/>
                  <a:pt x="456" y="381"/>
                  <a:pt x="457" y="380"/>
                </a:cubicBezTo>
                <a:cubicBezTo>
                  <a:pt x="458" y="379"/>
                  <a:pt x="459" y="378"/>
                  <a:pt x="460" y="377"/>
                </a:cubicBezTo>
                <a:cubicBezTo>
                  <a:pt x="461" y="376"/>
                  <a:pt x="462" y="375"/>
                  <a:pt x="463" y="374"/>
                </a:cubicBezTo>
                <a:cubicBezTo>
                  <a:pt x="464" y="373"/>
                  <a:pt x="464" y="373"/>
                  <a:pt x="465" y="373"/>
                </a:cubicBezTo>
                <a:cubicBezTo>
                  <a:pt x="466" y="373"/>
                  <a:pt x="466" y="372"/>
                  <a:pt x="467" y="373"/>
                </a:cubicBezTo>
                <a:cubicBezTo>
                  <a:pt x="467" y="373"/>
                  <a:pt x="468" y="373"/>
                  <a:pt x="468" y="373"/>
                </a:cubicBezTo>
                <a:lnTo>
                  <a:pt x="564" y="469"/>
                </a:lnTo>
                <a:close/>
                <a:moveTo>
                  <a:pt x="598" y="435"/>
                </a:moveTo>
                <a:cubicBezTo>
                  <a:pt x="598" y="436"/>
                  <a:pt x="599" y="436"/>
                  <a:pt x="599" y="437"/>
                </a:cubicBezTo>
                <a:cubicBezTo>
                  <a:pt x="599" y="437"/>
                  <a:pt x="599" y="438"/>
                  <a:pt x="598" y="438"/>
                </a:cubicBezTo>
                <a:cubicBezTo>
                  <a:pt x="598" y="439"/>
                  <a:pt x="598" y="439"/>
                  <a:pt x="597" y="440"/>
                </a:cubicBezTo>
                <a:cubicBezTo>
                  <a:pt x="596" y="441"/>
                  <a:pt x="595" y="442"/>
                  <a:pt x="594" y="443"/>
                </a:cubicBezTo>
                <a:cubicBezTo>
                  <a:pt x="593" y="445"/>
                  <a:pt x="592" y="445"/>
                  <a:pt x="591" y="446"/>
                </a:cubicBezTo>
                <a:cubicBezTo>
                  <a:pt x="590" y="447"/>
                  <a:pt x="590" y="447"/>
                  <a:pt x="589" y="448"/>
                </a:cubicBezTo>
                <a:cubicBezTo>
                  <a:pt x="588" y="448"/>
                  <a:pt x="588" y="448"/>
                  <a:pt x="587" y="448"/>
                </a:cubicBezTo>
                <a:cubicBezTo>
                  <a:pt x="587" y="448"/>
                  <a:pt x="586" y="447"/>
                  <a:pt x="586" y="447"/>
                </a:cubicBezTo>
                <a:lnTo>
                  <a:pt x="490" y="351"/>
                </a:lnTo>
                <a:cubicBezTo>
                  <a:pt x="490" y="351"/>
                  <a:pt x="489" y="350"/>
                  <a:pt x="489" y="350"/>
                </a:cubicBezTo>
                <a:cubicBezTo>
                  <a:pt x="489" y="349"/>
                  <a:pt x="489" y="349"/>
                  <a:pt x="490" y="348"/>
                </a:cubicBezTo>
                <a:cubicBezTo>
                  <a:pt x="490" y="348"/>
                  <a:pt x="490" y="347"/>
                  <a:pt x="491" y="346"/>
                </a:cubicBezTo>
                <a:cubicBezTo>
                  <a:pt x="492" y="345"/>
                  <a:pt x="493" y="344"/>
                  <a:pt x="494" y="343"/>
                </a:cubicBezTo>
                <a:cubicBezTo>
                  <a:pt x="495" y="342"/>
                  <a:pt x="496" y="341"/>
                  <a:pt x="497" y="340"/>
                </a:cubicBezTo>
                <a:cubicBezTo>
                  <a:pt x="498" y="339"/>
                  <a:pt x="498" y="339"/>
                  <a:pt x="499" y="339"/>
                </a:cubicBezTo>
                <a:cubicBezTo>
                  <a:pt x="500" y="339"/>
                  <a:pt x="500" y="338"/>
                  <a:pt x="501" y="339"/>
                </a:cubicBezTo>
                <a:cubicBezTo>
                  <a:pt x="501" y="339"/>
                  <a:pt x="502" y="339"/>
                  <a:pt x="502" y="339"/>
                </a:cubicBezTo>
                <a:lnTo>
                  <a:pt x="598" y="435"/>
                </a:lnTo>
                <a:close/>
                <a:moveTo>
                  <a:pt x="647" y="320"/>
                </a:moveTo>
                <a:cubicBezTo>
                  <a:pt x="652" y="325"/>
                  <a:pt x="656" y="331"/>
                  <a:pt x="660" y="337"/>
                </a:cubicBezTo>
                <a:cubicBezTo>
                  <a:pt x="663" y="342"/>
                  <a:pt x="664" y="348"/>
                  <a:pt x="665" y="354"/>
                </a:cubicBezTo>
                <a:cubicBezTo>
                  <a:pt x="665" y="360"/>
                  <a:pt x="664" y="366"/>
                  <a:pt x="662" y="372"/>
                </a:cubicBezTo>
                <a:cubicBezTo>
                  <a:pt x="660" y="378"/>
                  <a:pt x="656" y="384"/>
                  <a:pt x="650" y="389"/>
                </a:cubicBezTo>
                <a:cubicBezTo>
                  <a:pt x="645" y="395"/>
                  <a:pt x="640" y="398"/>
                  <a:pt x="634" y="401"/>
                </a:cubicBezTo>
                <a:cubicBezTo>
                  <a:pt x="628" y="403"/>
                  <a:pt x="623" y="404"/>
                  <a:pt x="617" y="404"/>
                </a:cubicBezTo>
                <a:cubicBezTo>
                  <a:pt x="612" y="403"/>
                  <a:pt x="606" y="402"/>
                  <a:pt x="600" y="399"/>
                </a:cubicBezTo>
                <a:cubicBezTo>
                  <a:pt x="595" y="396"/>
                  <a:pt x="589" y="391"/>
                  <a:pt x="584" y="386"/>
                </a:cubicBezTo>
                <a:cubicBezTo>
                  <a:pt x="578" y="381"/>
                  <a:pt x="574" y="375"/>
                  <a:pt x="571" y="369"/>
                </a:cubicBezTo>
                <a:cubicBezTo>
                  <a:pt x="568" y="364"/>
                  <a:pt x="566" y="358"/>
                  <a:pt x="566" y="352"/>
                </a:cubicBezTo>
                <a:cubicBezTo>
                  <a:pt x="566" y="346"/>
                  <a:pt x="566" y="340"/>
                  <a:pt x="569" y="334"/>
                </a:cubicBezTo>
                <a:cubicBezTo>
                  <a:pt x="571" y="328"/>
                  <a:pt x="575" y="322"/>
                  <a:pt x="581" y="317"/>
                </a:cubicBezTo>
                <a:cubicBezTo>
                  <a:pt x="586" y="312"/>
                  <a:pt x="591" y="308"/>
                  <a:pt x="597" y="305"/>
                </a:cubicBezTo>
                <a:cubicBezTo>
                  <a:pt x="602" y="303"/>
                  <a:pt x="608" y="302"/>
                  <a:pt x="614" y="302"/>
                </a:cubicBezTo>
                <a:cubicBezTo>
                  <a:pt x="619" y="303"/>
                  <a:pt x="625" y="304"/>
                  <a:pt x="631" y="307"/>
                </a:cubicBezTo>
                <a:cubicBezTo>
                  <a:pt x="636" y="310"/>
                  <a:pt x="642" y="315"/>
                  <a:pt x="647" y="320"/>
                </a:cubicBezTo>
                <a:close/>
                <a:moveTo>
                  <a:pt x="636" y="333"/>
                </a:moveTo>
                <a:cubicBezTo>
                  <a:pt x="632" y="330"/>
                  <a:pt x="628" y="327"/>
                  <a:pt x="625" y="324"/>
                </a:cubicBezTo>
                <a:cubicBezTo>
                  <a:pt x="621" y="322"/>
                  <a:pt x="617" y="320"/>
                  <a:pt x="613" y="319"/>
                </a:cubicBezTo>
                <a:cubicBezTo>
                  <a:pt x="609" y="318"/>
                  <a:pt x="606" y="319"/>
                  <a:pt x="602" y="320"/>
                </a:cubicBezTo>
                <a:cubicBezTo>
                  <a:pt x="598" y="321"/>
                  <a:pt x="594" y="323"/>
                  <a:pt x="590" y="327"/>
                </a:cubicBezTo>
                <a:cubicBezTo>
                  <a:pt x="586" y="331"/>
                  <a:pt x="584" y="334"/>
                  <a:pt x="583" y="338"/>
                </a:cubicBezTo>
                <a:cubicBezTo>
                  <a:pt x="582" y="342"/>
                  <a:pt x="581" y="346"/>
                  <a:pt x="582" y="350"/>
                </a:cubicBezTo>
                <a:cubicBezTo>
                  <a:pt x="582" y="354"/>
                  <a:pt x="584" y="358"/>
                  <a:pt x="586" y="361"/>
                </a:cubicBezTo>
                <a:cubicBezTo>
                  <a:pt x="589" y="365"/>
                  <a:pt x="592" y="369"/>
                  <a:pt x="595" y="373"/>
                </a:cubicBezTo>
                <a:cubicBezTo>
                  <a:pt x="599" y="376"/>
                  <a:pt x="602" y="379"/>
                  <a:pt x="606" y="382"/>
                </a:cubicBezTo>
                <a:cubicBezTo>
                  <a:pt x="610" y="384"/>
                  <a:pt x="614" y="386"/>
                  <a:pt x="618" y="387"/>
                </a:cubicBezTo>
                <a:cubicBezTo>
                  <a:pt x="621" y="388"/>
                  <a:pt x="625" y="387"/>
                  <a:pt x="629" y="386"/>
                </a:cubicBezTo>
                <a:cubicBezTo>
                  <a:pt x="633" y="385"/>
                  <a:pt x="637" y="382"/>
                  <a:pt x="641" y="379"/>
                </a:cubicBezTo>
                <a:cubicBezTo>
                  <a:pt x="644" y="375"/>
                  <a:pt x="647" y="372"/>
                  <a:pt x="648" y="368"/>
                </a:cubicBezTo>
                <a:cubicBezTo>
                  <a:pt x="649" y="364"/>
                  <a:pt x="650" y="360"/>
                  <a:pt x="649" y="356"/>
                </a:cubicBezTo>
                <a:cubicBezTo>
                  <a:pt x="649" y="352"/>
                  <a:pt x="647" y="348"/>
                  <a:pt x="645" y="345"/>
                </a:cubicBezTo>
                <a:cubicBezTo>
                  <a:pt x="642" y="341"/>
                  <a:pt x="639" y="337"/>
                  <a:pt x="636" y="333"/>
                </a:cubicBezTo>
                <a:close/>
                <a:moveTo>
                  <a:pt x="725" y="179"/>
                </a:moveTo>
                <a:cubicBezTo>
                  <a:pt x="725" y="179"/>
                  <a:pt x="726" y="180"/>
                  <a:pt x="726" y="180"/>
                </a:cubicBezTo>
                <a:cubicBezTo>
                  <a:pt x="726" y="181"/>
                  <a:pt x="727" y="181"/>
                  <a:pt x="727" y="182"/>
                </a:cubicBezTo>
                <a:lnTo>
                  <a:pt x="770" y="263"/>
                </a:lnTo>
                <a:cubicBezTo>
                  <a:pt x="770" y="264"/>
                  <a:pt x="770" y="264"/>
                  <a:pt x="770" y="265"/>
                </a:cubicBezTo>
                <a:cubicBezTo>
                  <a:pt x="770" y="265"/>
                  <a:pt x="770" y="266"/>
                  <a:pt x="770" y="267"/>
                </a:cubicBezTo>
                <a:cubicBezTo>
                  <a:pt x="769" y="268"/>
                  <a:pt x="769" y="269"/>
                  <a:pt x="768" y="270"/>
                </a:cubicBezTo>
                <a:cubicBezTo>
                  <a:pt x="767" y="271"/>
                  <a:pt x="766" y="272"/>
                  <a:pt x="764" y="273"/>
                </a:cubicBezTo>
                <a:cubicBezTo>
                  <a:pt x="763" y="275"/>
                  <a:pt x="762" y="276"/>
                  <a:pt x="760" y="277"/>
                </a:cubicBezTo>
                <a:cubicBezTo>
                  <a:pt x="759" y="278"/>
                  <a:pt x="758" y="278"/>
                  <a:pt x="758" y="279"/>
                </a:cubicBezTo>
                <a:cubicBezTo>
                  <a:pt x="757" y="279"/>
                  <a:pt x="756" y="279"/>
                  <a:pt x="756" y="279"/>
                </a:cubicBezTo>
                <a:cubicBezTo>
                  <a:pt x="755" y="279"/>
                  <a:pt x="754" y="279"/>
                  <a:pt x="754" y="279"/>
                </a:cubicBezTo>
                <a:lnTo>
                  <a:pt x="693" y="245"/>
                </a:lnTo>
                <a:lnTo>
                  <a:pt x="692" y="245"/>
                </a:lnTo>
                <a:lnTo>
                  <a:pt x="693" y="246"/>
                </a:lnTo>
                <a:lnTo>
                  <a:pt x="727" y="305"/>
                </a:lnTo>
                <a:cubicBezTo>
                  <a:pt x="728" y="306"/>
                  <a:pt x="728" y="307"/>
                  <a:pt x="728" y="307"/>
                </a:cubicBezTo>
                <a:cubicBezTo>
                  <a:pt x="728" y="308"/>
                  <a:pt x="728" y="309"/>
                  <a:pt x="727" y="309"/>
                </a:cubicBezTo>
                <a:cubicBezTo>
                  <a:pt x="727" y="310"/>
                  <a:pt x="726" y="311"/>
                  <a:pt x="725" y="312"/>
                </a:cubicBezTo>
                <a:cubicBezTo>
                  <a:pt x="724" y="313"/>
                  <a:pt x="723" y="315"/>
                  <a:pt x="722" y="316"/>
                </a:cubicBezTo>
                <a:cubicBezTo>
                  <a:pt x="720" y="317"/>
                  <a:pt x="719" y="319"/>
                  <a:pt x="718" y="319"/>
                </a:cubicBezTo>
                <a:cubicBezTo>
                  <a:pt x="717" y="320"/>
                  <a:pt x="716" y="321"/>
                  <a:pt x="715" y="321"/>
                </a:cubicBezTo>
                <a:cubicBezTo>
                  <a:pt x="714" y="322"/>
                  <a:pt x="714" y="322"/>
                  <a:pt x="713" y="322"/>
                </a:cubicBezTo>
                <a:cubicBezTo>
                  <a:pt x="712" y="322"/>
                  <a:pt x="712" y="322"/>
                  <a:pt x="711" y="321"/>
                </a:cubicBezTo>
                <a:lnTo>
                  <a:pt x="631" y="279"/>
                </a:lnTo>
                <a:cubicBezTo>
                  <a:pt x="630" y="278"/>
                  <a:pt x="629" y="278"/>
                  <a:pt x="629" y="277"/>
                </a:cubicBezTo>
                <a:cubicBezTo>
                  <a:pt x="628" y="277"/>
                  <a:pt x="628" y="277"/>
                  <a:pt x="627" y="276"/>
                </a:cubicBezTo>
                <a:cubicBezTo>
                  <a:pt x="627" y="276"/>
                  <a:pt x="627" y="275"/>
                  <a:pt x="626" y="275"/>
                </a:cubicBezTo>
                <a:cubicBezTo>
                  <a:pt x="626" y="275"/>
                  <a:pt x="627" y="274"/>
                  <a:pt x="627" y="273"/>
                </a:cubicBezTo>
                <a:cubicBezTo>
                  <a:pt x="627" y="273"/>
                  <a:pt x="628" y="272"/>
                  <a:pt x="628" y="271"/>
                </a:cubicBezTo>
                <a:cubicBezTo>
                  <a:pt x="629" y="270"/>
                  <a:pt x="630" y="269"/>
                  <a:pt x="631" y="268"/>
                </a:cubicBezTo>
                <a:cubicBezTo>
                  <a:pt x="632" y="267"/>
                  <a:pt x="633" y="266"/>
                  <a:pt x="634" y="265"/>
                </a:cubicBezTo>
                <a:cubicBezTo>
                  <a:pt x="635" y="265"/>
                  <a:pt x="636" y="264"/>
                  <a:pt x="637" y="264"/>
                </a:cubicBezTo>
                <a:cubicBezTo>
                  <a:pt x="637" y="264"/>
                  <a:pt x="638" y="263"/>
                  <a:pt x="638" y="264"/>
                </a:cubicBezTo>
                <a:cubicBezTo>
                  <a:pt x="639" y="264"/>
                  <a:pt x="639" y="264"/>
                  <a:pt x="640" y="264"/>
                </a:cubicBezTo>
                <a:lnTo>
                  <a:pt x="709" y="302"/>
                </a:lnTo>
                <a:lnTo>
                  <a:pt x="710" y="302"/>
                </a:lnTo>
                <a:lnTo>
                  <a:pt x="709" y="302"/>
                </a:lnTo>
                <a:lnTo>
                  <a:pt x="670" y="234"/>
                </a:lnTo>
                <a:cubicBezTo>
                  <a:pt x="670" y="233"/>
                  <a:pt x="669" y="233"/>
                  <a:pt x="669" y="232"/>
                </a:cubicBezTo>
                <a:cubicBezTo>
                  <a:pt x="669" y="232"/>
                  <a:pt x="669" y="231"/>
                  <a:pt x="670" y="231"/>
                </a:cubicBezTo>
                <a:cubicBezTo>
                  <a:pt x="670" y="230"/>
                  <a:pt x="670" y="229"/>
                  <a:pt x="671" y="229"/>
                </a:cubicBezTo>
                <a:cubicBezTo>
                  <a:pt x="672" y="228"/>
                  <a:pt x="673" y="227"/>
                  <a:pt x="674" y="226"/>
                </a:cubicBezTo>
                <a:cubicBezTo>
                  <a:pt x="675" y="224"/>
                  <a:pt x="676" y="224"/>
                  <a:pt x="677" y="223"/>
                </a:cubicBezTo>
                <a:cubicBezTo>
                  <a:pt x="678" y="222"/>
                  <a:pt x="678" y="222"/>
                  <a:pt x="679" y="221"/>
                </a:cubicBezTo>
                <a:cubicBezTo>
                  <a:pt x="680" y="221"/>
                  <a:pt x="680" y="221"/>
                  <a:pt x="681" y="221"/>
                </a:cubicBezTo>
                <a:cubicBezTo>
                  <a:pt x="681" y="221"/>
                  <a:pt x="681" y="222"/>
                  <a:pt x="682" y="222"/>
                </a:cubicBezTo>
                <a:lnTo>
                  <a:pt x="751" y="260"/>
                </a:lnTo>
                <a:lnTo>
                  <a:pt x="752" y="260"/>
                </a:lnTo>
                <a:lnTo>
                  <a:pt x="751" y="260"/>
                </a:lnTo>
                <a:lnTo>
                  <a:pt x="713" y="191"/>
                </a:lnTo>
                <a:cubicBezTo>
                  <a:pt x="713" y="190"/>
                  <a:pt x="713" y="190"/>
                  <a:pt x="712" y="189"/>
                </a:cubicBezTo>
                <a:cubicBezTo>
                  <a:pt x="712" y="189"/>
                  <a:pt x="712" y="188"/>
                  <a:pt x="713" y="188"/>
                </a:cubicBezTo>
                <a:cubicBezTo>
                  <a:pt x="713" y="187"/>
                  <a:pt x="714" y="186"/>
                  <a:pt x="714" y="185"/>
                </a:cubicBezTo>
                <a:cubicBezTo>
                  <a:pt x="715" y="185"/>
                  <a:pt x="716" y="183"/>
                  <a:pt x="717" y="182"/>
                </a:cubicBezTo>
                <a:cubicBezTo>
                  <a:pt x="718" y="181"/>
                  <a:pt x="719" y="180"/>
                  <a:pt x="720" y="180"/>
                </a:cubicBezTo>
                <a:cubicBezTo>
                  <a:pt x="721" y="179"/>
                  <a:pt x="721" y="178"/>
                  <a:pt x="722" y="178"/>
                </a:cubicBezTo>
                <a:cubicBezTo>
                  <a:pt x="723" y="178"/>
                  <a:pt x="723" y="178"/>
                  <a:pt x="724" y="178"/>
                </a:cubicBezTo>
                <a:cubicBezTo>
                  <a:pt x="724" y="178"/>
                  <a:pt x="724" y="178"/>
                  <a:pt x="725" y="179"/>
                </a:cubicBezTo>
                <a:close/>
                <a:moveTo>
                  <a:pt x="813" y="220"/>
                </a:moveTo>
                <a:cubicBezTo>
                  <a:pt x="813" y="221"/>
                  <a:pt x="813" y="221"/>
                  <a:pt x="814" y="222"/>
                </a:cubicBezTo>
                <a:cubicBezTo>
                  <a:pt x="814" y="222"/>
                  <a:pt x="814" y="223"/>
                  <a:pt x="813" y="223"/>
                </a:cubicBezTo>
                <a:cubicBezTo>
                  <a:pt x="813" y="224"/>
                  <a:pt x="813" y="225"/>
                  <a:pt x="812" y="225"/>
                </a:cubicBezTo>
                <a:cubicBezTo>
                  <a:pt x="811" y="226"/>
                  <a:pt x="810" y="227"/>
                  <a:pt x="809" y="228"/>
                </a:cubicBezTo>
                <a:cubicBezTo>
                  <a:pt x="808" y="230"/>
                  <a:pt x="807" y="231"/>
                  <a:pt x="806" y="231"/>
                </a:cubicBezTo>
                <a:cubicBezTo>
                  <a:pt x="805" y="232"/>
                  <a:pt x="805" y="232"/>
                  <a:pt x="804" y="233"/>
                </a:cubicBezTo>
                <a:cubicBezTo>
                  <a:pt x="803" y="233"/>
                  <a:pt x="803" y="233"/>
                  <a:pt x="802" y="233"/>
                </a:cubicBezTo>
                <a:cubicBezTo>
                  <a:pt x="802" y="233"/>
                  <a:pt x="801" y="233"/>
                  <a:pt x="801" y="232"/>
                </a:cubicBezTo>
                <a:lnTo>
                  <a:pt x="736" y="168"/>
                </a:lnTo>
                <a:cubicBezTo>
                  <a:pt x="736" y="167"/>
                  <a:pt x="736" y="167"/>
                  <a:pt x="736" y="166"/>
                </a:cubicBezTo>
                <a:cubicBezTo>
                  <a:pt x="736" y="166"/>
                  <a:pt x="736" y="165"/>
                  <a:pt x="736" y="165"/>
                </a:cubicBezTo>
                <a:cubicBezTo>
                  <a:pt x="736" y="164"/>
                  <a:pt x="737" y="163"/>
                  <a:pt x="737" y="162"/>
                </a:cubicBezTo>
                <a:cubicBezTo>
                  <a:pt x="738" y="162"/>
                  <a:pt x="739" y="161"/>
                  <a:pt x="740" y="159"/>
                </a:cubicBezTo>
                <a:cubicBezTo>
                  <a:pt x="741" y="158"/>
                  <a:pt x="742" y="157"/>
                  <a:pt x="743" y="157"/>
                </a:cubicBezTo>
                <a:cubicBezTo>
                  <a:pt x="744" y="156"/>
                  <a:pt x="745" y="155"/>
                  <a:pt x="745" y="155"/>
                </a:cubicBezTo>
                <a:cubicBezTo>
                  <a:pt x="746" y="155"/>
                  <a:pt x="747" y="155"/>
                  <a:pt x="747" y="155"/>
                </a:cubicBezTo>
                <a:cubicBezTo>
                  <a:pt x="747" y="155"/>
                  <a:pt x="748" y="155"/>
                  <a:pt x="748" y="156"/>
                </a:cubicBezTo>
                <a:lnTo>
                  <a:pt x="813" y="220"/>
                </a:lnTo>
                <a:close/>
                <a:moveTo>
                  <a:pt x="728" y="132"/>
                </a:moveTo>
                <a:cubicBezTo>
                  <a:pt x="731" y="135"/>
                  <a:pt x="732" y="138"/>
                  <a:pt x="732" y="140"/>
                </a:cubicBezTo>
                <a:cubicBezTo>
                  <a:pt x="732" y="142"/>
                  <a:pt x="730" y="144"/>
                  <a:pt x="728" y="147"/>
                </a:cubicBezTo>
                <a:cubicBezTo>
                  <a:pt x="725" y="150"/>
                  <a:pt x="722" y="151"/>
                  <a:pt x="720" y="151"/>
                </a:cubicBezTo>
                <a:cubicBezTo>
                  <a:pt x="718" y="151"/>
                  <a:pt x="716" y="150"/>
                  <a:pt x="713" y="147"/>
                </a:cubicBezTo>
                <a:cubicBezTo>
                  <a:pt x="710" y="144"/>
                  <a:pt x="709" y="142"/>
                  <a:pt x="709" y="140"/>
                </a:cubicBezTo>
                <a:cubicBezTo>
                  <a:pt x="709" y="138"/>
                  <a:pt x="711" y="136"/>
                  <a:pt x="713" y="133"/>
                </a:cubicBezTo>
                <a:cubicBezTo>
                  <a:pt x="716" y="130"/>
                  <a:pt x="719" y="128"/>
                  <a:pt x="721" y="128"/>
                </a:cubicBezTo>
                <a:cubicBezTo>
                  <a:pt x="723" y="128"/>
                  <a:pt x="725" y="130"/>
                  <a:pt x="728" y="132"/>
                </a:cubicBezTo>
                <a:close/>
                <a:moveTo>
                  <a:pt x="891" y="143"/>
                </a:moveTo>
                <a:cubicBezTo>
                  <a:pt x="891" y="143"/>
                  <a:pt x="891" y="143"/>
                  <a:pt x="891" y="144"/>
                </a:cubicBezTo>
                <a:cubicBezTo>
                  <a:pt x="891" y="144"/>
                  <a:pt x="891" y="145"/>
                  <a:pt x="891" y="145"/>
                </a:cubicBezTo>
                <a:cubicBezTo>
                  <a:pt x="891" y="146"/>
                  <a:pt x="890" y="147"/>
                  <a:pt x="890" y="148"/>
                </a:cubicBezTo>
                <a:cubicBezTo>
                  <a:pt x="889" y="149"/>
                  <a:pt x="888" y="150"/>
                  <a:pt x="887" y="151"/>
                </a:cubicBezTo>
                <a:cubicBezTo>
                  <a:pt x="886" y="152"/>
                  <a:pt x="885" y="153"/>
                  <a:pt x="884" y="153"/>
                </a:cubicBezTo>
                <a:cubicBezTo>
                  <a:pt x="883" y="154"/>
                  <a:pt x="882" y="155"/>
                  <a:pt x="882" y="155"/>
                </a:cubicBezTo>
                <a:cubicBezTo>
                  <a:pt x="881" y="155"/>
                  <a:pt x="880" y="155"/>
                  <a:pt x="880" y="155"/>
                </a:cubicBezTo>
                <a:cubicBezTo>
                  <a:pt x="880" y="155"/>
                  <a:pt x="879" y="155"/>
                  <a:pt x="879" y="154"/>
                </a:cubicBezTo>
                <a:lnTo>
                  <a:pt x="841" y="117"/>
                </a:lnTo>
                <a:cubicBezTo>
                  <a:pt x="837" y="113"/>
                  <a:pt x="834" y="110"/>
                  <a:pt x="831" y="109"/>
                </a:cubicBezTo>
                <a:cubicBezTo>
                  <a:pt x="828" y="107"/>
                  <a:pt x="826" y="106"/>
                  <a:pt x="823" y="105"/>
                </a:cubicBezTo>
                <a:cubicBezTo>
                  <a:pt x="820" y="105"/>
                  <a:pt x="817" y="105"/>
                  <a:pt x="815" y="106"/>
                </a:cubicBezTo>
                <a:cubicBezTo>
                  <a:pt x="812" y="107"/>
                  <a:pt x="810" y="108"/>
                  <a:pt x="807" y="111"/>
                </a:cubicBezTo>
                <a:cubicBezTo>
                  <a:pt x="804" y="113"/>
                  <a:pt x="803" y="118"/>
                  <a:pt x="802" y="123"/>
                </a:cubicBezTo>
                <a:cubicBezTo>
                  <a:pt x="801" y="128"/>
                  <a:pt x="801" y="134"/>
                  <a:pt x="802" y="141"/>
                </a:cubicBezTo>
                <a:lnTo>
                  <a:pt x="847" y="186"/>
                </a:lnTo>
                <a:cubicBezTo>
                  <a:pt x="847" y="187"/>
                  <a:pt x="847" y="187"/>
                  <a:pt x="847" y="188"/>
                </a:cubicBezTo>
                <a:cubicBezTo>
                  <a:pt x="848" y="188"/>
                  <a:pt x="847" y="189"/>
                  <a:pt x="847" y="189"/>
                </a:cubicBezTo>
                <a:cubicBezTo>
                  <a:pt x="847" y="190"/>
                  <a:pt x="847" y="191"/>
                  <a:pt x="846" y="191"/>
                </a:cubicBezTo>
                <a:cubicBezTo>
                  <a:pt x="845" y="192"/>
                  <a:pt x="844" y="193"/>
                  <a:pt x="843" y="195"/>
                </a:cubicBezTo>
                <a:cubicBezTo>
                  <a:pt x="842" y="196"/>
                  <a:pt x="841" y="197"/>
                  <a:pt x="840" y="197"/>
                </a:cubicBezTo>
                <a:cubicBezTo>
                  <a:pt x="839" y="198"/>
                  <a:pt x="838" y="198"/>
                  <a:pt x="838" y="199"/>
                </a:cubicBezTo>
                <a:cubicBezTo>
                  <a:pt x="837" y="199"/>
                  <a:pt x="837" y="199"/>
                  <a:pt x="836" y="199"/>
                </a:cubicBezTo>
                <a:cubicBezTo>
                  <a:pt x="836" y="199"/>
                  <a:pt x="835" y="199"/>
                  <a:pt x="835" y="198"/>
                </a:cubicBezTo>
                <a:lnTo>
                  <a:pt x="770" y="134"/>
                </a:lnTo>
                <a:cubicBezTo>
                  <a:pt x="770" y="133"/>
                  <a:pt x="770" y="133"/>
                  <a:pt x="770" y="132"/>
                </a:cubicBezTo>
                <a:cubicBezTo>
                  <a:pt x="769" y="132"/>
                  <a:pt x="770" y="131"/>
                  <a:pt x="770" y="131"/>
                </a:cubicBezTo>
                <a:cubicBezTo>
                  <a:pt x="770" y="130"/>
                  <a:pt x="770" y="129"/>
                  <a:pt x="771" y="129"/>
                </a:cubicBezTo>
                <a:cubicBezTo>
                  <a:pt x="772" y="128"/>
                  <a:pt x="772" y="127"/>
                  <a:pt x="773" y="126"/>
                </a:cubicBezTo>
                <a:cubicBezTo>
                  <a:pt x="775" y="125"/>
                  <a:pt x="775" y="124"/>
                  <a:pt x="776" y="123"/>
                </a:cubicBezTo>
                <a:cubicBezTo>
                  <a:pt x="777" y="123"/>
                  <a:pt x="778" y="122"/>
                  <a:pt x="778" y="122"/>
                </a:cubicBezTo>
                <a:cubicBezTo>
                  <a:pt x="779" y="122"/>
                  <a:pt x="779" y="122"/>
                  <a:pt x="780" y="122"/>
                </a:cubicBezTo>
                <a:cubicBezTo>
                  <a:pt x="780" y="122"/>
                  <a:pt x="781" y="122"/>
                  <a:pt x="781" y="123"/>
                </a:cubicBezTo>
                <a:lnTo>
                  <a:pt x="790" y="131"/>
                </a:lnTo>
                <a:cubicBezTo>
                  <a:pt x="789" y="124"/>
                  <a:pt x="790" y="117"/>
                  <a:pt x="792" y="112"/>
                </a:cubicBezTo>
                <a:cubicBezTo>
                  <a:pt x="793" y="106"/>
                  <a:pt x="796" y="101"/>
                  <a:pt x="800" y="98"/>
                </a:cubicBezTo>
                <a:cubicBezTo>
                  <a:pt x="804" y="93"/>
                  <a:pt x="808" y="91"/>
                  <a:pt x="813" y="89"/>
                </a:cubicBezTo>
                <a:cubicBezTo>
                  <a:pt x="817" y="88"/>
                  <a:pt x="821" y="87"/>
                  <a:pt x="826" y="88"/>
                </a:cubicBezTo>
                <a:cubicBezTo>
                  <a:pt x="830" y="88"/>
                  <a:pt x="834" y="90"/>
                  <a:pt x="838" y="92"/>
                </a:cubicBezTo>
                <a:cubicBezTo>
                  <a:pt x="842" y="95"/>
                  <a:pt x="847" y="99"/>
                  <a:pt x="851" y="103"/>
                </a:cubicBezTo>
                <a:lnTo>
                  <a:pt x="891" y="143"/>
                </a:lnTo>
                <a:close/>
                <a:moveTo>
                  <a:pt x="906" y="3"/>
                </a:moveTo>
                <a:cubicBezTo>
                  <a:pt x="908" y="5"/>
                  <a:pt x="909" y="6"/>
                  <a:pt x="909" y="8"/>
                </a:cubicBezTo>
                <a:cubicBezTo>
                  <a:pt x="910" y="9"/>
                  <a:pt x="909" y="10"/>
                  <a:pt x="909" y="10"/>
                </a:cubicBezTo>
                <a:lnTo>
                  <a:pt x="900" y="20"/>
                </a:lnTo>
                <a:cubicBezTo>
                  <a:pt x="903" y="20"/>
                  <a:pt x="906" y="21"/>
                  <a:pt x="909" y="22"/>
                </a:cubicBezTo>
                <a:cubicBezTo>
                  <a:pt x="911" y="23"/>
                  <a:pt x="914" y="25"/>
                  <a:pt x="916" y="27"/>
                </a:cubicBezTo>
                <a:cubicBezTo>
                  <a:pt x="920" y="31"/>
                  <a:pt x="923" y="35"/>
                  <a:pt x="924" y="39"/>
                </a:cubicBezTo>
                <a:cubicBezTo>
                  <a:pt x="926" y="43"/>
                  <a:pt x="927" y="47"/>
                  <a:pt x="927" y="52"/>
                </a:cubicBezTo>
                <a:cubicBezTo>
                  <a:pt x="926" y="56"/>
                  <a:pt x="925" y="60"/>
                  <a:pt x="923" y="64"/>
                </a:cubicBezTo>
                <a:cubicBezTo>
                  <a:pt x="921" y="68"/>
                  <a:pt x="918" y="72"/>
                  <a:pt x="915" y="76"/>
                </a:cubicBezTo>
                <a:cubicBezTo>
                  <a:pt x="912" y="78"/>
                  <a:pt x="909" y="81"/>
                  <a:pt x="906" y="82"/>
                </a:cubicBezTo>
                <a:cubicBezTo>
                  <a:pt x="903" y="84"/>
                  <a:pt x="900" y="85"/>
                  <a:pt x="898" y="85"/>
                </a:cubicBezTo>
                <a:cubicBezTo>
                  <a:pt x="898" y="87"/>
                  <a:pt x="898" y="89"/>
                  <a:pt x="899" y="90"/>
                </a:cubicBezTo>
                <a:cubicBezTo>
                  <a:pt x="899" y="92"/>
                  <a:pt x="900" y="93"/>
                  <a:pt x="902" y="95"/>
                </a:cubicBezTo>
                <a:cubicBezTo>
                  <a:pt x="903" y="97"/>
                  <a:pt x="906" y="97"/>
                  <a:pt x="908" y="97"/>
                </a:cubicBezTo>
                <a:cubicBezTo>
                  <a:pt x="911" y="96"/>
                  <a:pt x="913" y="95"/>
                  <a:pt x="916" y="92"/>
                </a:cubicBezTo>
                <a:lnTo>
                  <a:pt x="934" y="76"/>
                </a:lnTo>
                <a:cubicBezTo>
                  <a:pt x="937" y="73"/>
                  <a:pt x="940" y="71"/>
                  <a:pt x="944" y="69"/>
                </a:cubicBezTo>
                <a:cubicBezTo>
                  <a:pt x="947" y="67"/>
                  <a:pt x="951" y="66"/>
                  <a:pt x="954" y="65"/>
                </a:cubicBezTo>
                <a:cubicBezTo>
                  <a:pt x="958" y="65"/>
                  <a:pt x="961" y="65"/>
                  <a:pt x="964" y="66"/>
                </a:cubicBezTo>
                <a:cubicBezTo>
                  <a:pt x="967" y="67"/>
                  <a:pt x="971" y="69"/>
                  <a:pt x="973" y="72"/>
                </a:cubicBezTo>
                <a:cubicBezTo>
                  <a:pt x="976" y="75"/>
                  <a:pt x="979" y="78"/>
                  <a:pt x="980" y="82"/>
                </a:cubicBezTo>
                <a:cubicBezTo>
                  <a:pt x="981" y="86"/>
                  <a:pt x="982" y="90"/>
                  <a:pt x="981" y="95"/>
                </a:cubicBezTo>
                <a:cubicBezTo>
                  <a:pt x="981" y="99"/>
                  <a:pt x="979" y="104"/>
                  <a:pt x="976" y="109"/>
                </a:cubicBezTo>
                <a:cubicBezTo>
                  <a:pt x="974" y="114"/>
                  <a:pt x="969" y="120"/>
                  <a:pt x="964" y="125"/>
                </a:cubicBezTo>
                <a:cubicBezTo>
                  <a:pt x="959" y="130"/>
                  <a:pt x="954" y="134"/>
                  <a:pt x="949" y="137"/>
                </a:cubicBezTo>
                <a:cubicBezTo>
                  <a:pt x="945" y="140"/>
                  <a:pt x="941" y="142"/>
                  <a:pt x="937" y="143"/>
                </a:cubicBezTo>
                <a:cubicBezTo>
                  <a:pt x="933" y="143"/>
                  <a:pt x="929" y="143"/>
                  <a:pt x="926" y="142"/>
                </a:cubicBezTo>
                <a:cubicBezTo>
                  <a:pt x="923" y="141"/>
                  <a:pt x="920" y="139"/>
                  <a:pt x="918" y="137"/>
                </a:cubicBezTo>
                <a:cubicBezTo>
                  <a:pt x="916" y="135"/>
                  <a:pt x="915" y="134"/>
                  <a:pt x="914" y="132"/>
                </a:cubicBezTo>
                <a:cubicBezTo>
                  <a:pt x="912" y="130"/>
                  <a:pt x="912" y="128"/>
                  <a:pt x="911" y="126"/>
                </a:cubicBezTo>
                <a:cubicBezTo>
                  <a:pt x="911" y="124"/>
                  <a:pt x="910" y="121"/>
                  <a:pt x="910" y="119"/>
                </a:cubicBezTo>
                <a:cubicBezTo>
                  <a:pt x="910" y="116"/>
                  <a:pt x="910" y="114"/>
                  <a:pt x="911" y="111"/>
                </a:cubicBezTo>
                <a:cubicBezTo>
                  <a:pt x="907" y="112"/>
                  <a:pt x="904" y="113"/>
                  <a:pt x="901" y="112"/>
                </a:cubicBezTo>
                <a:cubicBezTo>
                  <a:pt x="898" y="111"/>
                  <a:pt x="895" y="110"/>
                  <a:pt x="893" y="108"/>
                </a:cubicBezTo>
                <a:cubicBezTo>
                  <a:pt x="890" y="105"/>
                  <a:pt x="888" y="102"/>
                  <a:pt x="887" y="98"/>
                </a:cubicBezTo>
                <a:cubicBezTo>
                  <a:pt x="886" y="95"/>
                  <a:pt x="886" y="91"/>
                  <a:pt x="886" y="87"/>
                </a:cubicBezTo>
                <a:cubicBezTo>
                  <a:pt x="882" y="87"/>
                  <a:pt x="879" y="86"/>
                  <a:pt x="876" y="85"/>
                </a:cubicBezTo>
                <a:cubicBezTo>
                  <a:pt x="873" y="84"/>
                  <a:pt x="870" y="81"/>
                  <a:pt x="867" y="78"/>
                </a:cubicBezTo>
                <a:cubicBezTo>
                  <a:pt x="863" y="74"/>
                  <a:pt x="860" y="71"/>
                  <a:pt x="859" y="66"/>
                </a:cubicBezTo>
                <a:cubicBezTo>
                  <a:pt x="857" y="62"/>
                  <a:pt x="856" y="58"/>
                  <a:pt x="856" y="54"/>
                </a:cubicBezTo>
                <a:cubicBezTo>
                  <a:pt x="857" y="50"/>
                  <a:pt x="858" y="45"/>
                  <a:pt x="860" y="41"/>
                </a:cubicBezTo>
                <a:cubicBezTo>
                  <a:pt x="862" y="37"/>
                  <a:pt x="865" y="33"/>
                  <a:pt x="868" y="30"/>
                </a:cubicBezTo>
                <a:cubicBezTo>
                  <a:pt x="870" y="28"/>
                  <a:pt x="872" y="26"/>
                  <a:pt x="874" y="24"/>
                </a:cubicBezTo>
                <a:cubicBezTo>
                  <a:pt x="876" y="23"/>
                  <a:pt x="878" y="22"/>
                  <a:pt x="880" y="20"/>
                </a:cubicBezTo>
                <a:lnTo>
                  <a:pt x="899" y="1"/>
                </a:lnTo>
                <a:cubicBezTo>
                  <a:pt x="900" y="0"/>
                  <a:pt x="901" y="0"/>
                  <a:pt x="902" y="0"/>
                </a:cubicBezTo>
                <a:cubicBezTo>
                  <a:pt x="903" y="1"/>
                  <a:pt x="905" y="2"/>
                  <a:pt x="906" y="3"/>
                </a:cubicBezTo>
                <a:close/>
                <a:moveTo>
                  <a:pt x="905" y="39"/>
                </a:moveTo>
                <a:cubicBezTo>
                  <a:pt x="901" y="34"/>
                  <a:pt x="896" y="32"/>
                  <a:pt x="891" y="32"/>
                </a:cubicBezTo>
                <a:cubicBezTo>
                  <a:pt x="886" y="32"/>
                  <a:pt x="881" y="34"/>
                  <a:pt x="877" y="39"/>
                </a:cubicBezTo>
                <a:cubicBezTo>
                  <a:pt x="875" y="41"/>
                  <a:pt x="873" y="43"/>
                  <a:pt x="872" y="46"/>
                </a:cubicBezTo>
                <a:cubicBezTo>
                  <a:pt x="871" y="48"/>
                  <a:pt x="871" y="51"/>
                  <a:pt x="871" y="53"/>
                </a:cubicBezTo>
                <a:cubicBezTo>
                  <a:pt x="871" y="56"/>
                  <a:pt x="872" y="58"/>
                  <a:pt x="873" y="60"/>
                </a:cubicBezTo>
                <a:cubicBezTo>
                  <a:pt x="874" y="63"/>
                  <a:pt x="876" y="65"/>
                  <a:pt x="878" y="67"/>
                </a:cubicBezTo>
                <a:cubicBezTo>
                  <a:pt x="882" y="71"/>
                  <a:pt x="887" y="73"/>
                  <a:pt x="892" y="73"/>
                </a:cubicBezTo>
                <a:cubicBezTo>
                  <a:pt x="896" y="73"/>
                  <a:pt x="901" y="71"/>
                  <a:pt x="905" y="67"/>
                </a:cubicBezTo>
                <a:cubicBezTo>
                  <a:pt x="908" y="64"/>
                  <a:pt x="909" y="62"/>
                  <a:pt x="910" y="60"/>
                </a:cubicBezTo>
                <a:cubicBezTo>
                  <a:pt x="911" y="57"/>
                  <a:pt x="912" y="55"/>
                  <a:pt x="912" y="52"/>
                </a:cubicBezTo>
                <a:cubicBezTo>
                  <a:pt x="911" y="50"/>
                  <a:pt x="911" y="47"/>
                  <a:pt x="910" y="45"/>
                </a:cubicBezTo>
                <a:cubicBezTo>
                  <a:pt x="908" y="43"/>
                  <a:pt x="907" y="41"/>
                  <a:pt x="905" y="39"/>
                </a:cubicBezTo>
                <a:close/>
                <a:moveTo>
                  <a:pt x="962" y="84"/>
                </a:moveTo>
                <a:cubicBezTo>
                  <a:pt x="959" y="81"/>
                  <a:pt x="956" y="80"/>
                  <a:pt x="952" y="81"/>
                </a:cubicBezTo>
                <a:cubicBezTo>
                  <a:pt x="949" y="82"/>
                  <a:pt x="945" y="84"/>
                  <a:pt x="941" y="88"/>
                </a:cubicBezTo>
                <a:lnTo>
                  <a:pt x="923" y="104"/>
                </a:lnTo>
                <a:cubicBezTo>
                  <a:pt x="923" y="107"/>
                  <a:pt x="923" y="109"/>
                  <a:pt x="923" y="111"/>
                </a:cubicBezTo>
                <a:cubicBezTo>
                  <a:pt x="923" y="113"/>
                  <a:pt x="923" y="115"/>
                  <a:pt x="924" y="117"/>
                </a:cubicBezTo>
                <a:cubicBezTo>
                  <a:pt x="924" y="118"/>
                  <a:pt x="925" y="120"/>
                  <a:pt x="925" y="121"/>
                </a:cubicBezTo>
                <a:cubicBezTo>
                  <a:pt x="926" y="122"/>
                  <a:pt x="927" y="123"/>
                  <a:pt x="928" y="124"/>
                </a:cubicBezTo>
                <a:cubicBezTo>
                  <a:pt x="931" y="127"/>
                  <a:pt x="935" y="128"/>
                  <a:pt x="940" y="126"/>
                </a:cubicBezTo>
                <a:cubicBezTo>
                  <a:pt x="945" y="125"/>
                  <a:pt x="950" y="121"/>
                  <a:pt x="956" y="116"/>
                </a:cubicBezTo>
                <a:cubicBezTo>
                  <a:pt x="959" y="112"/>
                  <a:pt x="962" y="109"/>
                  <a:pt x="963" y="106"/>
                </a:cubicBezTo>
                <a:cubicBezTo>
                  <a:pt x="965" y="102"/>
                  <a:pt x="966" y="100"/>
                  <a:pt x="967" y="97"/>
                </a:cubicBezTo>
                <a:cubicBezTo>
                  <a:pt x="967" y="94"/>
                  <a:pt x="967" y="92"/>
                  <a:pt x="966" y="90"/>
                </a:cubicBezTo>
                <a:cubicBezTo>
                  <a:pt x="965" y="88"/>
                  <a:pt x="964" y="86"/>
                  <a:pt x="962" y="84"/>
                </a:cubicBezTo>
                <a:close/>
              </a:path>
            </a:pathLst>
          </a:custGeom>
          <a:solidFill>
            <a:srgbClr val="000000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103" name="Freeform 47"/>
          <p:cNvSpPr>
            <a:spLocks noEditPoints="1"/>
          </p:cNvSpPr>
          <p:nvPr/>
        </p:nvSpPr>
        <p:spPr bwMode="auto">
          <a:xfrm>
            <a:off x="4265872" y="3991856"/>
            <a:ext cx="1906588" cy="1866900"/>
          </a:xfrm>
          <a:custGeom>
            <a:avLst/>
            <a:gdLst/>
            <a:ahLst/>
            <a:cxnLst>
              <a:cxn ang="0">
                <a:pos x="13" y="2888"/>
              </a:cxn>
              <a:cxn ang="0">
                <a:pos x="243" y="2842"/>
              </a:cxn>
              <a:cxn ang="0">
                <a:pos x="321" y="2765"/>
              </a:cxn>
              <a:cxn ang="0">
                <a:pos x="210" y="2739"/>
              </a:cxn>
              <a:cxn ang="0">
                <a:pos x="291" y="2675"/>
              </a:cxn>
              <a:cxn ang="0">
                <a:pos x="370" y="2684"/>
              </a:cxn>
              <a:cxn ang="0">
                <a:pos x="435" y="2549"/>
              </a:cxn>
              <a:cxn ang="0">
                <a:pos x="558" y="2453"/>
              </a:cxn>
              <a:cxn ang="0">
                <a:pos x="489" y="2499"/>
              </a:cxn>
              <a:cxn ang="0">
                <a:pos x="605" y="2371"/>
              </a:cxn>
              <a:cxn ang="0">
                <a:pos x="620" y="2359"/>
              </a:cxn>
              <a:cxn ang="0">
                <a:pos x="695" y="2376"/>
              </a:cxn>
              <a:cxn ang="0">
                <a:pos x="747" y="2222"/>
              </a:cxn>
              <a:cxn ang="0">
                <a:pos x="738" y="2208"/>
              </a:cxn>
              <a:cxn ang="0">
                <a:pos x="819" y="2164"/>
              </a:cxn>
              <a:cxn ang="0">
                <a:pos x="823" y="2225"/>
              </a:cxn>
              <a:cxn ang="0">
                <a:pos x="820" y="2094"/>
              </a:cxn>
              <a:cxn ang="0">
                <a:pos x="958" y="2126"/>
              </a:cxn>
              <a:cxn ang="0">
                <a:pos x="1019" y="2026"/>
              </a:cxn>
              <a:cxn ang="0">
                <a:pos x="1000" y="2068"/>
              </a:cxn>
              <a:cxn ang="0">
                <a:pos x="1060" y="2024"/>
              </a:cxn>
              <a:cxn ang="0">
                <a:pos x="1120" y="1803"/>
              </a:cxn>
              <a:cxn ang="0">
                <a:pos x="1222" y="1864"/>
              </a:cxn>
              <a:cxn ang="0">
                <a:pos x="1231" y="1765"/>
              </a:cxn>
              <a:cxn ang="0">
                <a:pos x="1234" y="1717"/>
              </a:cxn>
              <a:cxn ang="0">
                <a:pos x="1227" y="1671"/>
              </a:cxn>
              <a:cxn ang="0">
                <a:pos x="1300" y="1587"/>
              </a:cxn>
              <a:cxn ang="0">
                <a:pos x="1475" y="1611"/>
              </a:cxn>
              <a:cxn ang="0">
                <a:pos x="1472" y="1494"/>
              </a:cxn>
              <a:cxn ang="0">
                <a:pos x="1555" y="1526"/>
              </a:cxn>
              <a:cxn ang="0">
                <a:pos x="1510" y="1406"/>
              </a:cxn>
              <a:cxn ang="0">
                <a:pos x="1635" y="1430"/>
              </a:cxn>
              <a:cxn ang="0">
                <a:pos x="1628" y="1355"/>
              </a:cxn>
              <a:cxn ang="0">
                <a:pos x="1733" y="1328"/>
              </a:cxn>
              <a:cxn ang="0">
                <a:pos x="1688" y="1260"/>
              </a:cxn>
              <a:cxn ang="0">
                <a:pos x="1755" y="1349"/>
              </a:cxn>
              <a:cxn ang="0">
                <a:pos x="1710" y="1238"/>
              </a:cxn>
              <a:cxn ang="0">
                <a:pos x="1838" y="1247"/>
              </a:cxn>
              <a:cxn ang="0">
                <a:pos x="1797" y="1152"/>
              </a:cxn>
              <a:cxn ang="0">
                <a:pos x="1833" y="1135"/>
              </a:cxn>
              <a:cxn ang="0">
                <a:pos x="1912" y="1155"/>
              </a:cxn>
              <a:cxn ang="0">
                <a:pos x="1868" y="1041"/>
              </a:cxn>
              <a:cxn ang="0">
                <a:pos x="1968" y="1013"/>
              </a:cxn>
              <a:cxn ang="0">
                <a:pos x="2027" y="940"/>
              </a:cxn>
              <a:cxn ang="0">
                <a:pos x="2110" y="972"/>
              </a:cxn>
              <a:cxn ang="0">
                <a:pos x="2288" y="800"/>
              </a:cxn>
              <a:cxn ang="0">
                <a:pos x="2282" y="755"/>
              </a:cxn>
              <a:cxn ang="0">
                <a:pos x="2271" y="679"/>
              </a:cxn>
              <a:cxn ang="0">
                <a:pos x="2401" y="637"/>
              </a:cxn>
              <a:cxn ang="0">
                <a:pos x="2358" y="600"/>
              </a:cxn>
              <a:cxn ang="0">
                <a:pos x="2430" y="670"/>
              </a:cxn>
              <a:cxn ang="0">
                <a:pos x="2451" y="469"/>
              </a:cxn>
              <a:cxn ang="0">
                <a:pos x="2550" y="398"/>
              </a:cxn>
              <a:cxn ang="0">
                <a:pos x="2662" y="307"/>
              </a:cxn>
              <a:cxn ang="0">
                <a:pos x="2648" y="298"/>
              </a:cxn>
              <a:cxn ang="0">
                <a:pos x="2738" y="257"/>
              </a:cxn>
              <a:cxn ang="0">
                <a:pos x="2731" y="306"/>
              </a:cxn>
              <a:cxn ang="0">
                <a:pos x="2732" y="184"/>
              </a:cxn>
              <a:cxn ang="0">
                <a:pos x="2869" y="212"/>
              </a:cxn>
              <a:cxn ang="0">
                <a:pos x="2918" y="97"/>
              </a:cxn>
              <a:cxn ang="0">
                <a:pos x="2900" y="163"/>
              </a:cxn>
              <a:cxn ang="0">
                <a:pos x="2973" y="112"/>
              </a:cxn>
            </a:cxnLst>
            <a:rect l="0" t="0" r="r" b="b"/>
            <a:pathLst>
              <a:path w="3027" h="2966">
                <a:moveTo>
                  <a:pt x="186" y="2893"/>
                </a:moveTo>
                <a:cubicBezTo>
                  <a:pt x="187" y="2894"/>
                  <a:pt x="187" y="2895"/>
                  <a:pt x="187" y="2896"/>
                </a:cubicBezTo>
                <a:cubicBezTo>
                  <a:pt x="187" y="2897"/>
                  <a:pt x="187" y="2898"/>
                  <a:pt x="186" y="2898"/>
                </a:cubicBezTo>
                <a:cubicBezTo>
                  <a:pt x="186" y="2899"/>
                  <a:pt x="185" y="2900"/>
                  <a:pt x="184" y="2901"/>
                </a:cubicBezTo>
                <a:cubicBezTo>
                  <a:pt x="183" y="2903"/>
                  <a:pt x="182" y="2904"/>
                  <a:pt x="181" y="2905"/>
                </a:cubicBezTo>
                <a:cubicBezTo>
                  <a:pt x="179" y="2907"/>
                  <a:pt x="178" y="2908"/>
                  <a:pt x="177" y="2909"/>
                </a:cubicBezTo>
                <a:cubicBezTo>
                  <a:pt x="176" y="2910"/>
                  <a:pt x="175" y="2910"/>
                  <a:pt x="174" y="2911"/>
                </a:cubicBezTo>
                <a:cubicBezTo>
                  <a:pt x="173" y="2911"/>
                  <a:pt x="172" y="2912"/>
                  <a:pt x="171" y="2911"/>
                </a:cubicBezTo>
                <a:cubicBezTo>
                  <a:pt x="171" y="2911"/>
                  <a:pt x="170" y="2911"/>
                  <a:pt x="169" y="2911"/>
                </a:cubicBezTo>
                <a:lnTo>
                  <a:pt x="79" y="2860"/>
                </a:lnTo>
                <a:lnTo>
                  <a:pt x="79" y="2860"/>
                </a:lnTo>
                <a:lnTo>
                  <a:pt x="131" y="2948"/>
                </a:lnTo>
                <a:cubicBezTo>
                  <a:pt x="132" y="2949"/>
                  <a:pt x="132" y="2950"/>
                  <a:pt x="132" y="2951"/>
                </a:cubicBezTo>
                <a:cubicBezTo>
                  <a:pt x="132" y="2951"/>
                  <a:pt x="132" y="2952"/>
                  <a:pt x="132" y="2953"/>
                </a:cubicBezTo>
                <a:cubicBezTo>
                  <a:pt x="131" y="2954"/>
                  <a:pt x="131" y="2955"/>
                  <a:pt x="130" y="2956"/>
                </a:cubicBezTo>
                <a:cubicBezTo>
                  <a:pt x="129" y="2957"/>
                  <a:pt x="128" y="2958"/>
                  <a:pt x="126" y="2960"/>
                </a:cubicBezTo>
                <a:cubicBezTo>
                  <a:pt x="125" y="2961"/>
                  <a:pt x="123" y="2963"/>
                  <a:pt x="122" y="2964"/>
                </a:cubicBezTo>
                <a:cubicBezTo>
                  <a:pt x="121" y="2964"/>
                  <a:pt x="120" y="2965"/>
                  <a:pt x="119" y="2966"/>
                </a:cubicBezTo>
                <a:cubicBezTo>
                  <a:pt x="118" y="2966"/>
                  <a:pt x="117" y="2966"/>
                  <a:pt x="117" y="2966"/>
                </a:cubicBezTo>
                <a:cubicBezTo>
                  <a:pt x="116" y="2966"/>
                  <a:pt x="115" y="2966"/>
                  <a:pt x="114" y="2965"/>
                </a:cubicBezTo>
                <a:lnTo>
                  <a:pt x="4" y="2904"/>
                </a:lnTo>
                <a:cubicBezTo>
                  <a:pt x="3" y="2903"/>
                  <a:pt x="2" y="2903"/>
                  <a:pt x="1" y="2902"/>
                </a:cubicBezTo>
                <a:cubicBezTo>
                  <a:pt x="0" y="2901"/>
                  <a:pt x="0" y="2901"/>
                  <a:pt x="0" y="2900"/>
                </a:cubicBezTo>
                <a:cubicBezTo>
                  <a:pt x="0" y="2899"/>
                  <a:pt x="1" y="2898"/>
                  <a:pt x="1" y="2897"/>
                </a:cubicBezTo>
                <a:cubicBezTo>
                  <a:pt x="2" y="2896"/>
                  <a:pt x="3" y="2895"/>
                  <a:pt x="5" y="2894"/>
                </a:cubicBezTo>
                <a:cubicBezTo>
                  <a:pt x="6" y="2892"/>
                  <a:pt x="8" y="2891"/>
                  <a:pt x="8" y="2890"/>
                </a:cubicBezTo>
                <a:cubicBezTo>
                  <a:pt x="9" y="2889"/>
                  <a:pt x="10" y="2889"/>
                  <a:pt x="11" y="2889"/>
                </a:cubicBezTo>
                <a:cubicBezTo>
                  <a:pt x="11" y="2888"/>
                  <a:pt x="12" y="2888"/>
                  <a:pt x="13" y="2888"/>
                </a:cubicBezTo>
                <a:cubicBezTo>
                  <a:pt x="13" y="2889"/>
                  <a:pt x="14" y="2889"/>
                  <a:pt x="14" y="2889"/>
                </a:cubicBezTo>
                <a:lnTo>
                  <a:pt x="113" y="2946"/>
                </a:lnTo>
                <a:lnTo>
                  <a:pt x="113" y="2946"/>
                </a:lnTo>
                <a:lnTo>
                  <a:pt x="55" y="2849"/>
                </a:lnTo>
                <a:cubicBezTo>
                  <a:pt x="55" y="2848"/>
                  <a:pt x="55" y="2847"/>
                  <a:pt x="54" y="2847"/>
                </a:cubicBezTo>
                <a:cubicBezTo>
                  <a:pt x="54" y="2846"/>
                  <a:pt x="54" y="2846"/>
                  <a:pt x="55" y="2845"/>
                </a:cubicBezTo>
                <a:cubicBezTo>
                  <a:pt x="55" y="2844"/>
                  <a:pt x="55" y="2843"/>
                  <a:pt x="56" y="2842"/>
                </a:cubicBezTo>
                <a:cubicBezTo>
                  <a:pt x="57" y="2841"/>
                  <a:pt x="58" y="2840"/>
                  <a:pt x="60" y="2839"/>
                </a:cubicBezTo>
                <a:cubicBezTo>
                  <a:pt x="61" y="2838"/>
                  <a:pt x="62" y="2836"/>
                  <a:pt x="63" y="2836"/>
                </a:cubicBezTo>
                <a:cubicBezTo>
                  <a:pt x="64" y="2835"/>
                  <a:pt x="65" y="2835"/>
                  <a:pt x="65" y="2834"/>
                </a:cubicBezTo>
                <a:cubicBezTo>
                  <a:pt x="66" y="2834"/>
                  <a:pt x="67" y="2834"/>
                  <a:pt x="67" y="2834"/>
                </a:cubicBezTo>
                <a:cubicBezTo>
                  <a:pt x="68" y="2834"/>
                  <a:pt x="68" y="2835"/>
                  <a:pt x="69" y="2835"/>
                </a:cubicBezTo>
                <a:lnTo>
                  <a:pt x="168" y="2891"/>
                </a:lnTo>
                <a:lnTo>
                  <a:pt x="168" y="2891"/>
                </a:lnTo>
                <a:lnTo>
                  <a:pt x="111" y="2793"/>
                </a:lnTo>
                <a:cubicBezTo>
                  <a:pt x="111" y="2792"/>
                  <a:pt x="110" y="2792"/>
                  <a:pt x="110" y="2791"/>
                </a:cubicBezTo>
                <a:cubicBezTo>
                  <a:pt x="110" y="2791"/>
                  <a:pt x="110" y="2790"/>
                  <a:pt x="110" y="2789"/>
                </a:cubicBezTo>
                <a:cubicBezTo>
                  <a:pt x="110" y="2789"/>
                  <a:pt x="111" y="2788"/>
                  <a:pt x="112" y="2787"/>
                </a:cubicBezTo>
                <a:cubicBezTo>
                  <a:pt x="112" y="2786"/>
                  <a:pt x="113" y="2785"/>
                  <a:pt x="115" y="2784"/>
                </a:cubicBezTo>
                <a:cubicBezTo>
                  <a:pt x="116" y="2782"/>
                  <a:pt x="117" y="2781"/>
                  <a:pt x="118" y="2780"/>
                </a:cubicBezTo>
                <a:cubicBezTo>
                  <a:pt x="119" y="2780"/>
                  <a:pt x="120" y="2779"/>
                  <a:pt x="121" y="2779"/>
                </a:cubicBezTo>
                <a:cubicBezTo>
                  <a:pt x="122" y="2779"/>
                  <a:pt x="122" y="2779"/>
                  <a:pt x="123" y="2780"/>
                </a:cubicBezTo>
                <a:cubicBezTo>
                  <a:pt x="123" y="2781"/>
                  <a:pt x="124" y="2782"/>
                  <a:pt x="125" y="2783"/>
                </a:cubicBezTo>
                <a:lnTo>
                  <a:pt x="186" y="2893"/>
                </a:lnTo>
                <a:close/>
                <a:moveTo>
                  <a:pt x="244" y="2837"/>
                </a:moveTo>
                <a:cubicBezTo>
                  <a:pt x="245" y="2838"/>
                  <a:pt x="245" y="2838"/>
                  <a:pt x="245" y="2838"/>
                </a:cubicBezTo>
                <a:cubicBezTo>
                  <a:pt x="245" y="2839"/>
                  <a:pt x="245" y="2839"/>
                  <a:pt x="245" y="2840"/>
                </a:cubicBezTo>
                <a:cubicBezTo>
                  <a:pt x="245" y="2841"/>
                  <a:pt x="244" y="2841"/>
                  <a:pt x="243" y="2842"/>
                </a:cubicBezTo>
                <a:cubicBezTo>
                  <a:pt x="243" y="2843"/>
                  <a:pt x="242" y="2844"/>
                  <a:pt x="241" y="2845"/>
                </a:cubicBezTo>
                <a:cubicBezTo>
                  <a:pt x="239" y="2846"/>
                  <a:pt x="238" y="2847"/>
                  <a:pt x="238" y="2848"/>
                </a:cubicBezTo>
                <a:cubicBezTo>
                  <a:pt x="237" y="2849"/>
                  <a:pt x="236" y="2849"/>
                  <a:pt x="235" y="2849"/>
                </a:cubicBezTo>
                <a:cubicBezTo>
                  <a:pt x="235" y="2850"/>
                  <a:pt x="234" y="2850"/>
                  <a:pt x="234" y="2850"/>
                </a:cubicBezTo>
                <a:cubicBezTo>
                  <a:pt x="233" y="2850"/>
                  <a:pt x="233" y="2849"/>
                  <a:pt x="233" y="2849"/>
                </a:cubicBezTo>
                <a:lnTo>
                  <a:pt x="168" y="2784"/>
                </a:lnTo>
                <a:cubicBezTo>
                  <a:pt x="168" y="2784"/>
                  <a:pt x="167" y="2784"/>
                  <a:pt x="167" y="2783"/>
                </a:cubicBezTo>
                <a:cubicBezTo>
                  <a:pt x="167" y="2783"/>
                  <a:pt x="167" y="2782"/>
                  <a:pt x="167" y="2782"/>
                </a:cubicBezTo>
                <a:cubicBezTo>
                  <a:pt x="168" y="2781"/>
                  <a:pt x="168" y="2780"/>
                  <a:pt x="169" y="2779"/>
                </a:cubicBezTo>
                <a:cubicBezTo>
                  <a:pt x="169" y="2778"/>
                  <a:pt x="170" y="2777"/>
                  <a:pt x="172" y="2776"/>
                </a:cubicBezTo>
                <a:cubicBezTo>
                  <a:pt x="173" y="2775"/>
                  <a:pt x="174" y="2774"/>
                  <a:pt x="175" y="2773"/>
                </a:cubicBezTo>
                <a:cubicBezTo>
                  <a:pt x="176" y="2773"/>
                  <a:pt x="176" y="2772"/>
                  <a:pt x="177" y="2772"/>
                </a:cubicBezTo>
                <a:cubicBezTo>
                  <a:pt x="177" y="2772"/>
                  <a:pt x="178" y="2772"/>
                  <a:pt x="179" y="2772"/>
                </a:cubicBezTo>
                <a:cubicBezTo>
                  <a:pt x="179" y="2772"/>
                  <a:pt x="179" y="2772"/>
                  <a:pt x="180" y="2773"/>
                </a:cubicBezTo>
                <a:lnTo>
                  <a:pt x="244" y="2837"/>
                </a:lnTo>
                <a:close/>
                <a:moveTo>
                  <a:pt x="159" y="2749"/>
                </a:moveTo>
                <a:cubicBezTo>
                  <a:pt x="162" y="2752"/>
                  <a:pt x="163" y="2755"/>
                  <a:pt x="163" y="2757"/>
                </a:cubicBezTo>
                <a:cubicBezTo>
                  <a:pt x="163" y="2759"/>
                  <a:pt x="162" y="2761"/>
                  <a:pt x="159" y="2764"/>
                </a:cubicBezTo>
                <a:cubicBezTo>
                  <a:pt x="156" y="2767"/>
                  <a:pt x="154" y="2768"/>
                  <a:pt x="152" y="2768"/>
                </a:cubicBezTo>
                <a:cubicBezTo>
                  <a:pt x="150" y="2768"/>
                  <a:pt x="147" y="2767"/>
                  <a:pt x="145" y="2764"/>
                </a:cubicBezTo>
                <a:cubicBezTo>
                  <a:pt x="142" y="2761"/>
                  <a:pt x="141" y="2759"/>
                  <a:pt x="141" y="2757"/>
                </a:cubicBezTo>
                <a:cubicBezTo>
                  <a:pt x="141" y="2755"/>
                  <a:pt x="142" y="2752"/>
                  <a:pt x="145" y="2750"/>
                </a:cubicBezTo>
                <a:cubicBezTo>
                  <a:pt x="148" y="2747"/>
                  <a:pt x="150" y="2745"/>
                  <a:pt x="152" y="2745"/>
                </a:cubicBezTo>
                <a:cubicBezTo>
                  <a:pt x="154" y="2745"/>
                  <a:pt x="157" y="2747"/>
                  <a:pt x="159" y="2749"/>
                </a:cubicBezTo>
                <a:close/>
                <a:moveTo>
                  <a:pt x="322" y="2759"/>
                </a:moveTo>
                <a:cubicBezTo>
                  <a:pt x="323" y="2760"/>
                  <a:pt x="323" y="2760"/>
                  <a:pt x="323" y="2761"/>
                </a:cubicBezTo>
                <a:cubicBezTo>
                  <a:pt x="323" y="2761"/>
                  <a:pt x="323" y="2762"/>
                  <a:pt x="323" y="2762"/>
                </a:cubicBezTo>
                <a:cubicBezTo>
                  <a:pt x="322" y="2763"/>
                  <a:pt x="322" y="2764"/>
                  <a:pt x="321" y="2765"/>
                </a:cubicBezTo>
                <a:cubicBezTo>
                  <a:pt x="321" y="2765"/>
                  <a:pt x="320" y="2766"/>
                  <a:pt x="318" y="2768"/>
                </a:cubicBezTo>
                <a:cubicBezTo>
                  <a:pt x="317" y="2769"/>
                  <a:pt x="316" y="2770"/>
                  <a:pt x="315" y="2770"/>
                </a:cubicBezTo>
                <a:cubicBezTo>
                  <a:pt x="315" y="2771"/>
                  <a:pt x="314" y="2771"/>
                  <a:pt x="313" y="2772"/>
                </a:cubicBezTo>
                <a:cubicBezTo>
                  <a:pt x="313" y="2772"/>
                  <a:pt x="312" y="2772"/>
                  <a:pt x="312" y="2772"/>
                </a:cubicBezTo>
                <a:cubicBezTo>
                  <a:pt x="311" y="2772"/>
                  <a:pt x="311" y="2772"/>
                  <a:pt x="310" y="2771"/>
                </a:cubicBezTo>
                <a:lnTo>
                  <a:pt x="272" y="2733"/>
                </a:lnTo>
                <a:cubicBezTo>
                  <a:pt x="269" y="2730"/>
                  <a:pt x="265" y="2727"/>
                  <a:pt x="263" y="2725"/>
                </a:cubicBezTo>
                <a:cubicBezTo>
                  <a:pt x="260" y="2724"/>
                  <a:pt x="257" y="2723"/>
                  <a:pt x="254" y="2722"/>
                </a:cubicBezTo>
                <a:cubicBezTo>
                  <a:pt x="252" y="2722"/>
                  <a:pt x="249" y="2722"/>
                  <a:pt x="246" y="2723"/>
                </a:cubicBezTo>
                <a:cubicBezTo>
                  <a:pt x="244" y="2723"/>
                  <a:pt x="241" y="2725"/>
                  <a:pt x="239" y="2727"/>
                </a:cubicBezTo>
                <a:cubicBezTo>
                  <a:pt x="236" y="2730"/>
                  <a:pt x="234" y="2734"/>
                  <a:pt x="233" y="2739"/>
                </a:cubicBezTo>
                <a:cubicBezTo>
                  <a:pt x="232" y="2745"/>
                  <a:pt x="232" y="2751"/>
                  <a:pt x="233" y="2758"/>
                </a:cubicBezTo>
                <a:lnTo>
                  <a:pt x="278" y="2803"/>
                </a:lnTo>
                <a:cubicBezTo>
                  <a:pt x="279" y="2804"/>
                  <a:pt x="279" y="2804"/>
                  <a:pt x="279" y="2804"/>
                </a:cubicBezTo>
                <a:cubicBezTo>
                  <a:pt x="279" y="2805"/>
                  <a:pt x="279" y="2805"/>
                  <a:pt x="279" y="2806"/>
                </a:cubicBezTo>
                <a:cubicBezTo>
                  <a:pt x="279" y="2807"/>
                  <a:pt x="278" y="2807"/>
                  <a:pt x="277" y="2808"/>
                </a:cubicBezTo>
                <a:cubicBezTo>
                  <a:pt x="277" y="2809"/>
                  <a:pt x="276" y="2810"/>
                  <a:pt x="275" y="2811"/>
                </a:cubicBezTo>
                <a:cubicBezTo>
                  <a:pt x="273" y="2813"/>
                  <a:pt x="272" y="2813"/>
                  <a:pt x="272" y="2814"/>
                </a:cubicBezTo>
                <a:cubicBezTo>
                  <a:pt x="271" y="2815"/>
                  <a:pt x="270" y="2815"/>
                  <a:pt x="269" y="2816"/>
                </a:cubicBezTo>
                <a:cubicBezTo>
                  <a:pt x="269" y="2816"/>
                  <a:pt x="268" y="2816"/>
                  <a:pt x="268" y="2816"/>
                </a:cubicBezTo>
                <a:cubicBezTo>
                  <a:pt x="267" y="2816"/>
                  <a:pt x="267" y="2815"/>
                  <a:pt x="266" y="2815"/>
                </a:cubicBezTo>
                <a:lnTo>
                  <a:pt x="202" y="2750"/>
                </a:lnTo>
                <a:cubicBezTo>
                  <a:pt x="201" y="2750"/>
                  <a:pt x="201" y="2750"/>
                  <a:pt x="201" y="2749"/>
                </a:cubicBezTo>
                <a:cubicBezTo>
                  <a:pt x="201" y="2749"/>
                  <a:pt x="201" y="2748"/>
                  <a:pt x="201" y="2748"/>
                </a:cubicBezTo>
                <a:cubicBezTo>
                  <a:pt x="201" y="2747"/>
                  <a:pt x="202" y="2746"/>
                  <a:pt x="202" y="2746"/>
                </a:cubicBezTo>
                <a:cubicBezTo>
                  <a:pt x="203" y="2745"/>
                  <a:pt x="204" y="2744"/>
                  <a:pt x="205" y="2743"/>
                </a:cubicBezTo>
                <a:cubicBezTo>
                  <a:pt x="206" y="2742"/>
                  <a:pt x="207" y="2741"/>
                  <a:pt x="208" y="2740"/>
                </a:cubicBezTo>
                <a:cubicBezTo>
                  <a:pt x="208" y="2740"/>
                  <a:pt x="209" y="2739"/>
                  <a:pt x="210" y="2739"/>
                </a:cubicBezTo>
                <a:cubicBezTo>
                  <a:pt x="210" y="2739"/>
                  <a:pt x="211" y="2739"/>
                  <a:pt x="211" y="2739"/>
                </a:cubicBezTo>
                <a:cubicBezTo>
                  <a:pt x="212" y="2739"/>
                  <a:pt x="212" y="2739"/>
                  <a:pt x="213" y="2740"/>
                </a:cubicBezTo>
                <a:lnTo>
                  <a:pt x="221" y="2748"/>
                </a:lnTo>
                <a:cubicBezTo>
                  <a:pt x="221" y="2741"/>
                  <a:pt x="221" y="2734"/>
                  <a:pt x="223" y="2728"/>
                </a:cubicBezTo>
                <a:cubicBezTo>
                  <a:pt x="225" y="2723"/>
                  <a:pt x="227" y="2718"/>
                  <a:pt x="231" y="2715"/>
                </a:cubicBezTo>
                <a:cubicBezTo>
                  <a:pt x="235" y="2710"/>
                  <a:pt x="240" y="2707"/>
                  <a:pt x="244" y="2706"/>
                </a:cubicBezTo>
                <a:cubicBezTo>
                  <a:pt x="249" y="2704"/>
                  <a:pt x="253" y="2704"/>
                  <a:pt x="257" y="2705"/>
                </a:cubicBezTo>
                <a:cubicBezTo>
                  <a:pt x="261" y="2705"/>
                  <a:pt x="266" y="2707"/>
                  <a:pt x="270" y="2709"/>
                </a:cubicBezTo>
                <a:cubicBezTo>
                  <a:pt x="274" y="2712"/>
                  <a:pt x="278" y="2715"/>
                  <a:pt x="283" y="2720"/>
                </a:cubicBezTo>
                <a:lnTo>
                  <a:pt x="322" y="2759"/>
                </a:lnTo>
                <a:close/>
                <a:moveTo>
                  <a:pt x="401" y="2681"/>
                </a:moveTo>
                <a:cubicBezTo>
                  <a:pt x="401" y="2681"/>
                  <a:pt x="402" y="2681"/>
                  <a:pt x="402" y="2682"/>
                </a:cubicBezTo>
                <a:cubicBezTo>
                  <a:pt x="402" y="2682"/>
                  <a:pt x="402" y="2683"/>
                  <a:pt x="402" y="2683"/>
                </a:cubicBezTo>
                <a:cubicBezTo>
                  <a:pt x="401" y="2684"/>
                  <a:pt x="401" y="2685"/>
                  <a:pt x="400" y="2685"/>
                </a:cubicBezTo>
                <a:cubicBezTo>
                  <a:pt x="400" y="2686"/>
                  <a:pt x="399" y="2687"/>
                  <a:pt x="398" y="2688"/>
                </a:cubicBezTo>
                <a:cubicBezTo>
                  <a:pt x="397" y="2689"/>
                  <a:pt x="396" y="2690"/>
                  <a:pt x="395" y="2690"/>
                </a:cubicBezTo>
                <a:cubicBezTo>
                  <a:pt x="395" y="2691"/>
                  <a:pt x="394" y="2691"/>
                  <a:pt x="393" y="2692"/>
                </a:cubicBezTo>
                <a:cubicBezTo>
                  <a:pt x="393" y="2692"/>
                  <a:pt x="392" y="2692"/>
                  <a:pt x="392" y="2692"/>
                </a:cubicBezTo>
                <a:cubicBezTo>
                  <a:pt x="391" y="2692"/>
                  <a:pt x="391" y="2691"/>
                  <a:pt x="390" y="2691"/>
                </a:cubicBezTo>
                <a:lnTo>
                  <a:pt x="382" y="2683"/>
                </a:lnTo>
                <a:cubicBezTo>
                  <a:pt x="382" y="2690"/>
                  <a:pt x="382" y="2696"/>
                  <a:pt x="380" y="2702"/>
                </a:cubicBezTo>
                <a:cubicBezTo>
                  <a:pt x="378" y="2707"/>
                  <a:pt x="375" y="2712"/>
                  <a:pt x="371" y="2717"/>
                </a:cubicBezTo>
                <a:cubicBezTo>
                  <a:pt x="366" y="2722"/>
                  <a:pt x="361" y="2725"/>
                  <a:pt x="356" y="2726"/>
                </a:cubicBezTo>
                <a:cubicBezTo>
                  <a:pt x="351" y="2728"/>
                  <a:pt x="346" y="2728"/>
                  <a:pt x="340" y="2727"/>
                </a:cubicBezTo>
                <a:cubicBezTo>
                  <a:pt x="335" y="2726"/>
                  <a:pt x="330" y="2724"/>
                  <a:pt x="325" y="2720"/>
                </a:cubicBezTo>
                <a:cubicBezTo>
                  <a:pt x="320" y="2717"/>
                  <a:pt x="315" y="2713"/>
                  <a:pt x="310" y="2708"/>
                </a:cubicBezTo>
                <a:cubicBezTo>
                  <a:pt x="304" y="2703"/>
                  <a:pt x="300" y="2697"/>
                  <a:pt x="297" y="2692"/>
                </a:cubicBezTo>
                <a:cubicBezTo>
                  <a:pt x="294" y="2686"/>
                  <a:pt x="291" y="2680"/>
                  <a:pt x="291" y="2675"/>
                </a:cubicBezTo>
                <a:cubicBezTo>
                  <a:pt x="290" y="2669"/>
                  <a:pt x="290" y="2664"/>
                  <a:pt x="292" y="2659"/>
                </a:cubicBezTo>
                <a:cubicBezTo>
                  <a:pt x="294" y="2654"/>
                  <a:pt x="297" y="2649"/>
                  <a:pt x="302" y="2644"/>
                </a:cubicBezTo>
                <a:cubicBezTo>
                  <a:pt x="305" y="2640"/>
                  <a:pt x="310" y="2638"/>
                  <a:pt x="314" y="2636"/>
                </a:cubicBezTo>
                <a:cubicBezTo>
                  <a:pt x="319" y="2635"/>
                  <a:pt x="325" y="2634"/>
                  <a:pt x="331" y="2634"/>
                </a:cubicBezTo>
                <a:lnTo>
                  <a:pt x="293" y="2597"/>
                </a:lnTo>
                <a:cubicBezTo>
                  <a:pt x="293" y="2596"/>
                  <a:pt x="293" y="2596"/>
                  <a:pt x="293" y="2596"/>
                </a:cubicBezTo>
                <a:cubicBezTo>
                  <a:pt x="293" y="2595"/>
                  <a:pt x="293" y="2595"/>
                  <a:pt x="293" y="2594"/>
                </a:cubicBezTo>
                <a:cubicBezTo>
                  <a:pt x="293" y="2593"/>
                  <a:pt x="294" y="2592"/>
                  <a:pt x="294" y="2592"/>
                </a:cubicBezTo>
                <a:cubicBezTo>
                  <a:pt x="295" y="2591"/>
                  <a:pt x="296" y="2590"/>
                  <a:pt x="297" y="2589"/>
                </a:cubicBezTo>
                <a:cubicBezTo>
                  <a:pt x="298" y="2587"/>
                  <a:pt x="299" y="2586"/>
                  <a:pt x="300" y="2586"/>
                </a:cubicBezTo>
                <a:cubicBezTo>
                  <a:pt x="301" y="2585"/>
                  <a:pt x="302" y="2585"/>
                  <a:pt x="302" y="2584"/>
                </a:cubicBezTo>
                <a:cubicBezTo>
                  <a:pt x="303" y="2584"/>
                  <a:pt x="304" y="2584"/>
                  <a:pt x="304" y="2584"/>
                </a:cubicBezTo>
                <a:cubicBezTo>
                  <a:pt x="305" y="2584"/>
                  <a:pt x="305" y="2585"/>
                  <a:pt x="305" y="2585"/>
                </a:cubicBezTo>
                <a:lnTo>
                  <a:pt x="401" y="2681"/>
                </a:lnTo>
                <a:close/>
                <a:moveTo>
                  <a:pt x="344" y="2647"/>
                </a:moveTo>
                <a:cubicBezTo>
                  <a:pt x="336" y="2646"/>
                  <a:pt x="330" y="2646"/>
                  <a:pt x="325" y="2647"/>
                </a:cubicBezTo>
                <a:cubicBezTo>
                  <a:pt x="320" y="2648"/>
                  <a:pt x="316" y="2650"/>
                  <a:pt x="313" y="2653"/>
                </a:cubicBezTo>
                <a:cubicBezTo>
                  <a:pt x="310" y="2656"/>
                  <a:pt x="308" y="2660"/>
                  <a:pt x="307" y="2663"/>
                </a:cubicBezTo>
                <a:cubicBezTo>
                  <a:pt x="307" y="2667"/>
                  <a:pt x="307" y="2670"/>
                  <a:pt x="308" y="2674"/>
                </a:cubicBezTo>
                <a:cubicBezTo>
                  <a:pt x="309" y="2678"/>
                  <a:pt x="311" y="2681"/>
                  <a:pt x="313" y="2685"/>
                </a:cubicBezTo>
                <a:cubicBezTo>
                  <a:pt x="315" y="2688"/>
                  <a:pt x="318" y="2692"/>
                  <a:pt x="321" y="2695"/>
                </a:cubicBezTo>
                <a:cubicBezTo>
                  <a:pt x="324" y="2698"/>
                  <a:pt x="328" y="2701"/>
                  <a:pt x="331" y="2704"/>
                </a:cubicBezTo>
                <a:cubicBezTo>
                  <a:pt x="335" y="2706"/>
                  <a:pt x="339" y="2708"/>
                  <a:pt x="342" y="2709"/>
                </a:cubicBezTo>
                <a:cubicBezTo>
                  <a:pt x="346" y="2711"/>
                  <a:pt x="350" y="2711"/>
                  <a:pt x="353" y="2710"/>
                </a:cubicBezTo>
                <a:cubicBezTo>
                  <a:pt x="357" y="2710"/>
                  <a:pt x="360" y="2708"/>
                  <a:pt x="363" y="2705"/>
                </a:cubicBezTo>
                <a:cubicBezTo>
                  <a:pt x="365" y="2703"/>
                  <a:pt x="366" y="2701"/>
                  <a:pt x="367" y="2699"/>
                </a:cubicBezTo>
                <a:cubicBezTo>
                  <a:pt x="368" y="2698"/>
                  <a:pt x="369" y="2695"/>
                  <a:pt x="369" y="2693"/>
                </a:cubicBezTo>
                <a:cubicBezTo>
                  <a:pt x="370" y="2690"/>
                  <a:pt x="370" y="2687"/>
                  <a:pt x="370" y="2684"/>
                </a:cubicBezTo>
                <a:cubicBezTo>
                  <a:pt x="370" y="2681"/>
                  <a:pt x="370" y="2677"/>
                  <a:pt x="370" y="2673"/>
                </a:cubicBezTo>
                <a:lnTo>
                  <a:pt x="344" y="2647"/>
                </a:lnTo>
                <a:close/>
                <a:moveTo>
                  <a:pt x="440" y="2484"/>
                </a:moveTo>
                <a:cubicBezTo>
                  <a:pt x="441" y="2485"/>
                  <a:pt x="442" y="2486"/>
                  <a:pt x="442" y="2487"/>
                </a:cubicBezTo>
                <a:cubicBezTo>
                  <a:pt x="443" y="2488"/>
                  <a:pt x="443" y="2488"/>
                  <a:pt x="444" y="2489"/>
                </a:cubicBezTo>
                <a:cubicBezTo>
                  <a:pt x="444" y="2490"/>
                  <a:pt x="444" y="2490"/>
                  <a:pt x="444" y="2491"/>
                </a:cubicBezTo>
                <a:cubicBezTo>
                  <a:pt x="444" y="2491"/>
                  <a:pt x="444" y="2492"/>
                  <a:pt x="443" y="2492"/>
                </a:cubicBezTo>
                <a:cubicBezTo>
                  <a:pt x="443" y="2493"/>
                  <a:pt x="441" y="2493"/>
                  <a:pt x="439" y="2494"/>
                </a:cubicBezTo>
                <a:cubicBezTo>
                  <a:pt x="437" y="2494"/>
                  <a:pt x="434" y="2495"/>
                  <a:pt x="431" y="2496"/>
                </a:cubicBezTo>
                <a:cubicBezTo>
                  <a:pt x="427" y="2497"/>
                  <a:pt x="424" y="2499"/>
                  <a:pt x="420" y="2501"/>
                </a:cubicBezTo>
                <a:cubicBezTo>
                  <a:pt x="416" y="2503"/>
                  <a:pt x="411" y="2506"/>
                  <a:pt x="407" y="2511"/>
                </a:cubicBezTo>
                <a:cubicBezTo>
                  <a:pt x="402" y="2516"/>
                  <a:pt x="398" y="2521"/>
                  <a:pt x="396" y="2527"/>
                </a:cubicBezTo>
                <a:cubicBezTo>
                  <a:pt x="394" y="2533"/>
                  <a:pt x="393" y="2539"/>
                  <a:pt x="393" y="2545"/>
                </a:cubicBezTo>
                <a:cubicBezTo>
                  <a:pt x="394" y="2552"/>
                  <a:pt x="396" y="2558"/>
                  <a:pt x="399" y="2564"/>
                </a:cubicBezTo>
                <a:cubicBezTo>
                  <a:pt x="402" y="2570"/>
                  <a:pt x="406" y="2575"/>
                  <a:pt x="411" y="2581"/>
                </a:cubicBezTo>
                <a:cubicBezTo>
                  <a:pt x="417" y="2587"/>
                  <a:pt x="423" y="2591"/>
                  <a:pt x="430" y="2594"/>
                </a:cubicBezTo>
                <a:cubicBezTo>
                  <a:pt x="436" y="2597"/>
                  <a:pt x="442" y="2599"/>
                  <a:pt x="448" y="2599"/>
                </a:cubicBezTo>
                <a:cubicBezTo>
                  <a:pt x="454" y="2599"/>
                  <a:pt x="460" y="2598"/>
                  <a:pt x="466" y="2596"/>
                </a:cubicBezTo>
                <a:cubicBezTo>
                  <a:pt x="471" y="2593"/>
                  <a:pt x="477" y="2590"/>
                  <a:pt x="481" y="2585"/>
                </a:cubicBezTo>
                <a:cubicBezTo>
                  <a:pt x="484" y="2582"/>
                  <a:pt x="487" y="2579"/>
                  <a:pt x="489" y="2575"/>
                </a:cubicBezTo>
                <a:cubicBezTo>
                  <a:pt x="491" y="2571"/>
                  <a:pt x="493" y="2568"/>
                  <a:pt x="494" y="2564"/>
                </a:cubicBezTo>
                <a:lnTo>
                  <a:pt x="467" y="2537"/>
                </a:lnTo>
                <a:lnTo>
                  <a:pt x="446" y="2558"/>
                </a:lnTo>
                <a:cubicBezTo>
                  <a:pt x="445" y="2559"/>
                  <a:pt x="444" y="2559"/>
                  <a:pt x="443" y="2559"/>
                </a:cubicBezTo>
                <a:cubicBezTo>
                  <a:pt x="441" y="2558"/>
                  <a:pt x="440" y="2557"/>
                  <a:pt x="438" y="2555"/>
                </a:cubicBezTo>
                <a:cubicBezTo>
                  <a:pt x="437" y="2555"/>
                  <a:pt x="437" y="2554"/>
                  <a:pt x="436" y="2553"/>
                </a:cubicBezTo>
                <a:cubicBezTo>
                  <a:pt x="435" y="2552"/>
                  <a:pt x="435" y="2552"/>
                  <a:pt x="435" y="2551"/>
                </a:cubicBezTo>
                <a:cubicBezTo>
                  <a:pt x="435" y="2550"/>
                  <a:pt x="435" y="2550"/>
                  <a:pt x="435" y="2549"/>
                </a:cubicBezTo>
                <a:cubicBezTo>
                  <a:pt x="435" y="2549"/>
                  <a:pt x="435" y="2548"/>
                  <a:pt x="435" y="2548"/>
                </a:cubicBezTo>
                <a:lnTo>
                  <a:pt x="465" y="2518"/>
                </a:lnTo>
                <a:cubicBezTo>
                  <a:pt x="466" y="2518"/>
                  <a:pt x="466" y="2517"/>
                  <a:pt x="467" y="2517"/>
                </a:cubicBezTo>
                <a:cubicBezTo>
                  <a:pt x="468" y="2517"/>
                  <a:pt x="468" y="2517"/>
                  <a:pt x="469" y="2517"/>
                </a:cubicBezTo>
                <a:cubicBezTo>
                  <a:pt x="470" y="2517"/>
                  <a:pt x="471" y="2517"/>
                  <a:pt x="472" y="2517"/>
                </a:cubicBezTo>
                <a:cubicBezTo>
                  <a:pt x="473" y="2518"/>
                  <a:pt x="474" y="2518"/>
                  <a:pt x="474" y="2519"/>
                </a:cubicBezTo>
                <a:lnTo>
                  <a:pt x="510" y="2554"/>
                </a:lnTo>
                <a:cubicBezTo>
                  <a:pt x="511" y="2556"/>
                  <a:pt x="512" y="2557"/>
                  <a:pt x="512" y="2558"/>
                </a:cubicBezTo>
                <a:cubicBezTo>
                  <a:pt x="513" y="2560"/>
                  <a:pt x="513" y="2561"/>
                  <a:pt x="512" y="2563"/>
                </a:cubicBezTo>
                <a:cubicBezTo>
                  <a:pt x="511" y="2566"/>
                  <a:pt x="510" y="2568"/>
                  <a:pt x="509" y="2571"/>
                </a:cubicBezTo>
                <a:cubicBezTo>
                  <a:pt x="508" y="2574"/>
                  <a:pt x="506" y="2577"/>
                  <a:pt x="504" y="2580"/>
                </a:cubicBezTo>
                <a:cubicBezTo>
                  <a:pt x="502" y="2583"/>
                  <a:pt x="501" y="2586"/>
                  <a:pt x="498" y="2588"/>
                </a:cubicBezTo>
                <a:cubicBezTo>
                  <a:pt x="496" y="2591"/>
                  <a:pt x="494" y="2594"/>
                  <a:pt x="492" y="2596"/>
                </a:cubicBezTo>
                <a:cubicBezTo>
                  <a:pt x="485" y="2603"/>
                  <a:pt x="477" y="2608"/>
                  <a:pt x="469" y="2612"/>
                </a:cubicBezTo>
                <a:cubicBezTo>
                  <a:pt x="461" y="2615"/>
                  <a:pt x="453" y="2617"/>
                  <a:pt x="445" y="2617"/>
                </a:cubicBezTo>
                <a:cubicBezTo>
                  <a:pt x="437" y="2616"/>
                  <a:pt x="429" y="2615"/>
                  <a:pt x="422" y="2611"/>
                </a:cubicBezTo>
                <a:cubicBezTo>
                  <a:pt x="414" y="2607"/>
                  <a:pt x="406" y="2602"/>
                  <a:pt x="399" y="2595"/>
                </a:cubicBezTo>
                <a:cubicBezTo>
                  <a:pt x="392" y="2587"/>
                  <a:pt x="386" y="2580"/>
                  <a:pt x="383" y="2571"/>
                </a:cubicBezTo>
                <a:cubicBezTo>
                  <a:pt x="379" y="2563"/>
                  <a:pt x="377" y="2555"/>
                  <a:pt x="377" y="2547"/>
                </a:cubicBezTo>
                <a:cubicBezTo>
                  <a:pt x="376" y="2538"/>
                  <a:pt x="378" y="2530"/>
                  <a:pt x="381" y="2522"/>
                </a:cubicBezTo>
                <a:cubicBezTo>
                  <a:pt x="385" y="2514"/>
                  <a:pt x="390" y="2507"/>
                  <a:pt x="397" y="2500"/>
                </a:cubicBezTo>
                <a:cubicBezTo>
                  <a:pt x="400" y="2496"/>
                  <a:pt x="404" y="2493"/>
                  <a:pt x="408" y="2491"/>
                </a:cubicBezTo>
                <a:cubicBezTo>
                  <a:pt x="411" y="2488"/>
                  <a:pt x="415" y="2486"/>
                  <a:pt x="418" y="2485"/>
                </a:cubicBezTo>
                <a:cubicBezTo>
                  <a:pt x="421" y="2483"/>
                  <a:pt x="424" y="2482"/>
                  <a:pt x="427" y="2481"/>
                </a:cubicBezTo>
                <a:cubicBezTo>
                  <a:pt x="430" y="2481"/>
                  <a:pt x="432" y="2480"/>
                  <a:pt x="433" y="2480"/>
                </a:cubicBezTo>
                <a:cubicBezTo>
                  <a:pt x="434" y="2480"/>
                  <a:pt x="435" y="2481"/>
                  <a:pt x="436" y="2481"/>
                </a:cubicBezTo>
                <a:cubicBezTo>
                  <a:pt x="437" y="2482"/>
                  <a:pt x="439" y="2483"/>
                  <a:pt x="440" y="2484"/>
                </a:cubicBezTo>
                <a:close/>
                <a:moveTo>
                  <a:pt x="558" y="2453"/>
                </a:moveTo>
                <a:cubicBezTo>
                  <a:pt x="560" y="2455"/>
                  <a:pt x="561" y="2457"/>
                  <a:pt x="561" y="2459"/>
                </a:cubicBezTo>
                <a:cubicBezTo>
                  <a:pt x="560" y="2460"/>
                  <a:pt x="560" y="2462"/>
                  <a:pt x="559" y="2463"/>
                </a:cubicBezTo>
                <a:lnTo>
                  <a:pt x="516" y="2506"/>
                </a:lnTo>
                <a:cubicBezTo>
                  <a:pt x="520" y="2509"/>
                  <a:pt x="523" y="2512"/>
                  <a:pt x="527" y="2514"/>
                </a:cubicBezTo>
                <a:cubicBezTo>
                  <a:pt x="530" y="2516"/>
                  <a:pt x="534" y="2518"/>
                  <a:pt x="538" y="2518"/>
                </a:cubicBezTo>
                <a:cubicBezTo>
                  <a:pt x="542" y="2518"/>
                  <a:pt x="545" y="2518"/>
                  <a:pt x="549" y="2516"/>
                </a:cubicBezTo>
                <a:cubicBezTo>
                  <a:pt x="553" y="2515"/>
                  <a:pt x="557" y="2512"/>
                  <a:pt x="561" y="2508"/>
                </a:cubicBezTo>
                <a:cubicBezTo>
                  <a:pt x="564" y="2505"/>
                  <a:pt x="566" y="2502"/>
                  <a:pt x="568" y="2499"/>
                </a:cubicBezTo>
                <a:cubicBezTo>
                  <a:pt x="570" y="2496"/>
                  <a:pt x="572" y="2493"/>
                  <a:pt x="573" y="2491"/>
                </a:cubicBezTo>
                <a:cubicBezTo>
                  <a:pt x="574" y="2489"/>
                  <a:pt x="575" y="2487"/>
                  <a:pt x="575" y="2485"/>
                </a:cubicBezTo>
                <a:cubicBezTo>
                  <a:pt x="576" y="2483"/>
                  <a:pt x="577" y="2482"/>
                  <a:pt x="577" y="2482"/>
                </a:cubicBezTo>
                <a:cubicBezTo>
                  <a:pt x="577" y="2481"/>
                  <a:pt x="578" y="2481"/>
                  <a:pt x="578" y="2481"/>
                </a:cubicBezTo>
                <a:cubicBezTo>
                  <a:pt x="579" y="2481"/>
                  <a:pt x="579" y="2481"/>
                  <a:pt x="580" y="2481"/>
                </a:cubicBezTo>
                <a:cubicBezTo>
                  <a:pt x="580" y="2481"/>
                  <a:pt x="581" y="2482"/>
                  <a:pt x="581" y="2482"/>
                </a:cubicBezTo>
                <a:cubicBezTo>
                  <a:pt x="582" y="2483"/>
                  <a:pt x="583" y="2484"/>
                  <a:pt x="584" y="2484"/>
                </a:cubicBezTo>
                <a:cubicBezTo>
                  <a:pt x="584" y="2485"/>
                  <a:pt x="585" y="2486"/>
                  <a:pt x="585" y="2486"/>
                </a:cubicBezTo>
                <a:cubicBezTo>
                  <a:pt x="586" y="2487"/>
                  <a:pt x="586" y="2487"/>
                  <a:pt x="586" y="2487"/>
                </a:cubicBezTo>
                <a:cubicBezTo>
                  <a:pt x="587" y="2488"/>
                  <a:pt x="587" y="2488"/>
                  <a:pt x="587" y="2489"/>
                </a:cubicBezTo>
                <a:cubicBezTo>
                  <a:pt x="587" y="2489"/>
                  <a:pt x="587" y="2490"/>
                  <a:pt x="587" y="2490"/>
                </a:cubicBezTo>
                <a:cubicBezTo>
                  <a:pt x="587" y="2491"/>
                  <a:pt x="587" y="2492"/>
                  <a:pt x="586" y="2494"/>
                </a:cubicBezTo>
                <a:cubicBezTo>
                  <a:pt x="585" y="2496"/>
                  <a:pt x="584" y="2498"/>
                  <a:pt x="583" y="2501"/>
                </a:cubicBezTo>
                <a:cubicBezTo>
                  <a:pt x="581" y="2503"/>
                  <a:pt x="579" y="2506"/>
                  <a:pt x="577" y="2509"/>
                </a:cubicBezTo>
                <a:cubicBezTo>
                  <a:pt x="575" y="2513"/>
                  <a:pt x="572" y="2516"/>
                  <a:pt x="569" y="2519"/>
                </a:cubicBezTo>
                <a:cubicBezTo>
                  <a:pt x="564" y="2524"/>
                  <a:pt x="558" y="2528"/>
                  <a:pt x="553" y="2530"/>
                </a:cubicBezTo>
                <a:cubicBezTo>
                  <a:pt x="547" y="2533"/>
                  <a:pt x="542" y="2534"/>
                  <a:pt x="536" y="2534"/>
                </a:cubicBezTo>
                <a:cubicBezTo>
                  <a:pt x="531" y="2534"/>
                  <a:pt x="525" y="2532"/>
                  <a:pt x="519" y="2529"/>
                </a:cubicBezTo>
                <a:cubicBezTo>
                  <a:pt x="513" y="2526"/>
                  <a:pt x="508" y="2522"/>
                  <a:pt x="502" y="2516"/>
                </a:cubicBezTo>
                <a:cubicBezTo>
                  <a:pt x="496" y="2510"/>
                  <a:pt x="492" y="2505"/>
                  <a:pt x="489" y="2499"/>
                </a:cubicBezTo>
                <a:cubicBezTo>
                  <a:pt x="486" y="2493"/>
                  <a:pt x="484" y="2487"/>
                  <a:pt x="484" y="2481"/>
                </a:cubicBezTo>
                <a:cubicBezTo>
                  <a:pt x="483" y="2475"/>
                  <a:pt x="484" y="2470"/>
                  <a:pt x="486" y="2464"/>
                </a:cubicBezTo>
                <a:cubicBezTo>
                  <a:pt x="489" y="2459"/>
                  <a:pt x="492" y="2454"/>
                  <a:pt x="497" y="2449"/>
                </a:cubicBezTo>
                <a:cubicBezTo>
                  <a:pt x="502" y="2444"/>
                  <a:pt x="507" y="2440"/>
                  <a:pt x="512" y="2438"/>
                </a:cubicBezTo>
                <a:cubicBezTo>
                  <a:pt x="517" y="2436"/>
                  <a:pt x="523" y="2436"/>
                  <a:pt x="528" y="2436"/>
                </a:cubicBezTo>
                <a:cubicBezTo>
                  <a:pt x="533" y="2437"/>
                  <a:pt x="538" y="2438"/>
                  <a:pt x="542" y="2441"/>
                </a:cubicBezTo>
                <a:cubicBezTo>
                  <a:pt x="547" y="2443"/>
                  <a:pt x="552" y="2447"/>
                  <a:pt x="556" y="2451"/>
                </a:cubicBezTo>
                <a:lnTo>
                  <a:pt x="558" y="2453"/>
                </a:lnTo>
                <a:close/>
                <a:moveTo>
                  <a:pt x="543" y="2462"/>
                </a:moveTo>
                <a:cubicBezTo>
                  <a:pt x="537" y="2455"/>
                  <a:pt x="530" y="2452"/>
                  <a:pt x="524" y="2451"/>
                </a:cubicBezTo>
                <a:cubicBezTo>
                  <a:pt x="517" y="2451"/>
                  <a:pt x="511" y="2453"/>
                  <a:pt x="506" y="2459"/>
                </a:cubicBezTo>
                <a:cubicBezTo>
                  <a:pt x="503" y="2462"/>
                  <a:pt x="501" y="2465"/>
                  <a:pt x="499" y="2468"/>
                </a:cubicBezTo>
                <a:cubicBezTo>
                  <a:pt x="498" y="2472"/>
                  <a:pt x="498" y="2475"/>
                  <a:pt x="498" y="2478"/>
                </a:cubicBezTo>
                <a:cubicBezTo>
                  <a:pt x="499" y="2481"/>
                  <a:pt x="500" y="2485"/>
                  <a:pt x="501" y="2488"/>
                </a:cubicBezTo>
                <a:cubicBezTo>
                  <a:pt x="503" y="2491"/>
                  <a:pt x="505" y="2494"/>
                  <a:pt x="507" y="2497"/>
                </a:cubicBezTo>
                <a:lnTo>
                  <a:pt x="543" y="2462"/>
                </a:lnTo>
                <a:close/>
                <a:moveTo>
                  <a:pt x="673" y="2409"/>
                </a:moveTo>
                <a:cubicBezTo>
                  <a:pt x="673" y="2409"/>
                  <a:pt x="673" y="2409"/>
                  <a:pt x="674" y="2410"/>
                </a:cubicBezTo>
                <a:cubicBezTo>
                  <a:pt x="674" y="2410"/>
                  <a:pt x="674" y="2411"/>
                  <a:pt x="673" y="2412"/>
                </a:cubicBezTo>
                <a:cubicBezTo>
                  <a:pt x="673" y="2412"/>
                  <a:pt x="673" y="2413"/>
                  <a:pt x="672" y="2414"/>
                </a:cubicBezTo>
                <a:cubicBezTo>
                  <a:pt x="671" y="2415"/>
                  <a:pt x="670" y="2416"/>
                  <a:pt x="669" y="2417"/>
                </a:cubicBezTo>
                <a:cubicBezTo>
                  <a:pt x="668" y="2418"/>
                  <a:pt x="667" y="2419"/>
                  <a:pt x="666" y="2420"/>
                </a:cubicBezTo>
                <a:cubicBezTo>
                  <a:pt x="665" y="2420"/>
                  <a:pt x="664" y="2421"/>
                  <a:pt x="664" y="2421"/>
                </a:cubicBezTo>
                <a:cubicBezTo>
                  <a:pt x="663" y="2421"/>
                  <a:pt x="663" y="2421"/>
                  <a:pt x="662" y="2421"/>
                </a:cubicBezTo>
                <a:cubicBezTo>
                  <a:pt x="662" y="2421"/>
                  <a:pt x="661" y="2421"/>
                  <a:pt x="661" y="2421"/>
                </a:cubicBezTo>
                <a:lnTo>
                  <a:pt x="623" y="2383"/>
                </a:lnTo>
                <a:cubicBezTo>
                  <a:pt x="619" y="2379"/>
                  <a:pt x="616" y="2376"/>
                  <a:pt x="613" y="2375"/>
                </a:cubicBezTo>
                <a:cubicBezTo>
                  <a:pt x="611" y="2373"/>
                  <a:pt x="608" y="2372"/>
                  <a:pt x="605" y="2371"/>
                </a:cubicBezTo>
                <a:cubicBezTo>
                  <a:pt x="602" y="2371"/>
                  <a:pt x="600" y="2371"/>
                  <a:pt x="597" y="2372"/>
                </a:cubicBezTo>
                <a:cubicBezTo>
                  <a:pt x="594" y="2373"/>
                  <a:pt x="592" y="2374"/>
                  <a:pt x="590" y="2377"/>
                </a:cubicBezTo>
                <a:cubicBezTo>
                  <a:pt x="587" y="2380"/>
                  <a:pt x="585" y="2384"/>
                  <a:pt x="584" y="2389"/>
                </a:cubicBezTo>
                <a:cubicBezTo>
                  <a:pt x="583" y="2394"/>
                  <a:pt x="583" y="2400"/>
                  <a:pt x="584" y="2407"/>
                </a:cubicBezTo>
                <a:lnTo>
                  <a:pt x="629" y="2452"/>
                </a:lnTo>
                <a:cubicBezTo>
                  <a:pt x="629" y="2453"/>
                  <a:pt x="630" y="2453"/>
                  <a:pt x="630" y="2454"/>
                </a:cubicBezTo>
                <a:cubicBezTo>
                  <a:pt x="630" y="2454"/>
                  <a:pt x="630" y="2455"/>
                  <a:pt x="629" y="2455"/>
                </a:cubicBezTo>
                <a:cubicBezTo>
                  <a:pt x="629" y="2456"/>
                  <a:pt x="629" y="2457"/>
                  <a:pt x="628" y="2458"/>
                </a:cubicBezTo>
                <a:cubicBezTo>
                  <a:pt x="627" y="2458"/>
                  <a:pt x="627" y="2459"/>
                  <a:pt x="625" y="2461"/>
                </a:cubicBezTo>
                <a:cubicBezTo>
                  <a:pt x="624" y="2462"/>
                  <a:pt x="623" y="2463"/>
                  <a:pt x="622" y="2463"/>
                </a:cubicBezTo>
                <a:cubicBezTo>
                  <a:pt x="621" y="2464"/>
                  <a:pt x="621" y="2465"/>
                  <a:pt x="620" y="2465"/>
                </a:cubicBezTo>
                <a:cubicBezTo>
                  <a:pt x="619" y="2465"/>
                  <a:pt x="619" y="2465"/>
                  <a:pt x="618" y="2465"/>
                </a:cubicBezTo>
                <a:cubicBezTo>
                  <a:pt x="618" y="2465"/>
                  <a:pt x="618" y="2465"/>
                  <a:pt x="617" y="2464"/>
                </a:cubicBezTo>
                <a:lnTo>
                  <a:pt x="553" y="2400"/>
                </a:lnTo>
                <a:cubicBezTo>
                  <a:pt x="552" y="2399"/>
                  <a:pt x="552" y="2399"/>
                  <a:pt x="552" y="2399"/>
                </a:cubicBezTo>
                <a:cubicBezTo>
                  <a:pt x="552" y="2398"/>
                  <a:pt x="552" y="2398"/>
                  <a:pt x="552" y="2397"/>
                </a:cubicBezTo>
                <a:cubicBezTo>
                  <a:pt x="552" y="2396"/>
                  <a:pt x="553" y="2396"/>
                  <a:pt x="553" y="2395"/>
                </a:cubicBezTo>
                <a:cubicBezTo>
                  <a:pt x="554" y="2394"/>
                  <a:pt x="555" y="2393"/>
                  <a:pt x="556" y="2392"/>
                </a:cubicBezTo>
                <a:cubicBezTo>
                  <a:pt x="557" y="2391"/>
                  <a:pt x="558" y="2390"/>
                  <a:pt x="558" y="2390"/>
                </a:cubicBezTo>
                <a:cubicBezTo>
                  <a:pt x="559" y="2389"/>
                  <a:pt x="560" y="2389"/>
                  <a:pt x="560" y="2388"/>
                </a:cubicBezTo>
                <a:cubicBezTo>
                  <a:pt x="561" y="2388"/>
                  <a:pt x="562" y="2388"/>
                  <a:pt x="562" y="2388"/>
                </a:cubicBezTo>
                <a:cubicBezTo>
                  <a:pt x="562" y="2388"/>
                  <a:pt x="563" y="2389"/>
                  <a:pt x="563" y="2389"/>
                </a:cubicBezTo>
                <a:lnTo>
                  <a:pt x="572" y="2398"/>
                </a:lnTo>
                <a:cubicBezTo>
                  <a:pt x="571" y="2390"/>
                  <a:pt x="572" y="2383"/>
                  <a:pt x="574" y="2378"/>
                </a:cubicBezTo>
                <a:cubicBezTo>
                  <a:pt x="575" y="2372"/>
                  <a:pt x="578" y="2368"/>
                  <a:pt x="582" y="2364"/>
                </a:cubicBezTo>
                <a:cubicBezTo>
                  <a:pt x="586" y="2360"/>
                  <a:pt x="591" y="2357"/>
                  <a:pt x="595" y="2355"/>
                </a:cubicBezTo>
                <a:cubicBezTo>
                  <a:pt x="599" y="2354"/>
                  <a:pt x="604" y="2353"/>
                  <a:pt x="608" y="2354"/>
                </a:cubicBezTo>
                <a:cubicBezTo>
                  <a:pt x="612" y="2355"/>
                  <a:pt x="616" y="2356"/>
                  <a:pt x="620" y="2359"/>
                </a:cubicBezTo>
                <a:cubicBezTo>
                  <a:pt x="624" y="2361"/>
                  <a:pt x="629" y="2365"/>
                  <a:pt x="633" y="2369"/>
                </a:cubicBezTo>
                <a:lnTo>
                  <a:pt x="673" y="2409"/>
                </a:lnTo>
                <a:close/>
                <a:moveTo>
                  <a:pt x="716" y="2295"/>
                </a:moveTo>
                <a:cubicBezTo>
                  <a:pt x="718" y="2297"/>
                  <a:pt x="719" y="2299"/>
                  <a:pt x="719" y="2300"/>
                </a:cubicBezTo>
                <a:cubicBezTo>
                  <a:pt x="719" y="2302"/>
                  <a:pt x="718" y="2303"/>
                  <a:pt x="717" y="2305"/>
                </a:cubicBezTo>
                <a:lnTo>
                  <a:pt x="674" y="2347"/>
                </a:lnTo>
                <a:cubicBezTo>
                  <a:pt x="678" y="2351"/>
                  <a:pt x="682" y="2354"/>
                  <a:pt x="685" y="2356"/>
                </a:cubicBezTo>
                <a:cubicBezTo>
                  <a:pt x="689" y="2358"/>
                  <a:pt x="692" y="2359"/>
                  <a:pt x="696" y="2360"/>
                </a:cubicBezTo>
                <a:cubicBezTo>
                  <a:pt x="700" y="2360"/>
                  <a:pt x="704" y="2359"/>
                  <a:pt x="708" y="2358"/>
                </a:cubicBezTo>
                <a:cubicBezTo>
                  <a:pt x="711" y="2356"/>
                  <a:pt x="715" y="2353"/>
                  <a:pt x="719" y="2350"/>
                </a:cubicBezTo>
                <a:cubicBezTo>
                  <a:pt x="722" y="2346"/>
                  <a:pt x="725" y="2343"/>
                  <a:pt x="727" y="2341"/>
                </a:cubicBezTo>
                <a:cubicBezTo>
                  <a:pt x="728" y="2338"/>
                  <a:pt x="730" y="2335"/>
                  <a:pt x="731" y="2333"/>
                </a:cubicBezTo>
                <a:cubicBezTo>
                  <a:pt x="732" y="2330"/>
                  <a:pt x="733" y="2328"/>
                  <a:pt x="734" y="2327"/>
                </a:cubicBezTo>
                <a:cubicBezTo>
                  <a:pt x="734" y="2325"/>
                  <a:pt x="735" y="2324"/>
                  <a:pt x="736" y="2323"/>
                </a:cubicBezTo>
                <a:cubicBezTo>
                  <a:pt x="736" y="2323"/>
                  <a:pt x="736" y="2323"/>
                  <a:pt x="737" y="2323"/>
                </a:cubicBezTo>
                <a:cubicBezTo>
                  <a:pt x="737" y="2323"/>
                  <a:pt x="738" y="2323"/>
                  <a:pt x="738" y="2323"/>
                </a:cubicBezTo>
                <a:cubicBezTo>
                  <a:pt x="739" y="2323"/>
                  <a:pt x="739" y="2323"/>
                  <a:pt x="740" y="2324"/>
                </a:cubicBezTo>
                <a:cubicBezTo>
                  <a:pt x="740" y="2324"/>
                  <a:pt x="741" y="2325"/>
                  <a:pt x="742" y="2326"/>
                </a:cubicBezTo>
                <a:cubicBezTo>
                  <a:pt x="743" y="2327"/>
                  <a:pt x="743" y="2327"/>
                  <a:pt x="744" y="2328"/>
                </a:cubicBezTo>
                <a:cubicBezTo>
                  <a:pt x="744" y="2328"/>
                  <a:pt x="744" y="2329"/>
                  <a:pt x="745" y="2329"/>
                </a:cubicBezTo>
                <a:cubicBezTo>
                  <a:pt x="745" y="2329"/>
                  <a:pt x="745" y="2330"/>
                  <a:pt x="745" y="2330"/>
                </a:cubicBezTo>
                <a:cubicBezTo>
                  <a:pt x="745" y="2331"/>
                  <a:pt x="745" y="2331"/>
                  <a:pt x="745" y="2332"/>
                </a:cubicBezTo>
                <a:cubicBezTo>
                  <a:pt x="745" y="2332"/>
                  <a:pt x="745" y="2334"/>
                  <a:pt x="744" y="2335"/>
                </a:cubicBezTo>
                <a:cubicBezTo>
                  <a:pt x="744" y="2337"/>
                  <a:pt x="743" y="2340"/>
                  <a:pt x="741" y="2342"/>
                </a:cubicBezTo>
                <a:cubicBezTo>
                  <a:pt x="740" y="2345"/>
                  <a:pt x="738" y="2348"/>
                  <a:pt x="736" y="2351"/>
                </a:cubicBezTo>
                <a:cubicBezTo>
                  <a:pt x="733" y="2354"/>
                  <a:pt x="731" y="2357"/>
                  <a:pt x="728" y="2360"/>
                </a:cubicBezTo>
                <a:cubicBezTo>
                  <a:pt x="722" y="2366"/>
                  <a:pt x="717" y="2370"/>
                  <a:pt x="711" y="2372"/>
                </a:cubicBezTo>
                <a:cubicBezTo>
                  <a:pt x="706" y="2375"/>
                  <a:pt x="700" y="2376"/>
                  <a:pt x="695" y="2376"/>
                </a:cubicBezTo>
                <a:cubicBezTo>
                  <a:pt x="689" y="2375"/>
                  <a:pt x="683" y="2374"/>
                  <a:pt x="678" y="2371"/>
                </a:cubicBezTo>
                <a:cubicBezTo>
                  <a:pt x="672" y="2368"/>
                  <a:pt x="666" y="2363"/>
                  <a:pt x="660" y="2357"/>
                </a:cubicBezTo>
                <a:cubicBezTo>
                  <a:pt x="654" y="2352"/>
                  <a:pt x="650" y="2346"/>
                  <a:pt x="647" y="2340"/>
                </a:cubicBezTo>
                <a:cubicBezTo>
                  <a:pt x="644" y="2334"/>
                  <a:pt x="643" y="2329"/>
                  <a:pt x="642" y="2323"/>
                </a:cubicBezTo>
                <a:cubicBezTo>
                  <a:pt x="642" y="2317"/>
                  <a:pt x="643" y="2311"/>
                  <a:pt x="645" y="2306"/>
                </a:cubicBezTo>
                <a:cubicBezTo>
                  <a:pt x="647" y="2300"/>
                  <a:pt x="651" y="2295"/>
                  <a:pt x="655" y="2291"/>
                </a:cubicBezTo>
                <a:cubicBezTo>
                  <a:pt x="660" y="2285"/>
                  <a:pt x="665" y="2282"/>
                  <a:pt x="671" y="2280"/>
                </a:cubicBezTo>
                <a:cubicBezTo>
                  <a:pt x="676" y="2278"/>
                  <a:pt x="681" y="2277"/>
                  <a:pt x="686" y="2278"/>
                </a:cubicBezTo>
                <a:cubicBezTo>
                  <a:pt x="691" y="2278"/>
                  <a:pt x="696" y="2280"/>
                  <a:pt x="701" y="2282"/>
                </a:cubicBezTo>
                <a:cubicBezTo>
                  <a:pt x="706" y="2285"/>
                  <a:pt x="710" y="2289"/>
                  <a:pt x="714" y="2293"/>
                </a:cubicBezTo>
                <a:lnTo>
                  <a:pt x="716" y="2295"/>
                </a:lnTo>
                <a:close/>
                <a:moveTo>
                  <a:pt x="701" y="2303"/>
                </a:moveTo>
                <a:cubicBezTo>
                  <a:pt x="695" y="2297"/>
                  <a:pt x="689" y="2293"/>
                  <a:pt x="682" y="2293"/>
                </a:cubicBezTo>
                <a:cubicBezTo>
                  <a:pt x="676" y="2292"/>
                  <a:pt x="670" y="2295"/>
                  <a:pt x="664" y="2300"/>
                </a:cubicBezTo>
                <a:cubicBezTo>
                  <a:pt x="661" y="2303"/>
                  <a:pt x="659" y="2307"/>
                  <a:pt x="658" y="2310"/>
                </a:cubicBezTo>
                <a:cubicBezTo>
                  <a:pt x="657" y="2313"/>
                  <a:pt x="656" y="2316"/>
                  <a:pt x="657" y="2320"/>
                </a:cubicBezTo>
                <a:cubicBezTo>
                  <a:pt x="657" y="2323"/>
                  <a:pt x="658" y="2326"/>
                  <a:pt x="660" y="2330"/>
                </a:cubicBezTo>
                <a:cubicBezTo>
                  <a:pt x="661" y="2333"/>
                  <a:pt x="663" y="2336"/>
                  <a:pt x="666" y="2339"/>
                </a:cubicBezTo>
                <a:lnTo>
                  <a:pt x="701" y="2303"/>
                </a:lnTo>
                <a:close/>
                <a:moveTo>
                  <a:pt x="753" y="2208"/>
                </a:moveTo>
                <a:cubicBezTo>
                  <a:pt x="754" y="2209"/>
                  <a:pt x="755" y="2210"/>
                  <a:pt x="756" y="2211"/>
                </a:cubicBezTo>
                <a:cubicBezTo>
                  <a:pt x="756" y="2211"/>
                  <a:pt x="757" y="2212"/>
                  <a:pt x="757" y="2212"/>
                </a:cubicBezTo>
                <a:cubicBezTo>
                  <a:pt x="757" y="2213"/>
                  <a:pt x="757" y="2214"/>
                  <a:pt x="757" y="2214"/>
                </a:cubicBezTo>
                <a:cubicBezTo>
                  <a:pt x="757" y="2214"/>
                  <a:pt x="757" y="2215"/>
                  <a:pt x="757" y="2215"/>
                </a:cubicBezTo>
                <a:cubicBezTo>
                  <a:pt x="756" y="2216"/>
                  <a:pt x="756" y="2216"/>
                  <a:pt x="755" y="2216"/>
                </a:cubicBezTo>
                <a:cubicBezTo>
                  <a:pt x="754" y="2217"/>
                  <a:pt x="753" y="2217"/>
                  <a:pt x="753" y="2217"/>
                </a:cubicBezTo>
                <a:cubicBezTo>
                  <a:pt x="752" y="2218"/>
                  <a:pt x="751" y="2219"/>
                  <a:pt x="750" y="2219"/>
                </a:cubicBezTo>
                <a:cubicBezTo>
                  <a:pt x="749" y="2220"/>
                  <a:pt x="748" y="2221"/>
                  <a:pt x="747" y="2222"/>
                </a:cubicBezTo>
                <a:cubicBezTo>
                  <a:pt x="745" y="2223"/>
                  <a:pt x="744" y="2224"/>
                  <a:pt x="744" y="2226"/>
                </a:cubicBezTo>
                <a:cubicBezTo>
                  <a:pt x="743" y="2228"/>
                  <a:pt x="743" y="2230"/>
                  <a:pt x="742" y="2232"/>
                </a:cubicBezTo>
                <a:cubicBezTo>
                  <a:pt x="742" y="2234"/>
                  <a:pt x="742" y="2237"/>
                  <a:pt x="743" y="2240"/>
                </a:cubicBezTo>
                <a:cubicBezTo>
                  <a:pt x="743" y="2244"/>
                  <a:pt x="744" y="2247"/>
                  <a:pt x="745" y="2252"/>
                </a:cubicBezTo>
                <a:lnTo>
                  <a:pt x="787" y="2294"/>
                </a:lnTo>
                <a:cubicBezTo>
                  <a:pt x="788" y="2294"/>
                  <a:pt x="788" y="2295"/>
                  <a:pt x="788" y="2295"/>
                </a:cubicBezTo>
                <a:cubicBezTo>
                  <a:pt x="788" y="2296"/>
                  <a:pt x="788" y="2296"/>
                  <a:pt x="788" y="2297"/>
                </a:cubicBezTo>
                <a:cubicBezTo>
                  <a:pt x="788" y="2298"/>
                  <a:pt x="787" y="2298"/>
                  <a:pt x="787" y="2299"/>
                </a:cubicBezTo>
                <a:cubicBezTo>
                  <a:pt x="786" y="2300"/>
                  <a:pt x="785" y="2301"/>
                  <a:pt x="784" y="2302"/>
                </a:cubicBezTo>
                <a:cubicBezTo>
                  <a:pt x="783" y="2303"/>
                  <a:pt x="782" y="2304"/>
                  <a:pt x="781" y="2305"/>
                </a:cubicBezTo>
                <a:cubicBezTo>
                  <a:pt x="780" y="2306"/>
                  <a:pt x="779" y="2306"/>
                  <a:pt x="778" y="2306"/>
                </a:cubicBezTo>
                <a:cubicBezTo>
                  <a:pt x="778" y="2307"/>
                  <a:pt x="777" y="2307"/>
                  <a:pt x="777" y="2307"/>
                </a:cubicBezTo>
                <a:cubicBezTo>
                  <a:pt x="776" y="2307"/>
                  <a:pt x="776" y="2306"/>
                  <a:pt x="776" y="2306"/>
                </a:cubicBezTo>
                <a:lnTo>
                  <a:pt x="711" y="2241"/>
                </a:lnTo>
                <a:cubicBezTo>
                  <a:pt x="711" y="2241"/>
                  <a:pt x="710" y="2241"/>
                  <a:pt x="710" y="2240"/>
                </a:cubicBezTo>
                <a:cubicBezTo>
                  <a:pt x="710" y="2240"/>
                  <a:pt x="710" y="2239"/>
                  <a:pt x="710" y="2239"/>
                </a:cubicBezTo>
                <a:cubicBezTo>
                  <a:pt x="711" y="2238"/>
                  <a:pt x="711" y="2237"/>
                  <a:pt x="712" y="2236"/>
                </a:cubicBezTo>
                <a:cubicBezTo>
                  <a:pt x="712" y="2236"/>
                  <a:pt x="713" y="2235"/>
                  <a:pt x="714" y="2234"/>
                </a:cubicBezTo>
                <a:cubicBezTo>
                  <a:pt x="715" y="2233"/>
                  <a:pt x="716" y="2232"/>
                  <a:pt x="717" y="2231"/>
                </a:cubicBezTo>
                <a:cubicBezTo>
                  <a:pt x="718" y="2231"/>
                  <a:pt x="718" y="2230"/>
                  <a:pt x="719" y="2230"/>
                </a:cubicBezTo>
                <a:cubicBezTo>
                  <a:pt x="719" y="2230"/>
                  <a:pt x="720" y="2230"/>
                  <a:pt x="720" y="2230"/>
                </a:cubicBezTo>
                <a:cubicBezTo>
                  <a:pt x="721" y="2230"/>
                  <a:pt x="721" y="2230"/>
                  <a:pt x="722" y="2231"/>
                </a:cubicBezTo>
                <a:lnTo>
                  <a:pt x="731" y="2240"/>
                </a:lnTo>
                <a:cubicBezTo>
                  <a:pt x="730" y="2236"/>
                  <a:pt x="730" y="2232"/>
                  <a:pt x="730" y="2229"/>
                </a:cubicBezTo>
                <a:cubicBezTo>
                  <a:pt x="730" y="2226"/>
                  <a:pt x="730" y="2223"/>
                  <a:pt x="730" y="2220"/>
                </a:cubicBezTo>
                <a:cubicBezTo>
                  <a:pt x="731" y="2218"/>
                  <a:pt x="731" y="2216"/>
                  <a:pt x="732" y="2214"/>
                </a:cubicBezTo>
                <a:cubicBezTo>
                  <a:pt x="734" y="2213"/>
                  <a:pt x="735" y="2211"/>
                  <a:pt x="736" y="2210"/>
                </a:cubicBezTo>
                <a:cubicBezTo>
                  <a:pt x="737" y="2209"/>
                  <a:pt x="737" y="2208"/>
                  <a:pt x="738" y="2208"/>
                </a:cubicBezTo>
                <a:cubicBezTo>
                  <a:pt x="739" y="2207"/>
                  <a:pt x="740" y="2206"/>
                  <a:pt x="741" y="2206"/>
                </a:cubicBezTo>
                <a:cubicBezTo>
                  <a:pt x="742" y="2205"/>
                  <a:pt x="743" y="2204"/>
                  <a:pt x="744" y="2204"/>
                </a:cubicBezTo>
                <a:cubicBezTo>
                  <a:pt x="745" y="2203"/>
                  <a:pt x="746" y="2203"/>
                  <a:pt x="746" y="2203"/>
                </a:cubicBezTo>
                <a:cubicBezTo>
                  <a:pt x="747" y="2203"/>
                  <a:pt x="747" y="2203"/>
                  <a:pt x="748" y="2203"/>
                </a:cubicBezTo>
                <a:cubicBezTo>
                  <a:pt x="748" y="2203"/>
                  <a:pt x="748" y="2204"/>
                  <a:pt x="749" y="2204"/>
                </a:cubicBezTo>
                <a:cubicBezTo>
                  <a:pt x="749" y="2204"/>
                  <a:pt x="750" y="2205"/>
                  <a:pt x="750" y="2205"/>
                </a:cubicBezTo>
                <a:cubicBezTo>
                  <a:pt x="751" y="2206"/>
                  <a:pt x="752" y="2207"/>
                  <a:pt x="753" y="2208"/>
                </a:cubicBezTo>
                <a:close/>
                <a:moveTo>
                  <a:pt x="881" y="2201"/>
                </a:moveTo>
                <a:cubicBezTo>
                  <a:pt x="881" y="2201"/>
                  <a:pt x="882" y="2202"/>
                  <a:pt x="882" y="2203"/>
                </a:cubicBezTo>
                <a:cubicBezTo>
                  <a:pt x="882" y="2203"/>
                  <a:pt x="881" y="2204"/>
                  <a:pt x="881" y="2205"/>
                </a:cubicBezTo>
                <a:cubicBezTo>
                  <a:pt x="880" y="2206"/>
                  <a:pt x="879" y="2207"/>
                  <a:pt x="878" y="2208"/>
                </a:cubicBezTo>
                <a:cubicBezTo>
                  <a:pt x="877" y="2209"/>
                  <a:pt x="876" y="2210"/>
                  <a:pt x="875" y="2211"/>
                </a:cubicBezTo>
                <a:cubicBezTo>
                  <a:pt x="874" y="2211"/>
                  <a:pt x="873" y="2212"/>
                  <a:pt x="873" y="2212"/>
                </a:cubicBezTo>
                <a:cubicBezTo>
                  <a:pt x="872" y="2212"/>
                  <a:pt x="871" y="2212"/>
                  <a:pt x="871" y="2211"/>
                </a:cubicBezTo>
                <a:lnTo>
                  <a:pt x="864" y="2204"/>
                </a:lnTo>
                <a:cubicBezTo>
                  <a:pt x="864" y="2210"/>
                  <a:pt x="864" y="2216"/>
                  <a:pt x="862" y="2221"/>
                </a:cubicBezTo>
                <a:cubicBezTo>
                  <a:pt x="860" y="2226"/>
                  <a:pt x="857" y="2231"/>
                  <a:pt x="853" y="2235"/>
                </a:cubicBezTo>
                <a:cubicBezTo>
                  <a:pt x="850" y="2238"/>
                  <a:pt x="846" y="2241"/>
                  <a:pt x="843" y="2242"/>
                </a:cubicBezTo>
                <a:cubicBezTo>
                  <a:pt x="839" y="2244"/>
                  <a:pt x="836" y="2245"/>
                  <a:pt x="832" y="2246"/>
                </a:cubicBezTo>
                <a:cubicBezTo>
                  <a:pt x="828" y="2246"/>
                  <a:pt x="825" y="2245"/>
                  <a:pt x="821" y="2244"/>
                </a:cubicBezTo>
                <a:cubicBezTo>
                  <a:pt x="818" y="2243"/>
                  <a:pt x="814" y="2240"/>
                  <a:pt x="811" y="2237"/>
                </a:cubicBezTo>
                <a:cubicBezTo>
                  <a:pt x="808" y="2234"/>
                  <a:pt x="805" y="2230"/>
                  <a:pt x="804" y="2226"/>
                </a:cubicBezTo>
                <a:cubicBezTo>
                  <a:pt x="803" y="2221"/>
                  <a:pt x="803" y="2217"/>
                  <a:pt x="804" y="2212"/>
                </a:cubicBezTo>
                <a:cubicBezTo>
                  <a:pt x="805" y="2208"/>
                  <a:pt x="807" y="2203"/>
                  <a:pt x="810" y="2198"/>
                </a:cubicBezTo>
                <a:cubicBezTo>
                  <a:pt x="813" y="2193"/>
                  <a:pt x="817" y="2188"/>
                  <a:pt x="822" y="2183"/>
                </a:cubicBezTo>
                <a:lnTo>
                  <a:pt x="831" y="2174"/>
                </a:lnTo>
                <a:lnTo>
                  <a:pt x="826" y="2169"/>
                </a:lnTo>
                <a:cubicBezTo>
                  <a:pt x="824" y="2167"/>
                  <a:pt x="821" y="2165"/>
                  <a:pt x="819" y="2164"/>
                </a:cubicBezTo>
                <a:cubicBezTo>
                  <a:pt x="816" y="2162"/>
                  <a:pt x="814" y="2162"/>
                  <a:pt x="811" y="2161"/>
                </a:cubicBezTo>
                <a:cubicBezTo>
                  <a:pt x="809" y="2161"/>
                  <a:pt x="806" y="2162"/>
                  <a:pt x="804" y="2163"/>
                </a:cubicBezTo>
                <a:cubicBezTo>
                  <a:pt x="801" y="2164"/>
                  <a:pt x="799" y="2166"/>
                  <a:pt x="796" y="2169"/>
                </a:cubicBezTo>
                <a:cubicBezTo>
                  <a:pt x="793" y="2172"/>
                  <a:pt x="791" y="2175"/>
                  <a:pt x="789" y="2178"/>
                </a:cubicBezTo>
                <a:cubicBezTo>
                  <a:pt x="788" y="2181"/>
                  <a:pt x="786" y="2184"/>
                  <a:pt x="785" y="2186"/>
                </a:cubicBezTo>
                <a:cubicBezTo>
                  <a:pt x="784" y="2189"/>
                  <a:pt x="784" y="2191"/>
                  <a:pt x="783" y="2193"/>
                </a:cubicBezTo>
                <a:cubicBezTo>
                  <a:pt x="783" y="2195"/>
                  <a:pt x="782" y="2196"/>
                  <a:pt x="782" y="2197"/>
                </a:cubicBezTo>
                <a:cubicBezTo>
                  <a:pt x="781" y="2197"/>
                  <a:pt x="781" y="2197"/>
                  <a:pt x="780" y="2197"/>
                </a:cubicBezTo>
                <a:cubicBezTo>
                  <a:pt x="780" y="2197"/>
                  <a:pt x="779" y="2197"/>
                  <a:pt x="779" y="2197"/>
                </a:cubicBezTo>
                <a:cubicBezTo>
                  <a:pt x="778" y="2197"/>
                  <a:pt x="778" y="2197"/>
                  <a:pt x="777" y="2196"/>
                </a:cubicBezTo>
                <a:cubicBezTo>
                  <a:pt x="776" y="2196"/>
                  <a:pt x="775" y="2195"/>
                  <a:pt x="775" y="2194"/>
                </a:cubicBezTo>
                <a:cubicBezTo>
                  <a:pt x="774" y="2193"/>
                  <a:pt x="773" y="2192"/>
                  <a:pt x="772" y="2191"/>
                </a:cubicBezTo>
                <a:cubicBezTo>
                  <a:pt x="772" y="2190"/>
                  <a:pt x="771" y="2189"/>
                  <a:pt x="771" y="2188"/>
                </a:cubicBezTo>
                <a:cubicBezTo>
                  <a:pt x="771" y="2187"/>
                  <a:pt x="772" y="2185"/>
                  <a:pt x="773" y="2183"/>
                </a:cubicBezTo>
                <a:cubicBezTo>
                  <a:pt x="773" y="2180"/>
                  <a:pt x="774" y="2178"/>
                  <a:pt x="776" y="2175"/>
                </a:cubicBezTo>
                <a:cubicBezTo>
                  <a:pt x="777" y="2172"/>
                  <a:pt x="779" y="2169"/>
                  <a:pt x="781" y="2166"/>
                </a:cubicBezTo>
                <a:cubicBezTo>
                  <a:pt x="783" y="2164"/>
                  <a:pt x="785" y="2161"/>
                  <a:pt x="787" y="2158"/>
                </a:cubicBezTo>
                <a:cubicBezTo>
                  <a:pt x="792" y="2154"/>
                  <a:pt x="797" y="2150"/>
                  <a:pt x="801" y="2148"/>
                </a:cubicBezTo>
                <a:cubicBezTo>
                  <a:pt x="805" y="2146"/>
                  <a:pt x="809" y="2145"/>
                  <a:pt x="813" y="2145"/>
                </a:cubicBezTo>
                <a:cubicBezTo>
                  <a:pt x="817" y="2145"/>
                  <a:pt x="821" y="2146"/>
                  <a:pt x="825" y="2148"/>
                </a:cubicBezTo>
                <a:cubicBezTo>
                  <a:pt x="829" y="2150"/>
                  <a:pt x="833" y="2153"/>
                  <a:pt x="837" y="2157"/>
                </a:cubicBezTo>
                <a:lnTo>
                  <a:pt x="881" y="2201"/>
                </a:lnTo>
                <a:close/>
                <a:moveTo>
                  <a:pt x="840" y="2183"/>
                </a:moveTo>
                <a:lnTo>
                  <a:pt x="829" y="2193"/>
                </a:lnTo>
                <a:cubicBezTo>
                  <a:pt x="826" y="2196"/>
                  <a:pt x="824" y="2200"/>
                  <a:pt x="822" y="2202"/>
                </a:cubicBezTo>
                <a:cubicBezTo>
                  <a:pt x="820" y="2205"/>
                  <a:pt x="819" y="2208"/>
                  <a:pt x="818" y="2211"/>
                </a:cubicBezTo>
                <a:cubicBezTo>
                  <a:pt x="818" y="2214"/>
                  <a:pt x="818" y="2216"/>
                  <a:pt x="819" y="2218"/>
                </a:cubicBezTo>
                <a:cubicBezTo>
                  <a:pt x="819" y="2220"/>
                  <a:pt x="821" y="2223"/>
                  <a:pt x="823" y="2225"/>
                </a:cubicBezTo>
                <a:cubicBezTo>
                  <a:pt x="826" y="2228"/>
                  <a:pt x="830" y="2229"/>
                  <a:pt x="834" y="2229"/>
                </a:cubicBezTo>
                <a:cubicBezTo>
                  <a:pt x="838" y="2229"/>
                  <a:pt x="842" y="2227"/>
                  <a:pt x="846" y="2223"/>
                </a:cubicBezTo>
                <a:cubicBezTo>
                  <a:pt x="849" y="2220"/>
                  <a:pt x="851" y="2217"/>
                  <a:pt x="852" y="2212"/>
                </a:cubicBezTo>
                <a:cubicBezTo>
                  <a:pt x="853" y="2208"/>
                  <a:pt x="854" y="2203"/>
                  <a:pt x="853" y="2197"/>
                </a:cubicBezTo>
                <a:lnTo>
                  <a:pt x="840" y="2183"/>
                </a:lnTo>
                <a:close/>
                <a:moveTo>
                  <a:pt x="929" y="2143"/>
                </a:moveTo>
                <a:cubicBezTo>
                  <a:pt x="930" y="2145"/>
                  <a:pt x="931" y="2146"/>
                  <a:pt x="932" y="2147"/>
                </a:cubicBezTo>
                <a:cubicBezTo>
                  <a:pt x="933" y="2148"/>
                  <a:pt x="933" y="2149"/>
                  <a:pt x="933" y="2149"/>
                </a:cubicBezTo>
                <a:cubicBezTo>
                  <a:pt x="933" y="2150"/>
                  <a:pt x="933" y="2151"/>
                  <a:pt x="932" y="2152"/>
                </a:cubicBezTo>
                <a:cubicBezTo>
                  <a:pt x="932" y="2153"/>
                  <a:pt x="931" y="2154"/>
                  <a:pt x="930" y="2156"/>
                </a:cubicBezTo>
                <a:cubicBezTo>
                  <a:pt x="930" y="2157"/>
                  <a:pt x="929" y="2158"/>
                  <a:pt x="928" y="2159"/>
                </a:cubicBezTo>
                <a:cubicBezTo>
                  <a:pt x="927" y="2161"/>
                  <a:pt x="926" y="2162"/>
                  <a:pt x="925" y="2163"/>
                </a:cubicBezTo>
                <a:cubicBezTo>
                  <a:pt x="921" y="2166"/>
                  <a:pt x="918" y="2169"/>
                  <a:pt x="915" y="2170"/>
                </a:cubicBezTo>
                <a:cubicBezTo>
                  <a:pt x="912" y="2172"/>
                  <a:pt x="908" y="2172"/>
                  <a:pt x="905" y="2172"/>
                </a:cubicBezTo>
                <a:cubicBezTo>
                  <a:pt x="902" y="2172"/>
                  <a:pt x="898" y="2171"/>
                  <a:pt x="895" y="2169"/>
                </a:cubicBezTo>
                <a:cubicBezTo>
                  <a:pt x="891" y="2166"/>
                  <a:pt x="888" y="2164"/>
                  <a:pt x="884" y="2160"/>
                </a:cubicBezTo>
                <a:lnTo>
                  <a:pt x="846" y="2122"/>
                </a:lnTo>
                <a:lnTo>
                  <a:pt x="837" y="2131"/>
                </a:lnTo>
                <a:cubicBezTo>
                  <a:pt x="836" y="2132"/>
                  <a:pt x="835" y="2132"/>
                  <a:pt x="834" y="2132"/>
                </a:cubicBezTo>
                <a:cubicBezTo>
                  <a:pt x="833" y="2131"/>
                  <a:pt x="832" y="2130"/>
                  <a:pt x="830" y="2129"/>
                </a:cubicBezTo>
                <a:cubicBezTo>
                  <a:pt x="829" y="2128"/>
                  <a:pt x="828" y="2127"/>
                  <a:pt x="828" y="2126"/>
                </a:cubicBezTo>
                <a:cubicBezTo>
                  <a:pt x="827" y="2125"/>
                  <a:pt x="827" y="2125"/>
                  <a:pt x="827" y="2124"/>
                </a:cubicBezTo>
                <a:cubicBezTo>
                  <a:pt x="826" y="2123"/>
                  <a:pt x="826" y="2123"/>
                  <a:pt x="827" y="2122"/>
                </a:cubicBezTo>
                <a:cubicBezTo>
                  <a:pt x="827" y="2122"/>
                  <a:pt x="827" y="2122"/>
                  <a:pt x="827" y="2121"/>
                </a:cubicBezTo>
                <a:lnTo>
                  <a:pt x="836" y="2112"/>
                </a:lnTo>
                <a:lnTo>
                  <a:pt x="821" y="2097"/>
                </a:lnTo>
                <a:cubicBezTo>
                  <a:pt x="821" y="2096"/>
                  <a:pt x="820" y="2096"/>
                  <a:pt x="820" y="2096"/>
                </a:cubicBezTo>
                <a:cubicBezTo>
                  <a:pt x="820" y="2095"/>
                  <a:pt x="820" y="2095"/>
                  <a:pt x="820" y="2094"/>
                </a:cubicBezTo>
                <a:cubicBezTo>
                  <a:pt x="821" y="2093"/>
                  <a:pt x="821" y="2093"/>
                  <a:pt x="822" y="2092"/>
                </a:cubicBezTo>
                <a:cubicBezTo>
                  <a:pt x="823" y="2091"/>
                  <a:pt x="823" y="2090"/>
                  <a:pt x="825" y="2089"/>
                </a:cubicBezTo>
                <a:cubicBezTo>
                  <a:pt x="826" y="2087"/>
                  <a:pt x="827" y="2087"/>
                  <a:pt x="828" y="2086"/>
                </a:cubicBezTo>
                <a:cubicBezTo>
                  <a:pt x="829" y="2085"/>
                  <a:pt x="829" y="2085"/>
                  <a:pt x="830" y="2085"/>
                </a:cubicBezTo>
                <a:cubicBezTo>
                  <a:pt x="831" y="2084"/>
                  <a:pt x="831" y="2084"/>
                  <a:pt x="832" y="2084"/>
                </a:cubicBezTo>
                <a:cubicBezTo>
                  <a:pt x="832" y="2084"/>
                  <a:pt x="832" y="2085"/>
                  <a:pt x="833" y="2085"/>
                </a:cubicBezTo>
                <a:lnTo>
                  <a:pt x="848" y="2100"/>
                </a:lnTo>
                <a:lnTo>
                  <a:pt x="865" y="2084"/>
                </a:lnTo>
                <a:cubicBezTo>
                  <a:pt x="865" y="2083"/>
                  <a:pt x="866" y="2083"/>
                  <a:pt x="866" y="2083"/>
                </a:cubicBezTo>
                <a:cubicBezTo>
                  <a:pt x="866" y="2083"/>
                  <a:pt x="867" y="2083"/>
                  <a:pt x="868" y="2083"/>
                </a:cubicBezTo>
                <a:cubicBezTo>
                  <a:pt x="868" y="2083"/>
                  <a:pt x="869" y="2084"/>
                  <a:pt x="870" y="2084"/>
                </a:cubicBezTo>
                <a:cubicBezTo>
                  <a:pt x="870" y="2085"/>
                  <a:pt x="871" y="2085"/>
                  <a:pt x="872" y="2086"/>
                </a:cubicBezTo>
                <a:cubicBezTo>
                  <a:pt x="874" y="2088"/>
                  <a:pt x="875" y="2090"/>
                  <a:pt x="875" y="2091"/>
                </a:cubicBezTo>
                <a:cubicBezTo>
                  <a:pt x="876" y="2092"/>
                  <a:pt x="875" y="2093"/>
                  <a:pt x="875" y="2094"/>
                </a:cubicBezTo>
                <a:lnTo>
                  <a:pt x="858" y="2110"/>
                </a:lnTo>
                <a:lnTo>
                  <a:pt x="894" y="2146"/>
                </a:lnTo>
                <a:cubicBezTo>
                  <a:pt x="899" y="2151"/>
                  <a:pt x="903" y="2153"/>
                  <a:pt x="906" y="2154"/>
                </a:cubicBezTo>
                <a:cubicBezTo>
                  <a:pt x="910" y="2155"/>
                  <a:pt x="913" y="2154"/>
                  <a:pt x="917" y="2151"/>
                </a:cubicBezTo>
                <a:cubicBezTo>
                  <a:pt x="918" y="2150"/>
                  <a:pt x="919" y="2149"/>
                  <a:pt x="919" y="2147"/>
                </a:cubicBezTo>
                <a:cubicBezTo>
                  <a:pt x="920" y="2146"/>
                  <a:pt x="920" y="2145"/>
                  <a:pt x="921" y="2144"/>
                </a:cubicBezTo>
                <a:cubicBezTo>
                  <a:pt x="921" y="2144"/>
                  <a:pt x="922" y="2143"/>
                  <a:pt x="922" y="2142"/>
                </a:cubicBezTo>
                <a:cubicBezTo>
                  <a:pt x="922" y="2141"/>
                  <a:pt x="922" y="2141"/>
                  <a:pt x="923" y="2140"/>
                </a:cubicBezTo>
                <a:cubicBezTo>
                  <a:pt x="923" y="2140"/>
                  <a:pt x="923" y="2140"/>
                  <a:pt x="924" y="2140"/>
                </a:cubicBezTo>
                <a:cubicBezTo>
                  <a:pt x="924" y="2140"/>
                  <a:pt x="924" y="2140"/>
                  <a:pt x="925" y="2140"/>
                </a:cubicBezTo>
                <a:cubicBezTo>
                  <a:pt x="925" y="2140"/>
                  <a:pt x="926" y="2141"/>
                  <a:pt x="927" y="2141"/>
                </a:cubicBezTo>
                <a:cubicBezTo>
                  <a:pt x="927" y="2142"/>
                  <a:pt x="928" y="2142"/>
                  <a:pt x="929" y="2143"/>
                </a:cubicBezTo>
                <a:close/>
                <a:moveTo>
                  <a:pt x="957" y="2124"/>
                </a:moveTo>
                <a:cubicBezTo>
                  <a:pt x="958" y="2125"/>
                  <a:pt x="958" y="2125"/>
                  <a:pt x="958" y="2126"/>
                </a:cubicBezTo>
                <a:cubicBezTo>
                  <a:pt x="958" y="2126"/>
                  <a:pt x="958" y="2127"/>
                  <a:pt x="958" y="2127"/>
                </a:cubicBezTo>
                <a:cubicBezTo>
                  <a:pt x="957" y="2128"/>
                  <a:pt x="957" y="2129"/>
                  <a:pt x="956" y="2129"/>
                </a:cubicBezTo>
                <a:cubicBezTo>
                  <a:pt x="956" y="2130"/>
                  <a:pt x="955" y="2131"/>
                  <a:pt x="953" y="2133"/>
                </a:cubicBezTo>
                <a:cubicBezTo>
                  <a:pt x="952" y="2134"/>
                  <a:pt x="951" y="2135"/>
                  <a:pt x="950" y="2135"/>
                </a:cubicBezTo>
                <a:cubicBezTo>
                  <a:pt x="950" y="2136"/>
                  <a:pt x="949" y="2136"/>
                  <a:pt x="948" y="2137"/>
                </a:cubicBezTo>
                <a:cubicBezTo>
                  <a:pt x="947" y="2137"/>
                  <a:pt x="947" y="2137"/>
                  <a:pt x="947" y="2137"/>
                </a:cubicBezTo>
                <a:cubicBezTo>
                  <a:pt x="946" y="2137"/>
                  <a:pt x="946" y="2137"/>
                  <a:pt x="945" y="2136"/>
                </a:cubicBezTo>
                <a:lnTo>
                  <a:pt x="881" y="2072"/>
                </a:lnTo>
                <a:cubicBezTo>
                  <a:pt x="880" y="2071"/>
                  <a:pt x="880" y="2071"/>
                  <a:pt x="880" y="2070"/>
                </a:cubicBezTo>
                <a:cubicBezTo>
                  <a:pt x="880" y="2070"/>
                  <a:pt x="880" y="2069"/>
                  <a:pt x="880" y="2069"/>
                </a:cubicBezTo>
                <a:cubicBezTo>
                  <a:pt x="880" y="2068"/>
                  <a:pt x="881" y="2067"/>
                  <a:pt x="882" y="2067"/>
                </a:cubicBezTo>
                <a:cubicBezTo>
                  <a:pt x="882" y="2066"/>
                  <a:pt x="883" y="2065"/>
                  <a:pt x="884" y="2063"/>
                </a:cubicBezTo>
                <a:cubicBezTo>
                  <a:pt x="886" y="2062"/>
                  <a:pt x="887" y="2061"/>
                  <a:pt x="887" y="2061"/>
                </a:cubicBezTo>
                <a:cubicBezTo>
                  <a:pt x="888" y="2060"/>
                  <a:pt x="889" y="2060"/>
                  <a:pt x="890" y="2059"/>
                </a:cubicBezTo>
                <a:cubicBezTo>
                  <a:pt x="890" y="2059"/>
                  <a:pt x="891" y="2059"/>
                  <a:pt x="891" y="2059"/>
                </a:cubicBezTo>
                <a:cubicBezTo>
                  <a:pt x="892" y="2059"/>
                  <a:pt x="892" y="2059"/>
                  <a:pt x="893" y="2060"/>
                </a:cubicBezTo>
                <a:lnTo>
                  <a:pt x="957" y="2124"/>
                </a:lnTo>
                <a:close/>
                <a:moveTo>
                  <a:pt x="872" y="2037"/>
                </a:moveTo>
                <a:cubicBezTo>
                  <a:pt x="875" y="2039"/>
                  <a:pt x="876" y="2042"/>
                  <a:pt x="876" y="2044"/>
                </a:cubicBezTo>
                <a:cubicBezTo>
                  <a:pt x="876" y="2046"/>
                  <a:pt x="875" y="2048"/>
                  <a:pt x="872" y="2051"/>
                </a:cubicBezTo>
                <a:cubicBezTo>
                  <a:pt x="869" y="2054"/>
                  <a:pt x="867" y="2055"/>
                  <a:pt x="865" y="2055"/>
                </a:cubicBezTo>
                <a:cubicBezTo>
                  <a:pt x="863" y="2055"/>
                  <a:pt x="860" y="2054"/>
                  <a:pt x="858" y="2051"/>
                </a:cubicBezTo>
                <a:cubicBezTo>
                  <a:pt x="855" y="2049"/>
                  <a:pt x="853" y="2046"/>
                  <a:pt x="853" y="2044"/>
                </a:cubicBezTo>
                <a:cubicBezTo>
                  <a:pt x="853" y="2042"/>
                  <a:pt x="855" y="2040"/>
                  <a:pt x="858" y="2037"/>
                </a:cubicBezTo>
                <a:cubicBezTo>
                  <a:pt x="861" y="2034"/>
                  <a:pt x="863" y="2033"/>
                  <a:pt x="865" y="2033"/>
                </a:cubicBezTo>
                <a:cubicBezTo>
                  <a:pt x="867" y="2032"/>
                  <a:pt x="869" y="2034"/>
                  <a:pt x="872" y="2037"/>
                </a:cubicBezTo>
                <a:close/>
                <a:moveTo>
                  <a:pt x="1006" y="2009"/>
                </a:moveTo>
                <a:cubicBezTo>
                  <a:pt x="1012" y="2014"/>
                  <a:pt x="1016" y="2020"/>
                  <a:pt x="1019" y="2026"/>
                </a:cubicBezTo>
                <a:cubicBezTo>
                  <a:pt x="1022" y="2032"/>
                  <a:pt x="1024" y="2037"/>
                  <a:pt x="1024" y="2043"/>
                </a:cubicBezTo>
                <a:cubicBezTo>
                  <a:pt x="1024" y="2049"/>
                  <a:pt x="1024" y="2055"/>
                  <a:pt x="1021" y="2061"/>
                </a:cubicBezTo>
                <a:cubicBezTo>
                  <a:pt x="1019" y="2067"/>
                  <a:pt x="1015" y="2073"/>
                  <a:pt x="1009" y="2078"/>
                </a:cubicBezTo>
                <a:cubicBezTo>
                  <a:pt x="1004" y="2084"/>
                  <a:pt x="999" y="2088"/>
                  <a:pt x="993" y="2090"/>
                </a:cubicBezTo>
                <a:cubicBezTo>
                  <a:pt x="988" y="2092"/>
                  <a:pt x="982" y="2093"/>
                  <a:pt x="976" y="2093"/>
                </a:cubicBezTo>
                <a:cubicBezTo>
                  <a:pt x="971" y="2093"/>
                  <a:pt x="965" y="2091"/>
                  <a:pt x="960" y="2088"/>
                </a:cubicBezTo>
                <a:cubicBezTo>
                  <a:pt x="954" y="2085"/>
                  <a:pt x="948" y="2081"/>
                  <a:pt x="943" y="2075"/>
                </a:cubicBezTo>
                <a:cubicBezTo>
                  <a:pt x="938" y="2070"/>
                  <a:pt x="934" y="2064"/>
                  <a:pt x="930" y="2058"/>
                </a:cubicBezTo>
                <a:cubicBezTo>
                  <a:pt x="927" y="2053"/>
                  <a:pt x="926" y="2047"/>
                  <a:pt x="925" y="2041"/>
                </a:cubicBezTo>
                <a:cubicBezTo>
                  <a:pt x="925" y="2035"/>
                  <a:pt x="926" y="2029"/>
                  <a:pt x="928" y="2023"/>
                </a:cubicBezTo>
                <a:cubicBezTo>
                  <a:pt x="930" y="2017"/>
                  <a:pt x="934" y="2012"/>
                  <a:pt x="940" y="2006"/>
                </a:cubicBezTo>
                <a:cubicBezTo>
                  <a:pt x="945" y="2001"/>
                  <a:pt x="951" y="1997"/>
                  <a:pt x="956" y="1994"/>
                </a:cubicBezTo>
                <a:cubicBezTo>
                  <a:pt x="962" y="1992"/>
                  <a:pt x="967" y="1991"/>
                  <a:pt x="973" y="1991"/>
                </a:cubicBezTo>
                <a:cubicBezTo>
                  <a:pt x="978" y="1992"/>
                  <a:pt x="984" y="1994"/>
                  <a:pt x="990" y="1997"/>
                </a:cubicBezTo>
                <a:cubicBezTo>
                  <a:pt x="995" y="2000"/>
                  <a:pt x="1001" y="2004"/>
                  <a:pt x="1006" y="2009"/>
                </a:cubicBezTo>
                <a:close/>
                <a:moveTo>
                  <a:pt x="995" y="2022"/>
                </a:moveTo>
                <a:cubicBezTo>
                  <a:pt x="991" y="2019"/>
                  <a:pt x="988" y="2016"/>
                  <a:pt x="984" y="2013"/>
                </a:cubicBezTo>
                <a:cubicBezTo>
                  <a:pt x="980" y="2011"/>
                  <a:pt x="976" y="2009"/>
                  <a:pt x="973" y="2008"/>
                </a:cubicBezTo>
                <a:cubicBezTo>
                  <a:pt x="969" y="2007"/>
                  <a:pt x="965" y="2008"/>
                  <a:pt x="961" y="2009"/>
                </a:cubicBezTo>
                <a:cubicBezTo>
                  <a:pt x="957" y="2010"/>
                  <a:pt x="953" y="2013"/>
                  <a:pt x="949" y="2016"/>
                </a:cubicBezTo>
                <a:cubicBezTo>
                  <a:pt x="946" y="2020"/>
                  <a:pt x="943" y="2024"/>
                  <a:pt x="942" y="2027"/>
                </a:cubicBezTo>
                <a:cubicBezTo>
                  <a:pt x="941" y="2031"/>
                  <a:pt x="940" y="2035"/>
                  <a:pt x="941" y="2039"/>
                </a:cubicBezTo>
                <a:cubicBezTo>
                  <a:pt x="942" y="2043"/>
                  <a:pt x="943" y="2047"/>
                  <a:pt x="945" y="2051"/>
                </a:cubicBezTo>
                <a:cubicBezTo>
                  <a:pt x="948" y="2055"/>
                  <a:pt x="951" y="2058"/>
                  <a:pt x="954" y="2062"/>
                </a:cubicBezTo>
                <a:cubicBezTo>
                  <a:pt x="958" y="2066"/>
                  <a:pt x="962" y="2069"/>
                  <a:pt x="965" y="2071"/>
                </a:cubicBezTo>
                <a:cubicBezTo>
                  <a:pt x="969" y="2073"/>
                  <a:pt x="973" y="2075"/>
                  <a:pt x="977" y="2076"/>
                </a:cubicBezTo>
                <a:cubicBezTo>
                  <a:pt x="981" y="2077"/>
                  <a:pt x="985" y="2077"/>
                  <a:pt x="988" y="2075"/>
                </a:cubicBezTo>
                <a:cubicBezTo>
                  <a:pt x="992" y="2074"/>
                  <a:pt x="996" y="2072"/>
                  <a:pt x="1000" y="2068"/>
                </a:cubicBezTo>
                <a:cubicBezTo>
                  <a:pt x="1004" y="2064"/>
                  <a:pt x="1006" y="2061"/>
                  <a:pt x="1007" y="2057"/>
                </a:cubicBezTo>
                <a:cubicBezTo>
                  <a:pt x="1009" y="2053"/>
                  <a:pt x="1009" y="2049"/>
                  <a:pt x="1008" y="2045"/>
                </a:cubicBezTo>
                <a:cubicBezTo>
                  <a:pt x="1008" y="2041"/>
                  <a:pt x="1006" y="2038"/>
                  <a:pt x="1004" y="2034"/>
                </a:cubicBezTo>
                <a:cubicBezTo>
                  <a:pt x="1002" y="2030"/>
                  <a:pt x="999" y="2026"/>
                  <a:pt x="995" y="2022"/>
                </a:cubicBezTo>
                <a:close/>
                <a:moveTo>
                  <a:pt x="1114" y="1967"/>
                </a:moveTo>
                <a:cubicBezTo>
                  <a:pt x="1114" y="1968"/>
                  <a:pt x="1115" y="1968"/>
                  <a:pt x="1115" y="1969"/>
                </a:cubicBezTo>
                <a:cubicBezTo>
                  <a:pt x="1115" y="1969"/>
                  <a:pt x="1115" y="1970"/>
                  <a:pt x="1115" y="1970"/>
                </a:cubicBezTo>
                <a:cubicBezTo>
                  <a:pt x="1114" y="1971"/>
                  <a:pt x="1114" y="1972"/>
                  <a:pt x="1113" y="1973"/>
                </a:cubicBezTo>
                <a:cubicBezTo>
                  <a:pt x="1112" y="1973"/>
                  <a:pt x="1112" y="1974"/>
                  <a:pt x="1110" y="1976"/>
                </a:cubicBezTo>
                <a:cubicBezTo>
                  <a:pt x="1109" y="1977"/>
                  <a:pt x="1108" y="1978"/>
                  <a:pt x="1107" y="1978"/>
                </a:cubicBezTo>
                <a:cubicBezTo>
                  <a:pt x="1106" y="1979"/>
                  <a:pt x="1106" y="1979"/>
                  <a:pt x="1105" y="1980"/>
                </a:cubicBezTo>
                <a:cubicBezTo>
                  <a:pt x="1104" y="1980"/>
                  <a:pt x="1104" y="1980"/>
                  <a:pt x="1103" y="1980"/>
                </a:cubicBezTo>
                <a:cubicBezTo>
                  <a:pt x="1103" y="1980"/>
                  <a:pt x="1103" y="1980"/>
                  <a:pt x="1102" y="1979"/>
                </a:cubicBezTo>
                <a:lnTo>
                  <a:pt x="1064" y="1941"/>
                </a:lnTo>
                <a:cubicBezTo>
                  <a:pt x="1061" y="1938"/>
                  <a:pt x="1057" y="1935"/>
                  <a:pt x="1055" y="1933"/>
                </a:cubicBezTo>
                <a:cubicBezTo>
                  <a:pt x="1052" y="1932"/>
                  <a:pt x="1049" y="1931"/>
                  <a:pt x="1046" y="1930"/>
                </a:cubicBezTo>
                <a:cubicBezTo>
                  <a:pt x="1044" y="1930"/>
                  <a:pt x="1041" y="1930"/>
                  <a:pt x="1038" y="1931"/>
                </a:cubicBezTo>
                <a:cubicBezTo>
                  <a:pt x="1036" y="1932"/>
                  <a:pt x="1033" y="1933"/>
                  <a:pt x="1031" y="1935"/>
                </a:cubicBezTo>
                <a:cubicBezTo>
                  <a:pt x="1028" y="1938"/>
                  <a:pt x="1026" y="1942"/>
                  <a:pt x="1025" y="1947"/>
                </a:cubicBezTo>
                <a:cubicBezTo>
                  <a:pt x="1024" y="1953"/>
                  <a:pt x="1024" y="1959"/>
                  <a:pt x="1025" y="1966"/>
                </a:cubicBezTo>
                <a:lnTo>
                  <a:pt x="1070" y="2011"/>
                </a:lnTo>
                <a:cubicBezTo>
                  <a:pt x="1071" y="2012"/>
                  <a:pt x="1071" y="2012"/>
                  <a:pt x="1071" y="2013"/>
                </a:cubicBezTo>
                <a:cubicBezTo>
                  <a:pt x="1071" y="2013"/>
                  <a:pt x="1071" y="2014"/>
                  <a:pt x="1071" y="2014"/>
                </a:cubicBezTo>
                <a:cubicBezTo>
                  <a:pt x="1070" y="2015"/>
                  <a:pt x="1070" y="2015"/>
                  <a:pt x="1069" y="2016"/>
                </a:cubicBezTo>
                <a:cubicBezTo>
                  <a:pt x="1069" y="2017"/>
                  <a:pt x="1068" y="2018"/>
                  <a:pt x="1067" y="2019"/>
                </a:cubicBezTo>
                <a:cubicBezTo>
                  <a:pt x="1065" y="2021"/>
                  <a:pt x="1064" y="2022"/>
                  <a:pt x="1064" y="2022"/>
                </a:cubicBezTo>
                <a:cubicBezTo>
                  <a:pt x="1063" y="2023"/>
                  <a:pt x="1062" y="2023"/>
                  <a:pt x="1061" y="2024"/>
                </a:cubicBezTo>
                <a:cubicBezTo>
                  <a:pt x="1061" y="2024"/>
                  <a:pt x="1060" y="2024"/>
                  <a:pt x="1060" y="2024"/>
                </a:cubicBezTo>
                <a:cubicBezTo>
                  <a:pt x="1059" y="2024"/>
                  <a:pt x="1059" y="2023"/>
                  <a:pt x="1058" y="2023"/>
                </a:cubicBezTo>
                <a:lnTo>
                  <a:pt x="994" y="1958"/>
                </a:lnTo>
                <a:cubicBezTo>
                  <a:pt x="993" y="1958"/>
                  <a:pt x="993" y="1958"/>
                  <a:pt x="993" y="1957"/>
                </a:cubicBezTo>
                <a:cubicBezTo>
                  <a:pt x="993" y="1957"/>
                  <a:pt x="993" y="1956"/>
                  <a:pt x="993" y="1956"/>
                </a:cubicBezTo>
                <a:cubicBezTo>
                  <a:pt x="993" y="1955"/>
                  <a:pt x="994" y="1954"/>
                  <a:pt x="994" y="1954"/>
                </a:cubicBezTo>
                <a:cubicBezTo>
                  <a:pt x="995" y="1953"/>
                  <a:pt x="996" y="1952"/>
                  <a:pt x="997" y="1951"/>
                </a:cubicBezTo>
                <a:cubicBezTo>
                  <a:pt x="998" y="1950"/>
                  <a:pt x="999" y="1949"/>
                  <a:pt x="1000" y="1948"/>
                </a:cubicBezTo>
                <a:cubicBezTo>
                  <a:pt x="1000" y="1948"/>
                  <a:pt x="1001" y="1947"/>
                  <a:pt x="1002" y="1947"/>
                </a:cubicBezTo>
                <a:cubicBezTo>
                  <a:pt x="1002" y="1947"/>
                  <a:pt x="1003" y="1947"/>
                  <a:pt x="1003" y="1947"/>
                </a:cubicBezTo>
                <a:cubicBezTo>
                  <a:pt x="1004" y="1947"/>
                  <a:pt x="1004" y="1947"/>
                  <a:pt x="1004" y="1948"/>
                </a:cubicBezTo>
                <a:lnTo>
                  <a:pt x="1013" y="1956"/>
                </a:lnTo>
                <a:cubicBezTo>
                  <a:pt x="1013" y="1949"/>
                  <a:pt x="1013" y="1942"/>
                  <a:pt x="1015" y="1937"/>
                </a:cubicBezTo>
                <a:cubicBezTo>
                  <a:pt x="1017" y="1931"/>
                  <a:pt x="1019" y="1926"/>
                  <a:pt x="1023" y="1923"/>
                </a:cubicBezTo>
                <a:cubicBezTo>
                  <a:pt x="1027" y="1918"/>
                  <a:pt x="1032" y="1916"/>
                  <a:pt x="1036" y="1914"/>
                </a:cubicBezTo>
                <a:cubicBezTo>
                  <a:pt x="1041" y="1913"/>
                  <a:pt x="1045" y="1912"/>
                  <a:pt x="1049" y="1913"/>
                </a:cubicBezTo>
                <a:cubicBezTo>
                  <a:pt x="1053" y="1913"/>
                  <a:pt x="1058" y="1915"/>
                  <a:pt x="1062" y="1917"/>
                </a:cubicBezTo>
                <a:cubicBezTo>
                  <a:pt x="1066" y="1920"/>
                  <a:pt x="1070" y="1923"/>
                  <a:pt x="1075" y="1928"/>
                </a:cubicBezTo>
                <a:lnTo>
                  <a:pt x="1114" y="1967"/>
                </a:lnTo>
                <a:close/>
                <a:moveTo>
                  <a:pt x="1164" y="1760"/>
                </a:moveTo>
                <a:cubicBezTo>
                  <a:pt x="1165" y="1761"/>
                  <a:pt x="1166" y="1762"/>
                  <a:pt x="1167" y="1763"/>
                </a:cubicBezTo>
                <a:cubicBezTo>
                  <a:pt x="1167" y="1764"/>
                  <a:pt x="1168" y="1764"/>
                  <a:pt x="1168" y="1765"/>
                </a:cubicBezTo>
                <a:cubicBezTo>
                  <a:pt x="1168" y="1766"/>
                  <a:pt x="1168" y="1766"/>
                  <a:pt x="1168" y="1767"/>
                </a:cubicBezTo>
                <a:cubicBezTo>
                  <a:pt x="1168" y="1767"/>
                  <a:pt x="1168" y="1768"/>
                  <a:pt x="1167" y="1768"/>
                </a:cubicBezTo>
                <a:cubicBezTo>
                  <a:pt x="1167" y="1768"/>
                  <a:pt x="1165" y="1769"/>
                  <a:pt x="1163" y="1769"/>
                </a:cubicBezTo>
                <a:cubicBezTo>
                  <a:pt x="1161" y="1770"/>
                  <a:pt x="1158" y="1771"/>
                  <a:pt x="1155" y="1772"/>
                </a:cubicBezTo>
                <a:cubicBezTo>
                  <a:pt x="1151" y="1773"/>
                  <a:pt x="1148" y="1775"/>
                  <a:pt x="1144" y="1777"/>
                </a:cubicBezTo>
                <a:cubicBezTo>
                  <a:pt x="1140" y="1779"/>
                  <a:pt x="1135" y="1782"/>
                  <a:pt x="1131" y="1787"/>
                </a:cubicBezTo>
                <a:cubicBezTo>
                  <a:pt x="1126" y="1792"/>
                  <a:pt x="1122" y="1797"/>
                  <a:pt x="1120" y="1803"/>
                </a:cubicBezTo>
                <a:cubicBezTo>
                  <a:pt x="1118" y="1809"/>
                  <a:pt x="1117" y="1815"/>
                  <a:pt x="1118" y="1821"/>
                </a:cubicBezTo>
                <a:cubicBezTo>
                  <a:pt x="1118" y="1827"/>
                  <a:pt x="1120" y="1834"/>
                  <a:pt x="1123" y="1840"/>
                </a:cubicBezTo>
                <a:cubicBezTo>
                  <a:pt x="1126" y="1846"/>
                  <a:pt x="1130" y="1851"/>
                  <a:pt x="1135" y="1857"/>
                </a:cubicBezTo>
                <a:cubicBezTo>
                  <a:pt x="1141" y="1863"/>
                  <a:pt x="1147" y="1867"/>
                  <a:pt x="1154" y="1870"/>
                </a:cubicBezTo>
                <a:cubicBezTo>
                  <a:pt x="1160" y="1873"/>
                  <a:pt x="1166" y="1875"/>
                  <a:pt x="1172" y="1875"/>
                </a:cubicBezTo>
                <a:cubicBezTo>
                  <a:pt x="1178" y="1875"/>
                  <a:pt x="1184" y="1874"/>
                  <a:pt x="1190" y="1872"/>
                </a:cubicBezTo>
                <a:cubicBezTo>
                  <a:pt x="1195" y="1869"/>
                  <a:pt x="1201" y="1865"/>
                  <a:pt x="1206" y="1861"/>
                </a:cubicBezTo>
                <a:cubicBezTo>
                  <a:pt x="1208" y="1858"/>
                  <a:pt x="1211" y="1855"/>
                  <a:pt x="1213" y="1851"/>
                </a:cubicBezTo>
                <a:cubicBezTo>
                  <a:pt x="1215" y="1847"/>
                  <a:pt x="1217" y="1843"/>
                  <a:pt x="1218" y="1840"/>
                </a:cubicBezTo>
                <a:lnTo>
                  <a:pt x="1191" y="1812"/>
                </a:lnTo>
                <a:lnTo>
                  <a:pt x="1170" y="1834"/>
                </a:lnTo>
                <a:cubicBezTo>
                  <a:pt x="1169" y="1835"/>
                  <a:pt x="1168" y="1835"/>
                  <a:pt x="1167" y="1835"/>
                </a:cubicBezTo>
                <a:cubicBezTo>
                  <a:pt x="1165" y="1834"/>
                  <a:pt x="1164" y="1833"/>
                  <a:pt x="1162" y="1831"/>
                </a:cubicBezTo>
                <a:cubicBezTo>
                  <a:pt x="1161" y="1830"/>
                  <a:pt x="1161" y="1830"/>
                  <a:pt x="1160" y="1829"/>
                </a:cubicBezTo>
                <a:cubicBezTo>
                  <a:pt x="1159" y="1828"/>
                  <a:pt x="1159" y="1828"/>
                  <a:pt x="1159" y="1827"/>
                </a:cubicBezTo>
                <a:cubicBezTo>
                  <a:pt x="1159" y="1826"/>
                  <a:pt x="1159" y="1826"/>
                  <a:pt x="1159" y="1825"/>
                </a:cubicBezTo>
                <a:cubicBezTo>
                  <a:pt x="1159" y="1825"/>
                  <a:pt x="1159" y="1824"/>
                  <a:pt x="1160" y="1824"/>
                </a:cubicBezTo>
                <a:lnTo>
                  <a:pt x="1189" y="1794"/>
                </a:lnTo>
                <a:cubicBezTo>
                  <a:pt x="1190" y="1794"/>
                  <a:pt x="1190" y="1793"/>
                  <a:pt x="1191" y="1793"/>
                </a:cubicBezTo>
                <a:cubicBezTo>
                  <a:pt x="1192" y="1793"/>
                  <a:pt x="1192" y="1793"/>
                  <a:pt x="1193" y="1792"/>
                </a:cubicBezTo>
                <a:cubicBezTo>
                  <a:pt x="1194" y="1792"/>
                  <a:pt x="1195" y="1793"/>
                  <a:pt x="1196" y="1793"/>
                </a:cubicBezTo>
                <a:cubicBezTo>
                  <a:pt x="1197" y="1793"/>
                  <a:pt x="1198" y="1794"/>
                  <a:pt x="1198" y="1795"/>
                </a:cubicBezTo>
                <a:lnTo>
                  <a:pt x="1234" y="1830"/>
                </a:lnTo>
                <a:cubicBezTo>
                  <a:pt x="1235" y="1832"/>
                  <a:pt x="1236" y="1833"/>
                  <a:pt x="1236" y="1834"/>
                </a:cubicBezTo>
                <a:cubicBezTo>
                  <a:pt x="1237" y="1836"/>
                  <a:pt x="1237" y="1837"/>
                  <a:pt x="1236" y="1839"/>
                </a:cubicBezTo>
                <a:cubicBezTo>
                  <a:pt x="1235" y="1841"/>
                  <a:pt x="1234" y="1844"/>
                  <a:pt x="1233" y="1847"/>
                </a:cubicBezTo>
                <a:cubicBezTo>
                  <a:pt x="1232" y="1850"/>
                  <a:pt x="1230" y="1853"/>
                  <a:pt x="1228" y="1856"/>
                </a:cubicBezTo>
                <a:cubicBezTo>
                  <a:pt x="1227" y="1859"/>
                  <a:pt x="1225" y="1862"/>
                  <a:pt x="1222" y="1864"/>
                </a:cubicBezTo>
                <a:cubicBezTo>
                  <a:pt x="1220" y="1867"/>
                  <a:pt x="1218" y="1870"/>
                  <a:pt x="1216" y="1872"/>
                </a:cubicBezTo>
                <a:cubicBezTo>
                  <a:pt x="1209" y="1879"/>
                  <a:pt x="1201" y="1884"/>
                  <a:pt x="1193" y="1888"/>
                </a:cubicBezTo>
                <a:cubicBezTo>
                  <a:pt x="1185" y="1891"/>
                  <a:pt x="1177" y="1893"/>
                  <a:pt x="1169" y="1893"/>
                </a:cubicBezTo>
                <a:cubicBezTo>
                  <a:pt x="1161" y="1892"/>
                  <a:pt x="1153" y="1890"/>
                  <a:pt x="1146" y="1887"/>
                </a:cubicBezTo>
                <a:cubicBezTo>
                  <a:pt x="1138" y="1883"/>
                  <a:pt x="1130" y="1878"/>
                  <a:pt x="1123" y="1871"/>
                </a:cubicBezTo>
                <a:cubicBezTo>
                  <a:pt x="1116" y="1863"/>
                  <a:pt x="1110" y="1855"/>
                  <a:pt x="1107" y="1847"/>
                </a:cubicBezTo>
                <a:cubicBezTo>
                  <a:pt x="1103" y="1839"/>
                  <a:pt x="1101" y="1831"/>
                  <a:pt x="1101" y="1823"/>
                </a:cubicBezTo>
                <a:cubicBezTo>
                  <a:pt x="1101" y="1814"/>
                  <a:pt x="1102" y="1806"/>
                  <a:pt x="1105" y="1798"/>
                </a:cubicBezTo>
                <a:cubicBezTo>
                  <a:pt x="1109" y="1790"/>
                  <a:pt x="1114" y="1783"/>
                  <a:pt x="1121" y="1776"/>
                </a:cubicBezTo>
                <a:cubicBezTo>
                  <a:pt x="1124" y="1772"/>
                  <a:pt x="1128" y="1769"/>
                  <a:pt x="1132" y="1767"/>
                </a:cubicBezTo>
                <a:cubicBezTo>
                  <a:pt x="1136" y="1764"/>
                  <a:pt x="1139" y="1762"/>
                  <a:pt x="1142" y="1761"/>
                </a:cubicBezTo>
                <a:cubicBezTo>
                  <a:pt x="1146" y="1759"/>
                  <a:pt x="1148" y="1758"/>
                  <a:pt x="1151" y="1757"/>
                </a:cubicBezTo>
                <a:cubicBezTo>
                  <a:pt x="1154" y="1757"/>
                  <a:pt x="1156" y="1756"/>
                  <a:pt x="1157" y="1756"/>
                </a:cubicBezTo>
                <a:cubicBezTo>
                  <a:pt x="1158" y="1756"/>
                  <a:pt x="1159" y="1757"/>
                  <a:pt x="1160" y="1757"/>
                </a:cubicBezTo>
                <a:cubicBezTo>
                  <a:pt x="1161" y="1758"/>
                  <a:pt x="1163" y="1759"/>
                  <a:pt x="1164" y="1760"/>
                </a:cubicBezTo>
                <a:close/>
                <a:moveTo>
                  <a:pt x="1239" y="1721"/>
                </a:moveTo>
                <a:cubicBezTo>
                  <a:pt x="1241" y="1722"/>
                  <a:pt x="1241" y="1723"/>
                  <a:pt x="1242" y="1724"/>
                </a:cubicBezTo>
                <a:cubicBezTo>
                  <a:pt x="1243" y="1725"/>
                  <a:pt x="1243" y="1725"/>
                  <a:pt x="1243" y="1726"/>
                </a:cubicBezTo>
                <a:cubicBezTo>
                  <a:pt x="1244" y="1727"/>
                  <a:pt x="1244" y="1727"/>
                  <a:pt x="1244" y="1727"/>
                </a:cubicBezTo>
                <a:cubicBezTo>
                  <a:pt x="1244" y="1728"/>
                  <a:pt x="1244" y="1728"/>
                  <a:pt x="1243" y="1729"/>
                </a:cubicBezTo>
                <a:cubicBezTo>
                  <a:pt x="1243" y="1729"/>
                  <a:pt x="1242" y="1729"/>
                  <a:pt x="1242" y="1730"/>
                </a:cubicBezTo>
                <a:cubicBezTo>
                  <a:pt x="1241" y="1730"/>
                  <a:pt x="1240" y="1731"/>
                  <a:pt x="1239" y="1731"/>
                </a:cubicBezTo>
                <a:cubicBezTo>
                  <a:pt x="1238" y="1731"/>
                  <a:pt x="1237" y="1732"/>
                  <a:pt x="1236" y="1733"/>
                </a:cubicBezTo>
                <a:cubicBezTo>
                  <a:pt x="1235" y="1733"/>
                  <a:pt x="1234" y="1734"/>
                  <a:pt x="1233" y="1735"/>
                </a:cubicBezTo>
                <a:cubicBezTo>
                  <a:pt x="1232" y="1736"/>
                  <a:pt x="1231" y="1738"/>
                  <a:pt x="1230" y="1739"/>
                </a:cubicBezTo>
                <a:cubicBezTo>
                  <a:pt x="1230" y="1741"/>
                  <a:pt x="1229" y="1743"/>
                  <a:pt x="1229" y="1745"/>
                </a:cubicBezTo>
                <a:cubicBezTo>
                  <a:pt x="1229" y="1748"/>
                  <a:pt x="1229" y="1751"/>
                  <a:pt x="1229" y="1754"/>
                </a:cubicBezTo>
                <a:cubicBezTo>
                  <a:pt x="1230" y="1757"/>
                  <a:pt x="1230" y="1761"/>
                  <a:pt x="1231" y="1765"/>
                </a:cubicBezTo>
                <a:lnTo>
                  <a:pt x="1274" y="1808"/>
                </a:lnTo>
                <a:cubicBezTo>
                  <a:pt x="1274" y="1808"/>
                  <a:pt x="1275" y="1808"/>
                  <a:pt x="1275" y="1809"/>
                </a:cubicBezTo>
                <a:cubicBezTo>
                  <a:pt x="1275" y="1809"/>
                  <a:pt x="1275" y="1810"/>
                  <a:pt x="1274" y="1810"/>
                </a:cubicBezTo>
                <a:cubicBezTo>
                  <a:pt x="1274" y="1811"/>
                  <a:pt x="1274" y="1812"/>
                  <a:pt x="1273" y="1813"/>
                </a:cubicBezTo>
                <a:cubicBezTo>
                  <a:pt x="1272" y="1814"/>
                  <a:pt x="1271" y="1815"/>
                  <a:pt x="1270" y="1816"/>
                </a:cubicBezTo>
                <a:cubicBezTo>
                  <a:pt x="1269" y="1817"/>
                  <a:pt x="1268" y="1818"/>
                  <a:pt x="1267" y="1819"/>
                </a:cubicBezTo>
                <a:cubicBezTo>
                  <a:pt x="1266" y="1819"/>
                  <a:pt x="1266" y="1820"/>
                  <a:pt x="1265" y="1820"/>
                </a:cubicBezTo>
                <a:cubicBezTo>
                  <a:pt x="1264" y="1820"/>
                  <a:pt x="1264" y="1820"/>
                  <a:pt x="1263" y="1820"/>
                </a:cubicBezTo>
                <a:cubicBezTo>
                  <a:pt x="1263" y="1820"/>
                  <a:pt x="1262" y="1820"/>
                  <a:pt x="1262" y="1819"/>
                </a:cubicBezTo>
                <a:lnTo>
                  <a:pt x="1197" y="1755"/>
                </a:lnTo>
                <a:cubicBezTo>
                  <a:pt x="1197" y="1754"/>
                  <a:pt x="1197" y="1754"/>
                  <a:pt x="1197" y="1754"/>
                </a:cubicBezTo>
                <a:cubicBezTo>
                  <a:pt x="1197" y="1753"/>
                  <a:pt x="1197" y="1753"/>
                  <a:pt x="1197" y="1752"/>
                </a:cubicBezTo>
                <a:cubicBezTo>
                  <a:pt x="1197" y="1751"/>
                  <a:pt x="1197" y="1751"/>
                  <a:pt x="1198" y="1750"/>
                </a:cubicBezTo>
                <a:cubicBezTo>
                  <a:pt x="1199" y="1749"/>
                  <a:pt x="1200" y="1748"/>
                  <a:pt x="1201" y="1747"/>
                </a:cubicBezTo>
                <a:cubicBezTo>
                  <a:pt x="1202" y="1746"/>
                  <a:pt x="1203" y="1745"/>
                  <a:pt x="1203" y="1745"/>
                </a:cubicBezTo>
                <a:cubicBezTo>
                  <a:pt x="1204" y="1744"/>
                  <a:pt x="1205" y="1744"/>
                  <a:pt x="1205" y="1744"/>
                </a:cubicBezTo>
                <a:cubicBezTo>
                  <a:pt x="1206" y="1743"/>
                  <a:pt x="1206" y="1743"/>
                  <a:pt x="1207" y="1743"/>
                </a:cubicBezTo>
                <a:cubicBezTo>
                  <a:pt x="1207" y="1744"/>
                  <a:pt x="1208" y="1744"/>
                  <a:pt x="1208" y="1744"/>
                </a:cubicBezTo>
                <a:lnTo>
                  <a:pt x="1218" y="1754"/>
                </a:lnTo>
                <a:cubicBezTo>
                  <a:pt x="1217" y="1749"/>
                  <a:pt x="1216" y="1745"/>
                  <a:pt x="1216" y="1742"/>
                </a:cubicBezTo>
                <a:cubicBezTo>
                  <a:pt x="1216" y="1739"/>
                  <a:pt x="1216" y="1736"/>
                  <a:pt x="1217" y="1734"/>
                </a:cubicBezTo>
                <a:cubicBezTo>
                  <a:pt x="1217" y="1732"/>
                  <a:pt x="1218" y="1730"/>
                  <a:pt x="1219" y="1728"/>
                </a:cubicBezTo>
                <a:cubicBezTo>
                  <a:pt x="1220" y="1726"/>
                  <a:pt x="1221" y="1725"/>
                  <a:pt x="1223" y="1723"/>
                </a:cubicBezTo>
                <a:cubicBezTo>
                  <a:pt x="1223" y="1723"/>
                  <a:pt x="1224" y="1722"/>
                  <a:pt x="1225" y="1721"/>
                </a:cubicBezTo>
                <a:cubicBezTo>
                  <a:pt x="1226" y="1721"/>
                  <a:pt x="1227" y="1720"/>
                  <a:pt x="1228" y="1719"/>
                </a:cubicBezTo>
                <a:cubicBezTo>
                  <a:pt x="1229" y="1718"/>
                  <a:pt x="1230" y="1718"/>
                  <a:pt x="1231" y="1717"/>
                </a:cubicBezTo>
                <a:cubicBezTo>
                  <a:pt x="1232" y="1717"/>
                  <a:pt x="1232" y="1717"/>
                  <a:pt x="1233" y="1717"/>
                </a:cubicBezTo>
                <a:cubicBezTo>
                  <a:pt x="1233" y="1717"/>
                  <a:pt x="1234" y="1717"/>
                  <a:pt x="1234" y="1717"/>
                </a:cubicBezTo>
                <a:cubicBezTo>
                  <a:pt x="1234" y="1717"/>
                  <a:pt x="1235" y="1717"/>
                  <a:pt x="1235" y="1717"/>
                </a:cubicBezTo>
                <a:cubicBezTo>
                  <a:pt x="1236" y="1718"/>
                  <a:pt x="1236" y="1718"/>
                  <a:pt x="1237" y="1719"/>
                </a:cubicBezTo>
                <a:cubicBezTo>
                  <a:pt x="1237" y="1719"/>
                  <a:pt x="1238" y="1720"/>
                  <a:pt x="1239" y="1721"/>
                </a:cubicBezTo>
                <a:close/>
                <a:moveTo>
                  <a:pt x="1330" y="1751"/>
                </a:moveTo>
                <a:cubicBezTo>
                  <a:pt x="1331" y="1751"/>
                  <a:pt x="1331" y="1752"/>
                  <a:pt x="1331" y="1752"/>
                </a:cubicBezTo>
                <a:cubicBezTo>
                  <a:pt x="1331" y="1753"/>
                  <a:pt x="1331" y="1753"/>
                  <a:pt x="1331" y="1754"/>
                </a:cubicBezTo>
                <a:cubicBezTo>
                  <a:pt x="1331" y="1755"/>
                  <a:pt x="1330" y="1755"/>
                  <a:pt x="1330" y="1756"/>
                </a:cubicBezTo>
                <a:cubicBezTo>
                  <a:pt x="1329" y="1757"/>
                  <a:pt x="1328" y="1758"/>
                  <a:pt x="1327" y="1759"/>
                </a:cubicBezTo>
                <a:cubicBezTo>
                  <a:pt x="1326" y="1760"/>
                  <a:pt x="1325" y="1761"/>
                  <a:pt x="1324" y="1762"/>
                </a:cubicBezTo>
                <a:cubicBezTo>
                  <a:pt x="1323" y="1763"/>
                  <a:pt x="1322" y="1763"/>
                  <a:pt x="1321" y="1763"/>
                </a:cubicBezTo>
                <a:cubicBezTo>
                  <a:pt x="1321" y="1764"/>
                  <a:pt x="1320" y="1764"/>
                  <a:pt x="1320" y="1764"/>
                </a:cubicBezTo>
                <a:cubicBezTo>
                  <a:pt x="1319" y="1764"/>
                  <a:pt x="1319" y="1763"/>
                  <a:pt x="1319" y="1763"/>
                </a:cubicBezTo>
                <a:lnTo>
                  <a:pt x="1254" y="1698"/>
                </a:lnTo>
                <a:cubicBezTo>
                  <a:pt x="1254" y="1698"/>
                  <a:pt x="1253" y="1698"/>
                  <a:pt x="1253" y="1697"/>
                </a:cubicBezTo>
                <a:cubicBezTo>
                  <a:pt x="1253" y="1697"/>
                  <a:pt x="1253" y="1696"/>
                  <a:pt x="1254" y="1695"/>
                </a:cubicBezTo>
                <a:cubicBezTo>
                  <a:pt x="1254" y="1695"/>
                  <a:pt x="1254" y="1694"/>
                  <a:pt x="1255" y="1693"/>
                </a:cubicBezTo>
                <a:cubicBezTo>
                  <a:pt x="1256" y="1692"/>
                  <a:pt x="1257" y="1691"/>
                  <a:pt x="1258" y="1690"/>
                </a:cubicBezTo>
                <a:cubicBezTo>
                  <a:pt x="1259" y="1689"/>
                  <a:pt x="1260" y="1688"/>
                  <a:pt x="1261" y="1687"/>
                </a:cubicBezTo>
                <a:cubicBezTo>
                  <a:pt x="1262" y="1687"/>
                  <a:pt x="1262" y="1686"/>
                  <a:pt x="1263" y="1686"/>
                </a:cubicBezTo>
                <a:cubicBezTo>
                  <a:pt x="1264" y="1686"/>
                  <a:pt x="1264" y="1686"/>
                  <a:pt x="1265" y="1686"/>
                </a:cubicBezTo>
                <a:cubicBezTo>
                  <a:pt x="1265" y="1686"/>
                  <a:pt x="1266" y="1686"/>
                  <a:pt x="1266" y="1686"/>
                </a:cubicBezTo>
                <a:lnTo>
                  <a:pt x="1330" y="1751"/>
                </a:lnTo>
                <a:close/>
                <a:moveTo>
                  <a:pt x="1245" y="1663"/>
                </a:moveTo>
                <a:cubicBezTo>
                  <a:pt x="1248" y="1666"/>
                  <a:pt x="1250" y="1668"/>
                  <a:pt x="1249" y="1670"/>
                </a:cubicBezTo>
                <a:cubicBezTo>
                  <a:pt x="1249" y="1673"/>
                  <a:pt x="1248" y="1675"/>
                  <a:pt x="1245" y="1678"/>
                </a:cubicBezTo>
                <a:cubicBezTo>
                  <a:pt x="1242" y="1681"/>
                  <a:pt x="1240" y="1682"/>
                  <a:pt x="1238" y="1682"/>
                </a:cubicBezTo>
                <a:cubicBezTo>
                  <a:pt x="1236" y="1682"/>
                  <a:pt x="1234" y="1681"/>
                  <a:pt x="1231" y="1678"/>
                </a:cubicBezTo>
                <a:cubicBezTo>
                  <a:pt x="1228" y="1675"/>
                  <a:pt x="1227" y="1673"/>
                  <a:pt x="1227" y="1671"/>
                </a:cubicBezTo>
                <a:cubicBezTo>
                  <a:pt x="1227" y="1669"/>
                  <a:pt x="1228" y="1666"/>
                  <a:pt x="1231" y="1663"/>
                </a:cubicBezTo>
                <a:cubicBezTo>
                  <a:pt x="1234" y="1661"/>
                  <a:pt x="1236" y="1659"/>
                  <a:pt x="1238" y="1659"/>
                </a:cubicBezTo>
                <a:cubicBezTo>
                  <a:pt x="1240" y="1659"/>
                  <a:pt x="1243" y="1660"/>
                  <a:pt x="1245" y="1663"/>
                </a:cubicBezTo>
                <a:close/>
                <a:moveTo>
                  <a:pt x="1408" y="1674"/>
                </a:moveTo>
                <a:cubicBezTo>
                  <a:pt x="1408" y="1674"/>
                  <a:pt x="1409" y="1674"/>
                  <a:pt x="1409" y="1675"/>
                </a:cubicBezTo>
                <a:cubicBezTo>
                  <a:pt x="1409" y="1675"/>
                  <a:pt x="1409" y="1676"/>
                  <a:pt x="1409" y="1676"/>
                </a:cubicBezTo>
                <a:cubicBezTo>
                  <a:pt x="1408" y="1677"/>
                  <a:pt x="1408" y="1678"/>
                  <a:pt x="1407" y="1678"/>
                </a:cubicBezTo>
                <a:cubicBezTo>
                  <a:pt x="1407" y="1679"/>
                  <a:pt x="1406" y="1680"/>
                  <a:pt x="1405" y="1681"/>
                </a:cubicBezTo>
                <a:cubicBezTo>
                  <a:pt x="1404" y="1682"/>
                  <a:pt x="1403" y="1683"/>
                  <a:pt x="1402" y="1683"/>
                </a:cubicBezTo>
                <a:cubicBezTo>
                  <a:pt x="1402" y="1684"/>
                  <a:pt x="1401" y="1684"/>
                  <a:pt x="1400" y="1685"/>
                </a:cubicBezTo>
                <a:cubicBezTo>
                  <a:pt x="1400" y="1685"/>
                  <a:pt x="1399" y="1685"/>
                  <a:pt x="1399" y="1685"/>
                </a:cubicBezTo>
                <a:cubicBezTo>
                  <a:pt x="1398" y="1685"/>
                  <a:pt x="1398" y="1685"/>
                  <a:pt x="1397" y="1684"/>
                </a:cubicBezTo>
                <a:lnTo>
                  <a:pt x="1389" y="1676"/>
                </a:lnTo>
                <a:cubicBezTo>
                  <a:pt x="1389" y="1683"/>
                  <a:pt x="1388" y="1689"/>
                  <a:pt x="1387" y="1695"/>
                </a:cubicBezTo>
                <a:cubicBezTo>
                  <a:pt x="1385" y="1701"/>
                  <a:pt x="1382" y="1706"/>
                  <a:pt x="1378" y="1710"/>
                </a:cubicBezTo>
                <a:cubicBezTo>
                  <a:pt x="1373" y="1715"/>
                  <a:pt x="1368" y="1718"/>
                  <a:pt x="1363" y="1719"/>
                </a:cubicBezTo>
                <a:cubicBezTo>
                  <a:pt x="1358" y="1721"/>
                  <a:pt x="1353" y="1721"/>
                  <a:pt x="1347" y="1720"/>
                </a:cubicBezTo>
                <a:cubicBezTo>
                  <a:pt x="1342" y="1719"/>
                  <a:pt x="1337" y="1717"/>
                  <a:pt x="1332" y="1713"/>
                </a:cubicBezTo>
                <a:cubicBezTo>
                  <a:pt x="1327" y="1710"/>
                  <a:pt x="1322" y="1706"/>
                  <a:pt x="1317" y="1702"/>
                </a:cubicBezTo>
                <a:cubicBezTo>
                  <a:pt x="1311" y="1696"/>
                  <a:pt x="1307" y="1690"/>
                  <a:pt x="1304" y="1685"/>
                </a:cubicBezTo>
                <a:cubicBezTo>
                  <a:pt x="1300" y="1679"/>
                  <a:pt x="1298" y="1673"/>
                  <a:pt x="1298" y="1668"/>
                </a:cubicBezTo>
                <a:cubicBezTo>
                  <a:pt x="1297" y="1662"/>
                  <a:pt x="1297" y="1657"/>
                  <a:pt x="1299" y="1652"/>
                </a:cubicBezTo>
                <a:cubicBezTo>
                  <a:pt x="1301" y="1647"/>
                  <a:pt x="1304" y="1642"/>
                  <a:pt x="1308" y="1637"/>
                </a:cubicBezTo>
                <a:cubicBezTo>
                  <a:pt x="1312" y="1634"/>
                  <a:pt x="1317" y="1631"/>
                  <a:pt x="1321" y="1629"/>
                </a:cubicBezTo>
                <a:cubicBezTo>
                  <a:pt x="1326" y="1628"/>
                  <a:pt x="1332" y="1627"/>
                  <a:pt x="1338" y="1627"/>
                </a:cubicBezTo>
                <a:lnTo>
                  <a:pt x="1300" y="1590"/>
                </a:lnTo>
                <a:cubicBezTo>
                  <a:pt x="1300" y="1590"/>
                  <a:pt x="1300" y="1589"/>
                  <a:pt x="1300" y="1589"/>
                </a:cubicBezTo>
                <a:cubicBezTo>
                  <a:pt x="1300" y="1588"/>
                  <a:pt x="1300" y="1588"/>
                  <a:pt x="1300" y="1587"/>
                </a:cubicBezTo>
                <a:cubicBezTo>
                  <a:pt x="1300" y="1586"/>
                  <a:pt x="1301" y="1586"/>
                  <a:pt x="1301" y="1585"/>
                </a:cubicBezTo>
                <a:cubicBezTo>
                  <a:pt x="1302" y="1584"/>
                  <a:pt x="1303" y="1583"/>
                  <a:pt x="1304" y="1582"/>
                </a:cubicBezTo>
                <a:cubicBezTo>
                  <a:pt x="1305" y="1580"/>
                  <a:pt x="1306" y="1580"/>
                  <a:pt x="1307" y="1579"/>
                </a:cubicBezTo>
                <a:cubicBezTo>
                  <a:pt x="1308" y="1578"/>
                  <a:pt x="1309" y="1578"/>
                  <a:pt x="1309" y="1578"/>
                </a:cubicBezTo>
                <a:cubicBezTo>
                  <a:pt x="1310" y="1577"/>
                  <a:pt x="1310" y="1577"/>
                  <a:pt x="1311" y="1577"/>
                </a:cubicBezTo>
                <a:cubicBezTo>
                  <a:pt x="1312" y="1577"/>
                  <a:pt x="1312" y="1578"/>
                  <a:pt x="1312" y="1578"/>
                </a:cubicBezTo>
                <a:lnTo>
                  <a:pt x="1408" y="1674"/>
                </a:lnTo>
                <a:close/>
                <a:moveTo>
                  <a:pt x="1351" y="1640"/>
                </a:moveTo>
                <a:cubicBezTo>
                  <a:pt x="1343" y="1639"/>
                  <a:pt x="1337" y="1639"/>
                  <a:pt x="1332" y="1640"/>
                </a:cubicBezTo>
                <a:cubicBezTo>
                  <a:pt x="1327" y="1641"/>
                  <a:pt x="1323" y="1643"/>
                  <a:pt x="1320" y="1647"/>
                </a:cubicBezTo>
                <a:cubicBezTo>
                  <a:pt x="1317" y="1650"/>
                  <a:pt x="1315" y="1653"/>
                  <a:pt x="1314" y="1656"/>
                </a:cubicBezTo>
                <a:cubicBezTo>
                  <a:pt x="1313" y="1660"/>
                  <a:pt x="1314" y="1663"/>
                  <a:pt x="1315" y="1667"/>
                </a:cubicBezTo>
                <a:cubicBezTo>
                  <a:pt x="1316" y="1671"/>
                  <a:pt x="1317" y="1674"/>
                  <a:pt x="1320" y="1678"/>
                </a:cubicBezTo>
                <a:cubicBezTo>
                  <a:pt x="1322" y="1682"/>
                  <a:pt x="1325" y="1685"/>
                  <a:pt x="1328" y="1688"/>
                </a:cubicBezTo>
                <a:cubicBezTo>
                  <a:pt x="1331" y="1691"/>
                  <a:pt x="1335" y="1694"/>
                  <a:pt x="1338" y="1697"/>
                </a:cubicBezTo>
                <a:cubicBezTo>
                  <a:pt x="1342" y="1699"/>
                  <a:pt x="1346" y="1701"/>
                  <a:pt x="1349" y="1702"/>
                </a:cubicBezTo>
                <a:cubicBezTo>
                  <a:pt x="1353" y="1704"/>
                  <a:pt x="1356" y="1704"/>
                  <a:pt x="1360" y="1703"/>
                </a:cubicBezTo>
                <a:cubicBezTo>
                  <a:pt x="1363" y="1703"/>
                  <a:pt x="1367" y="1701"/>
                  <a:pt x="1370" y="1698"/>
                </a:cubicBezTo>
                <a:cubicBezTo>
                  <a:pt x="1371" y="1696"/>
                  <a:pt x="1373" y="1694"/>
                  <a:pt x="1374" y="1693"/>
                </a:cubicBezTo>
                <a:cubicBezTo>
                  <a:pt x="1375" y="1691"/>
                  <a:pt x="1376" y="1688"/>
                  <a:pt x="1376" y="1686"/>
                </a:cubicBezTo>
                <a:cubicBezTo>
                  <a:pt x="1377" y="1683"/>
                  <a:pt x="1377" y="1680"/>
                  <a:pt x="1377" y="1677"/>
                </a:cubicBezTo>
                <a:cubicBezTo>
                  <a:pt x="1377" y="1674"/>
                  <a:pt x="1377" y="1670"/>
                  <a:pt x="1376" y="1666"/>
                </a:cubicBezTo>
                <a:lnTo>
                  <a:pt x="1351" y="1640"/>
                </a:lnTo>
                <a:close/>
                <a:moveTo>
                  <a:pt x="1479" y="1602"/>
                </a:moveTo>
                <a:cubicBezTo>
                  <a:pt x="1480" y="1602"/>
                  <a:pt x="1480" y="1603"/>
                  <a:pt x="1480" y="1603"/>
                </a:cubicBezTo>
                <a:cubicBezTo>
                  <a:pt x="1480" y="1604"/>
                  <a:pt x="1480" y="1604"/>
                  <a:pt x="1480" y="1605"/>
                </a:cubicBezTo>
                <a:cubicBezTo>
                  <a:pt x="1479" y="1606"/>
                  <a:pt x="1479" y="1606"/>
                  <a:pt x="1478" y="1607"/>
                </a:cubicBezTo>
                <a:cubicBezTo>
                  <a:pt x="1478" y="1608"/>
                  <a:pt x="1477" y="1609"/>
                  <a:pt x="1475" y="1611"/>
                </a:cubicBezTo>
                <a:cubicBezTo>
                  <a:pt x="1474" y="1612"/>
                  <a:pt x="1473" y="1613"/>
                  <a:pt x="1472" y="1613"/>
                </a:cubicBezTo>
                <a:cubicBezTo>
                  <a:pt x="1471" y="1614"/>
                  <a:pt x="1471" y="1614"/>
                  <a:pt x="1470" y="1615"/>
                </a:cubicBezTo>
                <a:cubicBezTo>
                  <a:pt x="1469" y="1615"/>
                  <a:pt x="1469" y="1615"/>
                  <a:pt x="1468" y="1615"/>
                </a:cubicBezTo>
                <a:cubicBezTo>
                  <a:pt x="1468" y="1615"/>
                  <a:pt x="1467" y="1615"/>
                  <a:pt x="1467" y="1614"/>
                </a:cubicBezTo>
                <a:lnTo>
                  <a:pt x="1378" y="1525"/>
                </a:lnTo>
                <a:cubicBezTo>
                  <a:pt x="1377" y="1525"/>
                  <a:pt x="1377" y="1524"/>
                  <a:pt x="1377" y="1524"/>
                </a:cubicBezTo>
                <a:cubicBezTo>
                  <a:pt x="1377" y="1523"/>
                  <a:pt x="1377" y="1523"/>
                  <a:pt x="1378" y="1522"/>
                </a:cubicBezTo>
                <a:cubicBezTo>
                  <a:pt x="1378" y="1521"/>
                  <a:pt x="1378" y="1521"/>
                  <a:pt x="1379" y="1520"/>
                </a:cubicBezTo>
                <a:cubicBezTo>
                  <a:pt x="1380" y="1519"/>
                  <a:pt x="1381" y="1518"/>
                  <a:pt x="1382" y="1517"/>
                </a:cubicBezTo>
                <a:cubicBezTo>
                  <a:pt x="1383" y="1516"/>
                  <a:pt x="1384" y="1515"/>
                  <a:pt x="1385" y="1514"/>
                </a:cubicBezTo>
                <a:cubicBezTo>
                  <a:pt x="1386" y="1513"/>
                  <a:pt x="1387" y="1513"/>
                  <a:pt x="1387" y="1512"/>
                </a:cubicBezTo>
                <a:cubicBezTo>
                  <a:pt x="1388" y="1512"/>
                  <a:pt x="1388" y="1512"/>
                  <a:pt x="1389" y="1512"/>
                </a:cubicBezTo>
                <a:cubicBezTo>
                  <a:pt x="1389" y="1512"/>
                  <a:pt x="1390" y="1512"/>
                  <a:pt x="1390" y="1513"/>
                </a:cubicBezTo>
                <a:lnTo>
                  <a:pt x="1479" y="1602"/>
                </a:lnTo>
                <a:close/>
                <a:moveTo>
                  <a:pt x="1555" y="1526"/>
                </a:moveTo>
                <a:cubicBezTo>
                  <a:pt x="1556" y="1527"/>
                  <a:pt x="1556" y="1527"/>
                  <a:pt x="1556" y="1527"/>
                </a:cubicBezTo>
                <a:cubicBezTo>
                  <a:pt x="1556" y="1528"/>
                  <a:pt x="1556" y="1528"/>
                  <a:pt x="1556" y="1529"/>
                </a:cubicBezTo>
                <a:cubicBezTo>
                  <a:pt x="1556" y="1530"/>
                  <a:pt x="1555" y="1530"/>
                  <a:pt x="1554" y="1531"/>
                </a:cubicBezTo>
                <a:cubicBezTo>
                  <a:pt x="1554" y="1532"/>
                  <a:pt x="1553" y="1533"/>
                  <a:pt x="1552" y="1534"/>
                </a:cubicBezTo>
                <a:cubicBezTo>
                  <a:pt x="1550" y="1536"/>
                  <a:pt x="1549" y="1536"/>
                  <a:pt x="1549" y="1537"/>
                </a:cubicBezTo>
                <a:cubicBezTo>
                  <a:pt x="1548" y="1538"/>
                  <a:pt x="1547" y="1538"/>
                  <a:pt x="1546" y="1538"/>
                </a:cubicBezTo>
                <a:cubicBezTo>
                  <a:pt x="1546" y="1539"/>
                  <a:pt x="1545" y="1539"/>
                  <a:pt x="1545" y="1539"/>
                </a:cubicBezTo>
                <a:cubicBezTo>
                  <a:pt x="1544" y="1539"/>
                  <a:pt x="1544" y="1538"/>
                  <a:pt x="1543" y="1538"/>
                </a:cubicBezTo>
                <a:lnTo>
                  <a:pt x="1506" y="1500"/>
                </a:lnTo>
                <a:cubicBezTo>
                  <a:pt x="1502" y="1497"/>
                  <a:pt x="1499" y="1494"/>
                  <a:pt x="1496" y="1492"/>
                </a:cubicBezTo>
                <a:cubicBezTo>
                  <a:pt x="1493" y="1491"/>
                  <a:pt x="1490" y="1489"/>
                  <a:pt x="1488" y="1489"/>
                </a:cubicBezTo>
                <a:cubicBezTo>
                  <a:pt x="1485" y="1488"/>
                  <a:pt x="1482" y="1489"/>
                  <a:pt x="1480" y="1489"/>
                </a:cubicBezTo>
                <a:cubicBezTo>
                  <a:pt x="1477" y="1490"/>
                  <a:pt x="1474" y="1492"/>
                  <a:pt x="1472" y="1494"/>
                </a:cubicBezTo>
                <a:cubicBezTo>
                  <a:pt x="1469" y="1497"/>
                  <a:pt x="1467" y="1501"/>
                  <a:pt x="1466" y="1506"/>
                </a:cubicBezTo>
                <a:cubicBezTo>
                  <a:pt x="1466" y="1511"/>
                  <a:pt x="1466" y="1518"/>
                  <a:pt x="1466" y="1525"/>
                </a:cubicBezTo>
                <a:lnTo>
                  <a:pt x="1512" y="1570"/>
                </a:lnTo>
                <a:cubicBezTo>
                  <a:pt x="1512" y="1570"/>
                  <a:pt x="1512" y="1571"/>
                  <a:pt x="1512" y="1571"/>
                </a:cubicBezTo>
                <a:cubicBezTo>
                  <a:pt x="1512" y="1572"/>
                  <a:pt x="1512" y="1572"/>
                  <a:pt x="1512" y="1573"/>
                </a:cubicBezTo>
                <a:cubicBezTo>
                  <a:pt x="1512" y="1574"/>
                  <a:pt x="1511" y="1574"/>
                  <a:pt x="1511" y="1575"/>
                </a:cubicBezTo>
                <a:cubicBezTo>
                  <a:pt x="1510" y="1576"/>
                  <a:pt x="1509" y="1577"/>
                  <a:pt x="1508" y="1578"/>
                </a:cubicBezTo>
                <a:cubicBezTo>
                  <a:pt x="1507" y="1579"/>
                  <a:pt x="1506" y="1580"/>
                  <a:pt x="1505" y="1581"/>
                </a:cubicBezTo>
                <a:cubicBezTo>
                  <a:pt x="1504" y="1582"/>
                  <a:pt x="1503" y="1582"/>
                  <a:pt x="1503" y="1582"/>
                </a:cubicBezTo>
                <a:cubicBezTo>
                  <a:pt x="1502" y="1583"/>
                  <a:pt x="1501" y="1583"/>
                  <a:pt x="1501" y="1583"/>
                </a:cubicBezTo>
                <a:cubicBezTo>
                  <a:pt x="1500" y="1582"/>
                  <a:pt x="1500" y="1582"/>
                  <a:pt x="1500" y="1582"/>
                </a:cubicBezTo>
                <a:lnTo>
                  <a:pt x="1435" y="1517"/>
                </a:lnTo>
                <a:cubicBezTo>
                  <a:pt x="1435" y="1517"/>
                  <a:pt x="1434" y="1516"/>
                  <a:pt x="1434" y="1516"/>
                </a:cubicBezTo>
                <a:cubicBezTo>
                  <a:pt x="1434" y="1516"/>
                  <a:pt x="1434" y="1515"/>
                  <a:pt x="1434" y="1514"/>
                </a:cubicBezTo>
                <a:cubicBezTo>
                  <a:pt x="1435" y="1514"/>
                  <a:pt x="1435" y="1513"/>
                  <a:pt x="1436" y="1512"/>
                </a:cubicBezTo>
                <a:cubicBezTo>
                  <a:pt x="1436" y="1512"/>
                  <a:pt x="1437" y="1511"/>
                  <a:pt x="1438" y="1510"/>
                </a:cubicBezTo>
                <a:cubicBezTo>
                  <a:pt x="1439" y="1509"/>
                  <a:pt x="1440" y="1508"/>
                  <a:pt x="1441" y="1507"/>
                </a:cubicBezTo>
                <a:cubicBezTo>
                  <a:pt x="1442" y="1506"/>
                  <a:pt x="1442" y="1506"/>
                  <a:pt x="1443" y="1506"/>
                </a:cubicBezTo>
                <a:cubicBezTo>
                  <a:pt x="1444" y="1506"/>
                  <a:pt x="1444" y="1506"/>
                  <a:pt x="1445" y="1506"/>
                </a:cubicBezTo>
                <a:cubicBezTo>
                  <a:pt x="1445" y="1506"/>
                  <a:pt x="1445" y="1506"/>
                  <a:pt x="1446" y="1507"/>
                </a:cubicBezTo>
                <a:lnTo>
                  <a:pt x="1454" y="1515"/>
                </a:lnTo>
                <a:cubicBezTo>
                  <a:pt x="1454" y="1507"/>
                  <a:pt x="1454" y="1501"/>
                  <a:pt x="1456" y="1495"/>
                </a:cubicBezTo>
                <a:cubicBezTo>
                  <a:pt x="1458" y="1490"/>
                  <a:pt x="1461" y="1485"/>
                  <a:pt x="1464" y="1481"/>
                </a:cubicBezTo>
                <a:cubicBezTo>
                  <a:pt x="1469" y="1477"/>
                  <a:pt x="1473" y="1474"/>
                  <a:pt x="1477" y="1473"/>
                </a:cubicBezTo>
                <a:cubicBezTo>
                  <a:pt x="1482" y="1471"/>
                  <a:pt x="1486" y="1471"/>
                  <a:pt x="1490" y="1471"/>
                </a:cubicBezTo>
                <a:cubicBezTo>
                  <a:pt x="1495" y="1472"/>
                  <a:pt x="1499" y="1474"/>
                  <a:pt x="1503" y="1476"/>
                </a:cubicBezTo>
                <a:cubicBezTo>
                  <a:pt x="1507" y="1479"/>
                  <a:pt x="1511" y="1482"/>
                  <a:pt x="1516" y="1487"/>
                </a:cubicBezTo>
                <a:lnTo>
                  <a:pt x="1555" y="1526"/>
                </a:lnTo>
                <a:close/>
                <a:moveTo>
                  <a:pt x="1608" y="1464"/>
                </a:moveTo>
                <a:cubicBezTo>
                  <a:pt x="1609" y="1466"/>
                  <a:pt x="1610" y="1467"/>
                  <a:pt x="1611" y="1468"/>
                </a:cubicBezTo>
                <a:cubicBezTo>
                  <a:pt x="1611" y="1469"/>
                  <a:pt x="1612" y="1470"/>
                  <a:pt x="1612" y="1471"/>
                </a:cubicBezTo>
                <a:cubicBezTo>
                  <a:pt x="1612" y="1471"/>
                  <a:pt x="1611" y="1472"/>
                  <a:pt x="1611" y="1473"/>
                </a:cubicBezTo>
                <a:cubicBezTo>
                  <a:pt x="1611" y="1474"/>
                  <a:pt x="1610" y="1476"/>
                  <a:pt x="1609" y="1477"/>
                </a:cubicBezTo>
                <a:cubicBezTo>
                  <a:pt x="1608" y="1478"/>
                  <a:pt x="1608" y="1479"/>
                  <a:pt x="1607" y="1480"/>
                </a:cubicBezTo>
                <a:cubicBezTo>
                  <a:pt x="1606" y="1482"/>
                  <a:pt x="1605" y="1483"/>
                  <a:pt x="1604" y="1484"/>
                </a:cubicBezTo>
                <a:cubicBezTo>
                  <a:pt x="1600" y="1487"/>
                  <a:pt x="1597" y="1490"/>
                  <a:pt x="1594" y="1491"/>
                </a:cubicBezTo>
                <a:cubicBezTo>
                  <a:pt x="1590" y="1493"/>
                  <a:pt x="1587" y="1493"/>
                  <a:pt x="1584" y="1493"/>
                </a:cubicBezTo>
                <a:cubicBezTo>
                  <a:pt x="1580" y="1493"/>
                  <a:pt x="1577" y="1492"/>
                  <a:pt x="1574" y="1490"/>
                </a:cubicBezTo>
                <a:cubicBezTo>
                  <a:pt x="1570" y="1488"/>
                  <a:pt x="1567" y="1485"/>
                  <a:pt x="1563" y="1481"/>
                </a:cubicBezTo>
                <a:lnTo>
                  <a:pt x="1525" y="1443"/>
                </a:lnTo>
                <a:lnTo>
                  <a:pt x="1516" y="1452"/>
                </a:lnTo>
                <a:cubicBezTo>
                  <a:pt x="1515" y="1453"/>
                  <a:pt x="1514" y="1453"/>
                  <a:pt x="1513" y="1453"/>
                </a:cubicBezTo>
                <a:cubicBezTo>
                  <a:pt x="1512" y="1453"/>
                  <a:pt x="1510" y="1451"/>
                  <a:pt x="1509" y="1450"/>
                </a:cubicBezTo>
                <a:cubicBezTo>
                  <a:pt x="1508" y="1449"/>
                  <a:pt x="1507" y="1448"/>
                  <a:pt x="1507" y="1447"/>
                </a:cubicBezTo>
                <a:cubicBezTo>
                  <a:pt x="1506" y="1447"/>
                  <a:pt x="1506" y="1446"/>
                  <a:pt x="1506" y="1445"/>
                </a:cubicBezTo>
                <a:cubicBezTo>
                  <a:pt x="1505" y="1445"/>
                  <a:pt x="1505" y="1444"/>
                  <a:pt x="1505" y="1444"/>
                </a:cubicBezTo>
                <a:cubicBezTo>
                  <a:pt x="1506" y="1443"/>
                  <a:pt x="1506" y="1443"/>
                  <a:pt x="1506" y="1442"/>
                </a:cubicBezTo>
                <a:lnTo>
                  <a:pt x="1515" y="1433"/>
                </a:lnTo>
                <a:lnTo>
                  <a:pt x="1500" y="1418"/>
                </a:lnTo>
                <a:cubicBezTo>
                  <a:pt x="1499" y="1418"/>
                  <a:pt x="1499" y="1417"/>
                  <a:pt x="1499" y="1417"/>
                </a:cubicBezTo>
                <a:cubicBezTo>
                  <a:pt x="1499" y="1416"/>
                  <a:pt x="1499" y="1416"/>
                  <a:pt x="1499" y="1415"/>
                </a:cubicBezTo>
                <a:cubicBezTo>
                  <a:pt x="1500" y="1414"/>
                  <a:pt x="1500" y="1414"/>
                  <a:pt x="1501" y="1413"/>
                </a:cubicBezTo>
                <a:cubicBezTo>
                  <a:pt x="1501" y="1412"/>
                  <a:pt x="1502" y="1411"/>
                  <a:pt x="1503" y="1410"/>
                </a:cubicBezTo>
                <a:cubicBezTo>
                  <a:pt x="1505" y="1409"/>
                  <a:pt x="1506" y="1408"/>
                  <a:pt x="1506" y="1407"/>
                </a:cubicBezTo>
                <a:cubicBezTo>
                  <a:pt x="1507" y="1406"/>
                  <a:pt x="1508" y="1406"/>
                  <a:pt x="1509" y="1406"/>
                </a:cubicBezTo>
                <a:cubicBezTo>
                  <a:pt x="1509" y="1405"/>
                  <a:pt x="1510" y="1405"/>
                  <a:pt x="1510" y="1406"/>
                </a:cubicBezTo>
                <a:cubicBezTo>
                  <a:pt x="1511" y="1406"/>
                  <a:pt x="1511" y="1406"/>
                  <a:pt x="1512" y="1406"/>
                </a:cubicBezTo>
                <a:lnTo>
                  <a:pt x="1527" y="1422"/>
                </a:lnTo>
                <a:lnTo>
                  <a:pt x="1544" y="1405"/>
                </a:lnTo>
                <a:cubicBezTo>
                  <a:pt x="1544" y="1405"/>
                  <a:pt x="1544" y="1404"/>
                  <a:pt x="1545" y="1404"/>
                </a:cubicBezTo>
                <a:cubicBezTo>
                  <a:pt x="1545" y="1404"/>
                  <a:pt x="1546" y="1404"/>
                  <a:pt x="1546" y="1404"/>
                </a:cubicBezTo>
                <a:cubicBezTo>
                  <a:pt x="1547" y="1404"/>
                  <a:pt x="1548" y="1405"/>
                  <a:pt x="1548" y="1405"/>
                </a:cubicBezTo>
                <a:cubicBezTo>
                  <a:pt x="1549" y="1406"/>
                  <a:pt x="1550" y="1407"/>
                  <a:pt x="1551" y="1408"/>
                </a:cubicBezTo>
                <a:cubicBezTo>
                  <a:pt x="1553" y="1409"/>
                  <a:pt x="1554" y="1411"/>
                  <a:pt x="1554" y="1412"/>
                </a:cubicBezTo>
                <a:cubicBezTo>
                  <a:pt x="1554" y="1413"/>
                  <a:pt x="1554" y="1414"/>
                  <a:pt x="1553" y="1415"/>
                </a:cubicBezTo>
                <a:lnTo>
                  <a:pt x="1537" y="1431"/>
                </a:lnTo>
                <a:lnTo>
                  <a:pt x="1573" y="1467"/>
                </a:lnTo>
                <a:cubicBezTo>
                  <a:pt x="1577" y="1472"/>
                  <a:pt x="1581" y="1475"/>
                  <a:pt x="1585" y="1476"/>
                </a:cubicBezTo>
                <a:cubicBezTo>
                  <a:pt x="1589" y="1476"/>
                  <a:pt x="1592" y="1475"/>
                  <a:pt x="1595" y="1472"/>
                </a:cubicBezTo>
                <a:cubicBezTo>
                  <a:pt x="1597" y="1471"/>
                  <a:pt x="1597" y="1470"/>
                  <a:pt x="1598" y="1469"/>
                </a:cubicBezTo>
                <a:cubicBezTo>
                  <a:pt x="1599" y="1468"/>
                  <a:pt x="1599" y="1467"/>
                  <a:pt x="1600" y="1466"/>
                </a:cubicBezTo>
                <a:cubicBezTo>
                  <a:pt x="1600" y="1465"/>
                  <a:pt x="1600" y="1464"/>
                  <a:pt x="1601" y="1463"/>
                </a:cubicBezTo>
                <a:cubicBezTo>
                  <a:pt x="1601" y="1463"/>
                  <a:pt x="1601" y="1462"/>
                  <a:pt x="1602" y="1462"/>
                </a:cubicBezTo>
                <a:cubicBezTo>
                  <a:pt x="1602" y="1461"/>
                  <a:pt x="1602" y="1461"/>
                  <a:pt x="1603" y="1461"/>
                </a:cubicBezTo>
                <a:cubicBezTo>
                  <a:pt x="1603" y="1461"/>
                  <a:pt x="1603" y="1461"/>
                  <a:pt x="1604" y="1461"/>
                </a:cubicBezTo>
                <a:cubicBezTo>
                  <a:pt x="1604" y="1461"/>
                  <a:pt x="1605" y="1462"/>
                  <a:pt x="1605" y="1462"/>
                </a:cubicBezTo>
                <a:cubicBezTo>
                  <a:pt x="1606" y="1463"/>
                  <a:pt x="1607" y="1463"/>
                  <a:pt x="1608" y="1464"/>
                </a:cubicBezTo>
                <a:close/>
                <a:moveTo>
                  <a:pt x="1644" y="1367"/>
                </a:moveTo>
                <a:cubicBezTo>
                  <a:pt x="1646" y="1369"/>
                  <a:pt x="1647" y="1371"/>
                  <a:pt x="1647" y="1373"/>
                </a:cubicBezTo>
                <a:cubicBezTo>
                  <a:pt x="1647" y="1374"/>
                  <a:pt x="1646" y="1376"/>
                  <a:pt x="1645" y="1377"/>
                </a:cubicBezTo>
                <a:lnTo>
                  <a:pt x="1602" y="1420"/>
                </a:lnTo>
                <a:cubicBezTo>
                  <a:pt x="1606" y="1423"/>
                  <a:pt x="1609" y="1426"/>
                  <a:pt x="1613" y="1428"/>
                </a:cubicBezTo>
                <a:cubicBezTo>
                  <a:pt x="1617" y="1430"/>
                  <a:pt x="1620" y="1432"/>
                  <a:pt x="1624" y="1432"/>
                </a:cubicBezTo>
                <a:cubicBezTo>
                  <a:pt x="1628" y="1432"/>
                  <a:pt x="1631" y="1432"/>
                  <a:pt x="1635" y="1430"/>
                </a:cubicBezTo>
                <a:cubicBezTo>
                  <a:pt x="1639" y="1428"/>
                  <a:pt x="1643" y="1426"/>
                  <a:pt x="1647" y="1422"/>
                </a:cubicBezTo>
                <a:cubicBezTo>
                  <a:pt x="1650" y="1419"/>
                  <a:pt x="1652" y="1416"/>
                  <a:pt x="1654" y="1413"/>
                </a:cubicBezTo>
                <a:cubicBezTo>
                  <a:pt x="1656" y="1410"/>
                  <a:pt x="1658" y="1407"/>
                  <a:pt x="1659" y="1405"/>
                </a:cubicBezTo>
                <a:cubicBezTo>
                  <a:pt x="1660" y="1403"/>
                  <a:pt x="1661" y="1401"/>
                  <a:pt x="1661" y="1399"/>
                </a:cubicBezTo>
                <a:cubicBezTo>
                  <a:pt x="1662" y="1397"/>
                  <a:pt x="1663" y="1396"/>
                  <a:pt x="1663" y="1396"/>
                </a:cubicBezTo>
                <a:cubicBezTo>
                  <a:pt x="1664" y="1395"/>
                  <a:pt x="1664" y="1395"/>
                  <a:pt x="1664" y="1395"/>
                </a:cubicBezTo>
                <a:cubicBezTo>
                  <a:pt x="1665" y="1395"/>
                  <a:pt x="1665" y="1395"/>
                  <a:pt x="1666" y="1395"/>
                </a:cubicBezTo>
                <a:cubicBezTo>
                  <a:pt x="1666" y="1395"/>
                  <a:pt x="1667" y="1396"/>
                  <a:pt x="1667" y="1396"/>
                </a:cubicBezTo>
                <a:cubicBezTo>
                  <a:pt x="1668" y="1397"/>
                  <a:pt x="1669" y="1397"/>
                  <a:pt x="1670" y="1398"/>
                </a:cubicBezTo>
                <a:cubicBezTo>
                  <a:pt x="1670" y="1399"/>
                  <a:pt x="1671" y="1399"/>
                  <a:pt x="1671" y="1400"/>
                </a:cubicBezTo>
                <a:cubicBezTo>
                  <a:pt x="1672" y="1400"/>
                  <a:pt x="1672" y="1401"/>
                  <a:pt x="1672" y="1401"/>
                </a:cubicBezTo>
                <a:cubicBezTo>
                  <a:pt x="1673" y="1402"/>
                  <a:pt x="1673" y="1402"/>
                  <a:pt x="1673" y="1403"/>
                </a:cubicBezTo>
                <a:cubicBezTo>
                  <a:pt x="1673" y="1403"/>
                  <a:pt x="1673" y="1404"/>
                  <a:pt x="1673" y="1404"/>
                </a:cubicBezTo>
                <a:cubicBezTo>
                  <a:pt x="1673" y="1405"/>
                  <a:pt x="1673" y="1406"/>
                  <a:pt x="1672" y="1408"/>
                </a:cubicBezTo>
                <a:cubicBezTo>
                  <a:pt x="1671" y="1410"/>
                  <a:pt x="1670" y="1412"/>
                  <a:pt x="1669" y="1415"/>
                </a:cubicBezTo>
                <a:cubicBezTo>
                  <a:pt x="1667" y="1417"/>
                  <a:pt x="1666" y="1420"/>
                  <a:pt x="1663" y="1423"/>
                </a:cubicBezTo>
                <a:cubicBezTo>
                  <a:pt x="1661" y="1426"/>
                  <a:pt x="1658" y="1430"/>
                  <a:pt x="1655" y="1433"/>
                </a:cubicBezTo>
                <a:cubicBezTo>
                  <a:pt x="1650" y="1438"/>
                  <a:pt x="1645" y="1442"/>
                  <a:pt x="1639" y="1444"/>
                </a:cubicBezTo>
                <a:cubicBezTo>
                  <a:pt x="1634" y="1447"/>
                  <a:pt x="1628" y="1448"/>
                  <a:pt x="1622" y="1448"/>
                </a:cubicBezTo>
                <a:cubicBezTo>
                  <a:pt x="1617" y="1448"/>
                  <a:pt x="1611" y="1446"/>
                  <a:pt x="1605" y="1443"/>
                </a:cubicBezTo>
                <a:cubicBezTo>
                  <a:pt x="1599" y="1440"/>
                  <a:pt x="1594" y="1436"/>
                  <a:pt x="1588" y="1430"/>
                </a:cubicBezTo>
                <a:cubicBezTo>
                  <a:pt x="1582" y="1424"/>
                  <a:pt x="1578" y="1418"/>
                  <a:pt x="1575" y="1413"/>
                </a:cubicBezTo>
                <a:cubicBezTo>
                  <a:pt x="1572" y="1407"/>
                  <a:pt x="1570" y="1401"/>
                  <a:pt x="1570" y="1395"/>
                </a:cubicBezTo>
                <a:cubicBezTo>
                  <a:pt x="1570" y="1389"/>
                  <a:pt x="1570" y="1384"/>
                  <a:pt x="1573" y="1378"/>
                </a:cubicBezTo>
                <a:cubicBezTo>
                  <a:pt x="1575" y="1373"/>
                  <a:pt x="1578" y="1368"/>
                  <a:pt x="1583" y="1363"/>
                </a:cubicBezTo>
                <a:cubicBezTo>
                  <a:pt x="1588" y="1358"/>
                  <a:pt x="1593" y="1354"/>
                  <a:pt x="1598" y="1352"/>
                </a:cubicBezTo>
                <a:cubicBezTo>
                  <a:pt x="1604" y="1350"/>
                  <a:pt x="1609" y="1350"/>
                  <a:pt x="1614" y="1350"/>
                </a:cubicBezTo>
                <a:cubicBezTo>
                  <a:pt x="1619" y="1351"/>
                  <a:pt x="1624" y="1352"/>
                  <a:pt x="1628" y="1355"/>
                </a:cubicBezTo>
                <a:cubicBezTo>
                  <a:pt x="1633" y="1357"/>
                  <a:pt x="1638" y="1361"/>
                  <a:pt x="1642" y="1365"/>
                </a:cubicBezTo>
                <a:lnTo>
                  <a:pt x="1644" y="1367"/>
                </a:lnTo>
                <a:close/>
                <a:moveTo>
                  <a:pt x="1629" y="1376"/>
                </a:moveTo>
                <a:cubicBezTo>
                  <a:pt x="1623" y="1369"/>
                  <a:pt x="1616" y="1366"/>
                  <a:pt x="1610" y="1365"/>
                </a:cubicBezTo>
                <a:cubicBezTo>
                  <a:pt x="1603" y="1364"/>
                  <a:pt x="1597" y="1367"/>
                  <a:pt x="1592" y="1373"/>
                </a:cubicBezTo>
                <a:cubicBezTo>
                  <a:pt x="1589" y="1376"/>
                  <a:pt x="1587" y="1379"/>
                  <a:pt x="1586" y="1382"/>
                </a:cubicBezTo>
                <a:cubicBezTo>
                  <a:pt x="1584" y="1385"/>
                  <a:pt x="1584" y="1389"/>
                  <a:pt x="1584" y="1392"/>
                </a:cubicBezTo>
                <a:cubicBezTo>
                  <a:pt x="1585" y="1395"/>
                  <a:pt x="1586" y="1399"/>
                  <a:pt x="1587" y="1402"/>
                </a:cubicBezTo>
                <a:cubicBezTo>
                  <a:pt x="1589" y="1405"/>
                  <a:pt x="1591" y="1408"/>
                  <a:pt x="1593" y="1411"/>
                </a:cubicBezTo>
                <a:lnTo>
                  <a:pt x="1629" y="1376"/>
                </a:lnTo>
                <a:close/>
                <a:moveTo>
                  <a:pt x="1696" y="1263"/>
                </a:moveTo>
                <a:cubicBezTo>
                  <a:pt x="1697" y="1264"/>
                  <a:pt x="1698" y="1266"/>
                  <a:pt x="1699" y="1267"/>
                </a:cubicBezTo>
                <a:cubicBezTo>
                  <a:pt x="1699" y="1268"/>
                  <a:pt x="1699" y="1269"/>
                  <a:pt x="1698" y="1270"/>
                </a:cubicBezTo>
                <a:lnTo>
                  <a:pt x="1689" y="1279"/>
                </a:lnTo>
                <a:cubicBezTo>
                  <a:pt x="1692" y="1279"/>
                  <a:pt x="1695" y="1280"/>
                  <a:pt x="1698" y="1281"/>
                </a:cubicBezTo>
                <a:cubicBezTo>
                  <a:pt x="1701" y="1283"/>
                  <a:pt x="1703" y="1284"/>
                  <a:pt x="1705" y="1287"/>
                </a:cubicBezTo>
                <a:cubicBezTo>
                  <a:pt x="1709" y="1290"/>
                  <a:pt x="1712" y="1294"/>
                  <a:pt x="1714" y="1298"/>
                </a:cubicBezTo>
                <a:cubicBezTo>
                  <a:pt x="1715" y="1302"/>
                  <a:pt x="1716" y="1307"/>
                  <a:pt x="1716" y="1311"/>
                </a:cubicBezTo>
                <a:cubicBezTo>
                  <a:pt x="1715" y="1315"/>
                  <a:pt x="1714" y="1319"/>
                  <a:pt x="1712" y="1323"/>
                </a:cubicBezTo>
                <a:cubicBezTo>
                  <a:pt x="1710" y="1327"/>
                  <a:pt x="1707" y="1331"/>
                  <a:pt x="1704" y="1335"/>
                </a:cubicBezTo>
                <a:cubicBezTo>
                  <a:pt x="1701" y="1338"/>
                  <a:pt x="1698" y="1340"/>
                  <a:pt x="1695" y="1342"/>
                </a:cubicBezTo>
                <a:cubicBezTo>
                  <a:pt x="1692" y="1343"/>
                  <a:pt x="1689" y="1344"/>
                  <a:pt x="1687" y="1344"/>
                </a:cubicBezTo>
                <a:cubicBezTo>
                  <a:pt x="1687" y="1346"/>
                  <a:pt x="1687" y="1348"/>
                  <a:pt x="1688" y="1349"/>
                </a:cubicBezTo>
                <a:cubicBezTo>
                  <a:pt x="1688" y="1351"/>
                  <a:pt x="1689" y="1353"/>
                  <a:pt x="1691" y="1354"/>
                </a:cubicBezTo>
                <a:cubicBezTo>
                  <a:pt x="1692" y="1356"/>
                  <a:pt x="1695" y="1356"/>
                  <a:pt x="1697" y="1356"/>
                </a:cubicBezTo>
                <a:cubicBezTo>
                  <a:pt x="1700" y="1355"/>
                  <a:pt x="1703" y="1354"/>
                  <a:pt x="1705" y="1352"/>
                </a:cubicBezTo>
                <a:lnTo>
                  <a:pt x="1723" y="1335"/>
                </a:lnTo>
                <a:cubicBezTo>
                  <a:pt x="1726" y="1332"/>
                  <a:pt x="1730" y="1330"/>
                  <a:pt x="1733" y="1328"/>
                </a:cubicBezTo>
                <a:cubicBezTo>
                  <a:pt x="1737" y="1326"/>
                  <a:pt x="1740" y="1325"/>
                  <a:pt x="1743" y="1324"/>
                </a:cubicBezTo>
                <a:cubicBezTo>
                  <a:pt x="1747" y="1324"/>
                  <a:pt x="1750" y="1324"/>
                  <a:pt x="1753" y="1325"/>
                </a:cubicBezTo>
                <a:cubicBezTo>
                  <a:pt x="1757" y="1326"/>
                  <a:pt x="1760" y="1328"/>
                  <a:pt x="1762" y="1331"/>
                </a:cubicBezTo>
                <a:cubicBezTo>
                  <a:pt x="1765" y="1334"/>
                  <a:pt x="1768" y="1337"/>
                  <a:pt x="1769" y="1341"/>
                </a:cubicBezTo>
                <a:cubicBezTo>
                  <a:pt x="1771" y="1345"/>
                  <a:pt x="1771" y="1349"/>
                  <a:pt x="1770" y="1354"/>
                </a:cubicBezTo>
                <a:cubicBezTo>
                  <a:pt x="1770" y="1359"/>
                  <a:pt x="1768" y="1363"/>
                  <a:pt x="1765" y="1369"/>
                </a:cubicBezTo>
                <a:cubicBezTo>
                  <a:pt x="1763" y="1374"/>
                  <a:pt x="1759" y="1379"/>
                  <a:pt x="1753" y="1384"/>
                </a:cubicBezTo>
                <a:cubicBezTo>
                  <a:pt x="1748" y="1390"/>
                  <a:pt x="1743" y="1394"/>
                  <a:pt x="1739" y="1396"/>
                </a:cubicBezTo>
                <a:cubicBezTo>
                  <a:pt x="1734" y="1399"/>
                  <a:pt x="1730" y="1401"/>
                  <a:pt x="1726" y="1402"/>
                </a:cubicBezTo>
                <a:cubicBezTo>
                  <a:pt x="1722" y="1403"/>
                  <a:pt x="1718" y="1402"/>
                  <a:pt x="1715" y="1401"/>
                </a:cubicBezTo>
                <a:cubicBezTo>
                  <a:pt x="1712" y="1400"/>
                  <a:pt x="1709" y="1399"/>
                  <a:pt x="1707" y="1396"/>
                </a:cubicBezTo>
                <a:cubicBezTo>
                  <a:pt x="1705" y="1394"/>
                  <a:pt x="1704" y="1393"/>
                  <a:pt x="1703" y="1391"/>
                </a:cubicBezTo>
                <a:cubicBezTo>
                  <a:pt x="1702" y="1389"/>
                  <a:pt x="1701" y="1387"/>
                  <a:pt x="1700" y="1385"/>
                </a:cubicBezTo>
                <a:cubicBezTo>
                  <a:pt x="1700" y="1383"/>
                  <a:pt x="1699" y="1380"/>
                  <a:pt x="1699" y="1378"/>
                </a:cubicBezTo>
                <a:cubicBezTo>
                  <a:pt x="1699" y="1376"/>
                  <a:pt x="1699" y="1373"/>
                  <a:pt x="1700" y="1370"/>
                </a:cubicBezTo>
                <a:cubicBezTo>
                  <a:pt x="1696" y="1372"/>
                  <a:pt x="1693" y="1372"/>
                  <a:pt x="1690" y="1371"/>
                </a:cubicBezTo>
                <a:cubicBezTo>
                  <a:pt x="1687" y="1370"/>
                  <a:pt x="1685" y="1369"/>
                  <a:pt x="1682" y="1367"/>
                </a:cubicBezTo>
                <a:cubicBezTo>
                  <a:pt x="1680" y="1364"/>
                  <a:pt x="1678" y="1361"/>
                  <a:pt x="1676" y="1357"/>
                </a:cubicBezTo>
                <a:cubicBezTo>
                  <a:pt x="1675" y="1354"/>
                  <a:pt x="1675" y="1350"/>
                  <a:pt x="1675" y="1347"/>
                </a:cubicBezTo>
                <a:cubicBezTo>
                  <a:pt x="1671" y="1346"/>
                  <a:pt x="1668" y="1346"/>
                  <a:pt x="1665" y="1344"/>
                </a:cubicBezTo>
                <a:cubicBezTo>
                  <a:pt x="1662" y="1343"/>
                  <a:pt x="1659" y="1341"/>
                  <a:pt x="1656" y="1337"/>
                </a:cubicBezTo>
                <a:cubicBezTo>
                  <a:pt x="1652" y="1334"/>
                  <a:pt x="1649" y="1330"/>
                  <a:pt x="1648" y="1326"/>
                </a:cubicBezTo>
                <a:cubicBezTo>
                  <a:pt x="1646" y="1321"/>
                  <a:pt x="1645" y="1317"/>
                  <a:pt x="1646" y="1313"/>
                </a:cubicBezTo>
                <a:cubicBezTo>
                  <a:pt x="1646" y="1309"/>
                  <a:pt x="1647" y="1305"/>
                  <a:pt x="1649" y="1300"/>
                </a:cubicBezTo>
                <a:cubicBezTo>
                  <a:pt x="1651" y="1296"/>
                  <a:pt x="1654" y="1292"/>
                  <a:pt x="1657" y="1289"/>
                </a:cubicBezTo>
                <a:cubicBezTo>
                  <a:pt x="1659" y="1287"/>
                  <a:pt x="1661" y="1285"/>
                  <a:pt x="1663" y="1284"/>
                </a:cubicBezTo>
                <a:cubicBezTo>
                  <a:pt x="1665" y="1282"/>
                  <a:pt x="1667" y="1281"/>
                  <a:pt x="1669" y="1280"/>
                </a:cubicBezTo>
                <a:lnTo>
                  <a:pt x="1688" y="1260"/>
                </a:lnTo>
                <a:cubicBezTo>
                  <a:pt x="1689" y="1259"/>
                  <a:pt x="1690" y="1259"/>
                  <a:pt x="1691" y="1260"/>
                </a:cubicBezTo>
                <a:cubicBezTo>
                  <a:pt x="1693" y="1260"/>
                  <a:pt x="1694" y="1261"/>
                  <a:pt x="1696" y="1263"/>
                </a:cubicBezTo>
                <a:close/>
                <a:moveTo>
                  <a:pt x="1694" y="1298"/>
                </a:moveTo>
                <a:cubicBezTo>
                  <a:pt x="1690" y="1294"/>
                  <a:pt x="1685" y="1291"/>
                  <a:pt x="1680" y="1291"/>
                </a:cubicBezTo>
                <a:cubicBezTo>
                  <a:pt x="1675" y="1291"/>
                  <a:pt x="1671" y="1294"/>
                  <a:pt x="1666" y="1298"/>
                </a:cubicBezTo>
                <a:cubicBezTo>
                  <a:pt x="1664" y="1300"/>
                  <a:pt x="1662" y="1303"/>
                  <a:pt x="1661" y="1305"/>
                </a:cubicBezTo>
                <a:cubicBezTo>
                  <a:pt x="1660" y="1308"/>
                  <a:pt x="1660" y="1310"/>
                  <a:pt x="1660" y="1313"/>
                </a:cubicBezTo>
                <a:cubicBezTo>
                  <a:pt x="1660" y="1315"/>
                  <a:pt x="1661" y="1317"/>
                  <a:pt x="1662" y="1320"/>
                </a:cubicBezTo>
                <a:cubicBezTo>
                  <a:pt x="1664" y="1322"/>
                  <a:pt x="1665" y="1324"/>
                  <a:pt x="1667" y="1326"/>
                </a:cubicBezTo>
                <a:cubicBezTo>
                  <a:pt x="1671" y="1330"/>
                  <a:pt x="1676" y="1332"/>
                  <a:pt x="1681" y="1332"/>
                </a:cubicBezTo>
                <a:cubicBezTo>
                  <a:pt x="1686" y="1332"/>
                  <a:pt x="1690" y="1330"/>
                  <a:pt x="1695" y="1326"/>
                </a:cubicBezTo>
                <a:cubicBezTo>
                  <a:pt x="1697" y="1324"/>
                  <a:pt x="1699" y="1321"/>
                  <a:pt x="1700" y="1319"/>
                </a:cubicBezTo>
                <a:cubicBezTo>
                  <a:pt x="1701" y="1316"/>
                  <a:pt x="1701" y="1314"/>
                  <a:pt x="1701" y="1311"/>
                </a:cubicBezTo>
                <a:cubicBezTo>
                  <a:pt x="1701" y="1309"/>
                  <a:pt x="1700" y="1307"/>
                  <a:pt x="1699" y="1304"/>
                </a:cubicBezTo>
                <a:cubicBezTo>
                  <a:pt x="1698" y="1302"/>
                  <a:pt x="1696" y="1300"/>
                  <a:pt x="1694" y="1298"/>
                </a:cubicBezTo>
                <a:close/>
                <a:moveTo>
                  <a:pt x="1751" y="1343"/>
                </a:moveTo>
                <a:cubicBezTo>
                  <a:pt x="1749" y="1341"/>
                  <a:pt x="1745" y="1340"/>
                  <a:pt x="1741" y="1340"/>
                </a:cubicBezTo>
                <a:cubicBezTo>
                  <a:pt x="1738" y="1341"/>
                  <a:pt x="1734" y="1343"/>
                  <a:pt x="1730" y="1347"/>
                </a:cubicBezTo>
                <a:lnTo>
                  <a:pt x="1713" y="1363"/>
                </a:lnTo>
                <a:cubicBezTo>
                  <a:pt x="1712" y="1366"/>
                  <a:pt x="1712" y="1368"/>
                  <a:pt x="1712" y="1370"/>
                </a:cubicBezTo>
                <a:cubicBezTo>
                  <a:pt x="1712" y="1373"/>
                  <a:pt x="1712" y="1374"/>
                  <a:pt x="1713" y="1376"/>
                </a:cubicBezTo>
                <a:cubicBezTo>
                  <a:pt x="1713" y="1377"/>
                  <a:pt x="1714" y="1379"/>
                  <a:pt x="1715" y="1380"/>
                </a:cubicBezTo>
                <a:cubicBezTo>
                  <a:pt x="1715" y="1381"/>
                  <a:pt x="1716" y="1382"/>
                  <a:pt x="1717" y="1383"/>
                </a:cubicBezTo>
                <a:cubicBezTo>
                  <a:pt x="1720" y="1386"/>
                  <a:pt x="1724" y="1387"/>
                  <a:pt x="1729" y="1386"/>
                </a:cubicBezTo>
                <a:cubicBezTo>
                  <a:pt x="1734" y="1384"/>
                  <a:pt x="1739" y="1380"/>
                  <a:pt x="1745" y="1375"/>
                </a:cubicBezTo>
                <a:cubicBezTo>
                  <a:pt x="1748" y="1371"/>
                  <a:pt x="1751" y="1368"/>
                  <a:pt x="1753" y="1365"/>
                </a:cubicBezTo>
                <a:cubicBezTo>
                  <a:pt x="1754" y="1362"/>
                  <a:pt x="1755" y="1359"/>
                  <a:pt x="1756" y="1356"/>
                </a:cubicBezTo>
                <a:cubicBezTo>
                  <a:pt x="1756" y="1353"/>
                  <a:pt x="1756" y="1351"/>
                  <a:pt x="1755" y="1349"/>
                </a:cubicBezTo>
                <a:cubicBezTo>
                  <a:pt x="1754" y="1347"/>
                  <a:pt x="1753" y="1345"/>
                  <a:pt x="1751" y="1343"/>
                </a:cubicBezTo>
                <a:close/>
                <a:moveTo>
                  <a:pt x="1749" y="1212"/>
                </a:moveTo>
                <a:cubicBezTo>
                  <a:pt x="1750" y="1213"/>
                  <a:pt x="1750" y="1214"/>
                  <a:pt x="1751" y="1215"/>
                </a:cubicBezTo>
                <a:cubicBezTo>
                  <a:pt x="1752" y="1216"/>
                  <a:pt x="1752" y="1216"/>
                  <a:pt x="1753" y="1217"/>
                </a:cubicBezTo>
                <a:cubicBezTo>
                  <a:pt x="1753" y="1217"/>
                  <a:pt x="1753" y="1218"/>
                  <a:pt x="1753" y="1218"/>
                </a:cubicBezTo>
                <a:cubicBezTo>
                  <a:pt x="1753" y="1219"/>
                  <a:pt x="1753" y="1219"/>
                  <a:pt x="1752" y="1220"/>
                </a:cubicBezTo>
                <a:cubicBezTo>
                  <a:pt x="1752" y="1220"/>
                  <a:pt x="1751" y="1220"/>
                  <a:pt x="1751" y="1221"/>
                </a:cubicBezTo>
                <a:cubicBezTo>
                  <a:pt x="1750" y="1221"/>
                  <a:pt x="1749" y="1221"/>
                  <a:pt x="1748" y="1222"/>
                </a:cubicBezTo>
                <a:cubicBezTo>
                  <a:pt x="1747" y="1222"/>
                  <a:pt x="1746" y="1223"/>
                  <a:pt x="1745" y="1224"/>
                </a:cubicBezTo>
                <a:cubicBezTo>
                  <a:pt x="1744" y="1224"/>
                  <a:pt x="1743" y="1225"/>
                  <a:pt x="1742" y="1226"/>
                </a:cubicBezTo>
                <a:cubicBezTo>
                  <a:pt x="1741" y="1227"/>
                  <a:pt x="1740" y="1229"/>
                  <a:pt x="1739" y="1230"/>
                </a:cubicBezTo>
                <a:cubicBezTo>
                  <a:pt x="1739" y="1232"/>
                  <a:pt x="1738" y="1234"/>
                  <a:pt x="1738" y="1236"/>
                </a:cubicBezTo>
                <a:cubicBezTo>
                  <a:pt x="1738" y="1239"/>
                  <a:pt x="1738" y="1241"/>
                  <a:pt x="1738" y="1245"/>
                </a:cubicBezTo>
                <a:cubicBezTo>
                  <a:pt x="1739" y="1248"/>
                  <a:pt x="1740" y="1252"/>
                  <a:pt x="1741" y="1256"/>
                </a:cubicBezTo>
                <a:lnTo>
                  <a:pt x="1783" y="1298"/>
                </a:lnTo>
                <a:cubicBezTo>
                  <a:pt x="1783" y="1299"/>
                  <a:pt x="1784" y="1299"/>
                  <a:pt x="1784" y="1300"/>
                </a:cubicBezTo>
                <a:cubicBezTo>
                  <a:pt x="1784" y="1300"/>
                  <a:pt x="1784" y="1301"/>
                  <a:pt x="1783" y="1301"/>
                </a:cubicBezTo>
                <a:cubicBezTo>
                  <a:pt x="1783" y="1302"/>
                  <a:pt x="1783" y="1303"/>
                  <a:pt x="1782" y="1304"/>
                </a:cubicBezTo>
                <a:cubicBezTo>
                  <a:pt x="1781" y="1304"/>
                  <a:pt x="1781" y="1305"/>
                  <a:pt x="1779" y="1307"/>
                </a:cubicBezTo>
                <a:cubicBezTo>
                  <a:pt x="1778" y="1308"/>
                  <a:pt x="1777" y="1309"/>
                  <a:pt x="1776" y="1309"/>
                </a:cubicBezTo>
                <a:cubicBezTo>
                  <a:pt x="1775" y="1310"/>
                  <a:pt x="1775" y="1311"/>
                  <a:pt x="1774" y="1311"/>
                </a:cubicBezTo>
                <a:cubicBezTo>
                  <a:pt x="1773" y="1311"/>
                  <a:pt x="1773" y="1311"/>
                  <a:pt x="1772" y="1311"/>
                </a:cubicBezTo>
                <a:cubicBezTo>
                  <a:pt x="1772" y="1311"/>
                  <a:pt x="1772" y="1311"/>
                  <a:pt x="1771" y="1310"/>
                </a:cubicBezTo>
                <a:lnTo>
                  <a:pt x="1707" y="1246"/>
                </a:lnTo>
                <a:cubicBezTo>
                  <a:pt x="1706" y="1245"/>
                  <a:pt x="1706" y="1245"/>
                  <a:pt x="1706" y="1245"/>
                </a:cubicBezTo>
                <a:cubicBezTo>
                  <a:pt x="1706" y="1244"/>
                  <a:pt x="1706" y="1244"/>
                  <a:pt x="1706" y="1243"/>
                </a:cubicBezTo>
                <a:cubicBezTo>
                  <a:pt x="1706" y="1242"/>
                  <a:pt x="1707" y="1242"/>
                  <a:pt x="1707" y="1241"/>
                </a:cubicBezTo>
                <a:cubicBezTo>
                  <a:pt x="1708" y="1240"/>
                  <a:pt x="1709" y="1239"/>
                  <a:pt x="1710" y="1238"/>
                </a:cubicBezTo>
                <a:cubicBezTo>
                  <a:pt x="1711" y="1237"/>
                  <a:pt x="1712" y="1236"/>
                  <a:pt x="1712" y="1236"/>
                </a:cubicBezTo>
                <a:cubicBezTo>
                  <a:pt x="1713" y="1235"/>
                  <a:pt x="1714" y="1235"/>
                  <a:pt x="1714" y="1234"/>
                </a:cubicBezTo>
                <a:cubicBezTo>
                  <a:pt x="1715" y="1234"/>
                  <a:pt x="1716" y="1234"/>
                  <a:pt x="1716" y="1234"/>
                </a:cubicBezTo>
                <a:cubicBezTo>
                  <a:pt x="1716" y="1234"/>
                  <a:pt x="1717" y="1235"/>
                  <a:pt x="1717" y="1235"/>
                </a:cubicBezTo>
                <a:lnTo>
                  <a:pt x="1727" y="1244"/>
                </a:lnTo>
                <a:cubicBezTo>
                  <a:pt x="1726" y="1240"/>
                  <a:pt x="1725" y="1236"/>
                  <a:pt x="1725" y="1233"/>
                </a:cubicBezTo>
                <a:cubicBezTo>
                  <a:pt x="1725" y="1230"/>
                  <a:pt x="1725" y="1227"/>
                  <a:pt x="1726" y="1225"/>
                </a:cubicBezTo>
                <a:cubicBezTo>
                  <a:pt x="1726" y="1223"/>
                  <a:pt x="1727" y="1221"/>
                  <a:pt x="1728" y="1219"/>
                </a:cubicBezTo>
                <a:cubicBezTo>
                  <a:pt x="1729" y="1217"/>
                  <a:pt x="1730" y="1216"/>
                  <a:pt x="1732" y="1214"/>
                </a:cubicBezTo>
                <a:cubicBezTo>
                  <a:pt x="1732" y="1213"/>
                  <a:pt x="1733" y="1213"/>
                  <a:pt x="1734" y="1212"/>
                </a:cubicBezTo>
                <a:cubicBezTo>
                  <a:pt x="1735" y="1211"/>
                  <a:pt x="1736" y="1211"/>
                  <a:pt x="1737" y="1210"/>
                </a:cubicBezTo>
                <a:cubicBezTo>
                  <a:pt x="1738" y="1209"/>
                  <a:pt x="1739" y="1209"/>
                  <a:pt x="1740" y="1208"/>
                </a:cubicBezTo>
                <a:cubicBezTo>
                  <a:pt x="1741" y="1208"/>
                  <a:pt x="1741" y="1208"/>
                  <a:pt x="1742" y="1208"/>
                </a:cubicBezTo>
                <a:cubicBezTo>
                  <a:pt x="1742" y="1208"/>
                  <a:pt x="1743" y="1208"/>
                  <a:pt x="1743" y="1208"/>
                </a:cubicBezTo>
                <a:cubicBezTo>
                  <a:pt x="1744" y="1208"/>
                  <a:pt x="1744" y="1208"/>
                  <a:pt x="1744" y="1208"/>
                </a:cubicBezTo>
                <a:cubicBezTo>
                  <a:pt x="1745" y="1209"/>
                  <a:pt x="1745" y="1209"/>
                  <a:pt x="1746" y="1210"/>
                </a:cubicBezTo>
                <a:cubicBezTo>
                  <a:pt x="1747" y="1210"/>
                  <a:pt x="1747" y="1211"/>
                  <a:pt x="1749" y="1212"/>
                </a:cubicBezTo>
                <a:close/>
                <a:moveTo>
                  <a:pt x="1877" y="1205"/>
                </a:moveTo>
                <a:cubicBezTo>
                  <a:pt x="1877" y="1206"/>
                  <a:pt x="1877" y="1206"/>
                  <a:pt x="1877" y="1207"/>
                </a:cubicBezTo>
                <a:cubicBezTo>
                  <a:pt x="1877" y="1208"/>
                  <a:pt x="1877" y="1208"/>
                  <a:pt x="1876" y="1209"/>
                </a:cubicBezTo>
                <a:cubicBezTo>
                  <a:pt x="1876" y="1210"/>
                  <a:pt x="1875" y="1211"/>
                  <a:pt x="1874" y="1212"/>
                </a:cubicBezTo>
                <a:cubicBezTo>
                  <a:pt x="1872" y="1214"/>
                  <a:pt x="1871" y="1215"/>
                  <a:pt x="1870" y="1215"/>
                </a:cubicBezTo>
                <a:cubicBezTo>
                  <a:pt x="1869" y="1216"/>
                  <a:pt x="1869" y="1216"/>
                  <a:pt x="1868" y="1216"/>
                </a:cubicBezTo>
                <a:cubicBezTo>
                  <a:pt x="1867" y="1216"/>
                  <a:pt x="1867" y="1216"/>
                  <a:pt x="1866" y="1215"/>
                </a:cubicBezTo>
                <a:lnTo>
                  <a:pt x="1860" y="1209"/>
                </a:lnTo>
                <a:cubicBezTo>
                  <a:pt x="1860" y="1215"/>
                  <a:pt x="1859" y="1220"/>
                  <a:pt x="1857" y="1225"/>
                </a:cubicBezTo>
                <a:cubicBezTo>
                  <a:pt x="1856" y="1231"/>
                  <a:pt x="1853" y="1235"/>
                  <a:pt x="1849" y="1239"/>
                </a:cubicBezTo>
                <a:cubicBezTo>
                  <a:pt x="1846" y="1242"/>
                  <a:pt x="1842" y="1245"/>
                  <a:pt x="1838" y="1247"/>
                </a:cubicBezTo>
                <a:cubicBezTo>
                  <a:pt x="1835" y="1249"/>
                  <a:pt x="1831" y="1250"/>
                  <a:pt x="1828" y="1250"/>
                </a:cubicBezTo>
                <a:cubicBezTo>
                  <a:pt x="1824" y="1250"/>
                  <a:pt x="1820" y="1250"/>
                  <a:pt x="1817" y="1248"/>
                </a:cubicBezTo>
                <a:cubicBezTo>
                  <a:pt x="1813" y="1247"/>
                  <a:pt x="1810" y="1245"/>
                  <a:pt x="1807" y="1242"/>
                </a:cubicBezTo>
                <a:cubicBezTo>
                  <a:pt x="1803" y="1238"/>
                  <a:pt x="1801" y="1234"/>
                  <a:pt x="1800" y="1230"/>
                </a:cubicBezTo>
                <a:cubicBezTo>
                  <a:pt x="1798" y="1226"/>
                  <a:pt x="1798" y="1221"/>
                  <a:pt x="1799" y="1217"/>
                </a:cubicBezTo>
                <a:cubicBezTo>
                  <a:pt x="1800" y="1212"/>
                  <a:pt x="1802" y="1208"/>
                  <a:pt x="1806" y="1203"/>
                </a:cubicBezTo>
                <a:cubicBezTo>
                  <a:pt x="1809" y="1198"/>
                  <a:pt x="1813" y="1193"/>
                  <a:pt x="1818" y="1188"/>
                </a:cubicBezTo>
                <a:lnTo>
                  <a:pt x="1827" y="1179"/>
                </a:lnTo>
                <a:lnTo>
                  <a:pt x="1822" y="1174"/>
                </a:lnTo>
                <a:cubicBezTo>
                  <a:pt x="1819" y="1171"/>
                  <a:pt x="1817" y="1169"/>
                  <a:pt x="1814" y="1168"/>
                </a:cubicBezTo>
                <a:cubicBezTo>
                  <a:pt x="1812" y="1167"/>
                  <a:pt x="1809" y="1166"/>
                  <a:pt x="1807" y="1166"/>
                </a:cubicBezTo>
                <a:cubicBezTo>
                  <a:pt x="1804" y="1166"/>
                  <a:pt x="1802" y="1166"/>
                  <a:pt x="1800" y="1167"/>
                </a:cubicBezTo>
                <a:cubicBezTo>
                  <a:pt x="1797" y="1169"/>
                  <a:pt x="1794" y="1171"/>
                  <a:pt x="1792" y="1173"/>
                </a:cubicBezTo>
                <a:cubicBezTo>
                  <a:pt x="1789" y="1176"/>
                  <a:pt x="1786" y="1179"/>
                  <a:pt x="1785" y="1182"/>
                </a:cubicBezTo>
                <a:cubicBezTo>
                  <a:pt x="1783" y="1185"/>
                  <a:pt x="1782" y="1188"/>
                  <a:pt x="1781" y="1191"/>
                </a:cubicBezTo>
                <a:cubicBezTo>
                  <a:pt x="1780" y="1193"/>
                  <a:pt x="1779" y="1196"/>
                  <a:pt x="1779" y="1197"/>
                </a:cubicBezTo>
                <a:cubicBezTo>
                  <a:pt x="1778" y="1199"/>
                  <a:pt x="1778" y="1200"/>
                  <a:pt x="1777" y="1201"/>
                </a:cubicBezTo>
                <a:cubicBezTo>
                  <a:pt x="1777" y="1201"/>
                  <a:pt x="1777" y="1202"/>
                  <a:pt x="1776" y="1202"/>
                </a:cubicBezTo>
                <a:cubicBezTo>
                  <a:pt x="1776" y="1202"/>
                  <a:pt x="1775" y="1202"/>
                  <a:pt x="1774" y="1202"/>
                </a:cubicBezTo>
                <a:cubicBezTo>
                  <a:pt x="1774" y="1202"/>
                  <a:pt x="1773" y="1201"/>
                  <a:pt x="1772" y="1201"/>
                </a:cubicBezTo>
                <a:cubicBezTo>
                  <a:pt x="1772" y="1200"/>
                  <a:pt x="1771" y="1200"/>
                  <a:pt x="1770" y="1199"/>
                </a:cubicBezTo>
                <a:cubicBezTo>
                  <a:pt x="1769" y="1198"/>
                  <a:pt x="1768" y="1197"/>
                  <a:pt x="1768" y="1196"/>
                </a:cubicBezTo>
                <a:cubicBezTo>
                  <a:pt x="1767" y="1195"/>
                  <a:pt x="1767" y="1194"/>
                  <a:pt x="1767" y="1193"/>
                </a:cubicBezTo>
                <a:cubicBezTo>
                  <a:pt x="1767" y="1191"/>
                  <a:pt x="1767" y="1189"/>
                  <a:pt x="1768" y="1187"/>
                </a:cubicBezTo>
                <a:cubicBezTo>
                  <a:pt x="1769" y="1185"/>
                  <a:pt x="1770" y="1182"/>
                  <a:pt x="1771" y="1179"/>
                </a:cubicBezTo>
                <a:cubicBezTo>
                  <a:pt x="1773" y="1177"/>
                  <a:pt x="1774" y="1174"/>
                  <a:pt x="1776" y="1171"/>
                </a:cubicBezTo>
                <a:cubicBezTo>
                  <a:pt x="1778" y="1168"/>
                  <a:pt x="1781" y="1165"/>
                  <a:pt x="1783" y="1163"/>
                </a:cubicBezTo>
                <a:cubicBezTo>
                  <a:pt x="1788" y="1158"/>
                  <a:pt x="1792" y="1155"/>
                  <a:pt x="1797" y="1152"/>
                </a:cubicBezTo>
                <a:cubicBezTo>
                  <a:pt x="1801" y="1150"/>
                  <a:pt x="1805" y="1149"/>
                  <a:pt x="1809" y="1149"/>
                </a:cubicBezTo>
                <a:cubicBezTo>
                  <a:pt x="1813" y="1149"/>
                  <a:pt x="1817" y="1150"/>
                  <a:pt x="1821" y="1152"/>
                </a:cubicBezTo>
                <a:cubicBezTo>
                  <a:pt x="1825" y="1154"/>
                  <a:pt x="1829" y="1158"/>
                  <a:pt x="1833" y="1162"/>
                </a:cubicBezTo>
                <a:lnTo>
                  <a:pt x="1877" y="1205"/>
                </a:lnTo>
                <a:close/>
                <a:moveTo>
                  <a:pt x="1835" y="1187"/>
                </a:moveTo>
                <a:lnTo>
                  <a:pt x="1825" y="1198"/>
                </a:lnTo>
                <a:cubicBezTo>
                  <a:pt x="1822" y="1201"/>
                  <a:pt x="1819" y="1204"/>
                  <a:pt x="1817" y="1207"/>
                </a:cubicBezTo>
                <a:cubicBezTo>
                  <a:pt x="1816" y="1210"/>
                  <a:pt x="1814" y="1213"/>
                  <a:pt x="1814" y="1215"/>
                </a:cubicBezTo>
                <a:cubicBezTo>
                  <a:pt x="1813" y="1218"/>
                  <a:pt x="1814" y="1220"/>
                  <a:pt x="1814" y="1223"/>
                </a:cubicBezTo>
                <a:cubicBezTo>
                  <a:pt x="1815" y="1225"/>
                  <a:pt x="1816" y="1227"/>
                  <a:pt x="1818" y="1229"/>
                </a:cubicBezTo>
                <a:cubicBezTo>
                  <a:pt x="1822" y="1232"/>
                  <a:pt x="1826" y="1234"/>
                  <a:pt x="1830" y="1234"/>
                </a:cubicBezTo>
                <a:cubicBezTo>
                  <a:pt x="1834" y="1234"/>
                  <a:pt x="1838" y="1232"/>
                  <a:pt x="1842" y="1228"/>
                </a:cubicBezTo>
                <a:cubicBezTo>
                  <a:pt x="1845" y="1225"/>
                  <a:pt x="1847" y="1221"/>
                  <a:pt x="1848" y="1217"/>
                </a:cubicBezTo>
                <a:cubicBezTo>
                  <a:pt x="1849" y="1213"/>
                  <a:pt x="1849" y="1207"/>
                  <a:pt x="1849" y="1201"/>
                </a:cubicBezTo>
                <a:lnTo>
                  <a:pt x="1835" y="1187"/>
                </a:lnTo>
                <a:close/>
                <a:moveTo>
                  <a:pt x="1925" y="1148"/>
                </a:moveTo>
                <a:cubicBezTo>
                  <a:pt x="1926" y="1149"/>
                  <a:pt x="1927" y="1150"/>
                  <a:pt x="1928" y="1151"/>
                </a:cubicBezTo>
                <a:cubicBezTo>
                  <a:pt x="1928" y="1152"/>
                  <a:pt x="1928" y="1153"/>
                  <a:pt x="1928" y="1154"/>
                </a:cubicBezTo>
                <a:cubicBezTo>
                  <a:pt x="1928" y="1155"/>
                  <a:pt x="1928" y="1155"/>
                  <a:pt x="1928" y="1157"/>
                </a:cubicBezTo>
                <a:cubicBezTo>
                  <a:pt x="1927" y="1158"/>
                  <a:pt x="1927" y="1159"/>
                  <a:pt x="1926" y="1160"/>
                </a:cubicBezTo>
                <a:cubicBezTo>
                  <a:pt x="1925" y="1161"/>
                  <a:pt x="1924" y="1162"/>
                  <a:pt x="1923" y="1164"/>
                </a:cubicBezTo>
                <a:cubicBezTo>
                  <a:pt x="1922" y="1165"/>
                  <a:pt x="1921" y="1166"/>
                  <a:pt x="1920" y="1167"/>
                </a:cubicBezTo>
                <a:cubicBezTo>
                  <a:pt x="1917" y="1171"/>
                  <a:pt x="1914" y="1173"/>
                  <a:pt x="1910" y="1175"/>
                </a:cubicBezTo>
                <a:cubicBezTo>
                  <a:pt x="1907" y="1176"/>
                  <a:pt x="1904" y="1177"/>
                  <a:pt x="1900" y="1176"/>
                </a:cubicBezTo>
                <a:cubicBezTo>
                  <a:pt x="1897" y="1176"/>
                  <a:pt x="1894" y="1175"/>
                  <a:pt x="1890" y="1173"/>
                </a:cubicBezTo>
                <a:cubicBezTo>
                  <a:pt x="1887" y="1171"/>
                  <a:pt x="1883" y="1168"/>
                  <a:pt x="1880" y="1164"/>
                </a:cubicBezTo>
                <a:lnTo>
                  <a:pt x="1842" y="1126"/>
                </a:lnTo>
                <a:lnTo>
                  <a:pt x="1833" y="1135"/>
                </a:lnTo>
                <a:cubicBezTo>
                  <a:pt x="1832" y="1136"/>
                  <a:pt x="1831" y="1136"/>
                  <a:pt x="1830" y="1136"/>
                </a:cubicBezTo>
                <a:cubicBezTo>
                  <a:pt x="1829" y="1136"/>
                  <a:pt x="1827" y="1135"/>
                  <a:pt x="1825" y="1133"/>
                </a:cubicBezTo>
                <a:cubicBezTo>
                  <a:pt x="1825" y="1132"/>
                  <a:pt x="1824" y="1131"/>
                  <a:pt x="1823" y="1130"/>
                </a:cubicBezTo>
                <a:cubicBezTo>
                  <a:pt x="1823" y="1130"/>
                  <a:pt x="1823" y="1129"/>
                  <a:pt x="1822" y="1128"/>
                </a:cubicBezTo>
                <a:cubicBezTo>
                  <a:pt x="1822" y="1128"/>
                  <a:pt x="1822" y="1127"/>
                  <a:pt x="1822" y="1127"/>
                </a:cubicBezTo>
                <a:cubicBezTo>
                  <a:pt x="1822" y="1126"/>
                  <a:pt x="1823" y="1126"/>
                  <a:pt x="1823" y="1126"/>
                </a:cubicBezTo>
                <a:lnTo>
                  <a:pt x="1832" y="1117"/>
                </a:lnTo>
                <a:lnTo>
                  <a:pt x="1817" y="1101"/>
                </a:lnTo>
                <a:cubicBezTo>
                  <a:pt x="1816" y="1101"/>
                  <a:pt x="1816" y="1100"/>
                  <a:pt x="1816" y="1100"/>
                </a:cubicBezTo>
                <a:cubicBezTo>
                  <a:pt x="1816" y="1100"/>
                  <a:pt x="1816" y="1099"/>
                  <a:pt x="1816" y="1098"/>
                </a:cubicBezTo>
                <a:cubicBezTo>
                  <a:pt x="1816" y="1098"/>
                  <a:pt x="1817" y="1097"/>
                  <a:pt x="1817" y="1096"/>
                </a:cubicBezTo>
                <a:cubicBezTo>
                  <a:pt x="1818" y="1095"/>
                  <a:pt x="1819" y="1094"/>
                  <a:pt x="1820" y="1093"/>
                </a:cubicBezTo>
                <a:cubicBezTo>
                  <a:pt x="1821" y="1092"/>
                  <a:pt x="1822" y="1091"/>
                  <a:pt x="1823" y="1090"/>
                </a:cubicBezTo>
                <a:cubicBezTo>
                  <a:pt x="1824" y="1090"/>
                  <a:pt x="1825" y="1089"/>
                  <a:pt x="1826" y="1089"/>
                </a:cubicBezTo>
                <a:cubicBezTo>
                  <a:pt x="1826" y="1089"/>
                  <a:pt x="1827" y="1089"/>
                  <a:pt x="1827" y="1089"/>
                </a:cubicBezTo>
                <a:cubicBezTo>
                  <a:pt x="1828" y="1089"/>
                  <a:pt x="1828" y="1089"/>
                  <a:pt x="1828" y="1089"/>
                </a:cubicBezTo>
                <a:lnTo>
                  <a:pt x="1844" y="1105"/>
                </a:lnTo>
                <a:lnTo>
                  <a:pt x="1860" y="1088"/>
                </a:lnTo>
                <a:cubicBezTo>
                  <a:pt x="1861" y="1088"/>
                  <a:pt x="1861" y="1088"/>
                  <a:pt x="1862" y="1087"/>
                </a:cubicBezTo>
                <a:cubicBezTo>
                  <a:pt x="1862" y="1087"/>
                  <a:pt x="1863" y="1087"/>
                  <a:pt x="1863" y="1088"/>
                </a:cubicBezTo>
                <a:cubicBezTo>
                  <a:pt x="1864" y="1088"/>
                  <a:pt x="1865" y="1088"/>
                  <a:pt x="1865" y="1089"/>
                </a:cubicBezTo>
                <a:cubicBezTo>
                  <a:pt x="1866" y="1089"/>
                  <a:pt x="1867" y="1090"/>
                  <a:pt x="1868" y="1091"/>
                </a:cubicBezTo>
                <a:cubicBezTo>
                  <a:pt x="1869" y="1092"/>
                  <a:pt x="1870" y="1094"/>
                  <a:pt x="1871" y="1095"/>
                </a:cubicBezTo>
                <a:cubicBezTo>
                  <a:pt x="1871" y="1096"/>
                  <a:pt x="1871" y="1097"/>
                  <a:pt x="1870" y="1098"/>
                </a:cubicBezTo>
                <a:lnTo>
                  <a:pt x="1854" y="1115"/>
                </a:lnTo>
                <a:lnTo>
                  <a:pt x="1890" y="1151"/>
                </a:lnTo>
                <a:cubicBezTo>
                  <a:pt x="1894" y="1155"/>
                  <a:pt x="1898" y="1158"/>
                  <a:pt x="1902" y="1159"/>
                </a:cubicBezTo>
                <a:cubicBezTo>
                  <a:pt x="1905" y="1160"/>
                  <a:pt x="1909" y="1158"/>
                  <a:pt x="1912" y="1155"/>
                </a:cubicBezTo>
                <a:cubicBezTo>
                  <a:pt x="1913" y="1154"/>
                  <a:pt x="1914" y="1153"/>
                  <a:pt x="1915" y="1152"/>
                </a:cubicBezTo>
                <a:cubicBezTo>
                  <a:pt x="1916" y="1151"/>
                  <a:pt x="1916" y="1150"/>
                  <a:pt x="1916" y="1149"/>
                </a:cubicBezTo>
                <a:cubicBezTo>
                  <a:pt x="1917" y="1148"/>
                  <a:pt x="1917" y="1147"/>
                  <a:pt x="1918" y="1146"/>
                </a:cubicBezTo>
                <a:cubicBezTo>
                  <a:pt x="1918" y="1146"/>
                  <a:pt x="1918" y="1145"/>
                  <a:pt x="1918" y="1145"/>
                </a:cubicBezTo>
                <a:cubicBezTo>
                  <a:pt x="1919" y="1145"/>
                  <a:pt x="1919" y="1144"/>
                  <a:pt x="1919" y="1144"/>
                </a:cubicBezTo>
                <a:cubicBezTo>
                  <a:pt x="1920" y="1144"/>
                  <a:pt x="1920" y="1144"/>
                  <a:pt x="1921" y="1144"/>
                </a:cubicBezTo>
                <a:cubicBezTo>
                  <a:pt x="1921" y="1145"/>
                  <a:pt x="1922" y="1145"/>
                  <a:pt x="1922" y="1146"/>
                </a:cubicBezTo>
                <a:cubicBezTo>
                  <a:pt x="1923" y="1146"/>
                  <a:pt x="1924" y="1147"/>
                  <a:pt x="1925" y="1148"/>
                </a:cubicBezTo>
                <a:close/>
                <a:moveTo>
                  <a:pt x="1953" y="1129"/>
                </a:moveTo>
                <a:cubicBezTo>
                  <a:pt x="1953" y="1129"/>
                  <a:pt x="1953" y="1130"/>
                  <a:pt x="1953" y="1130"/>
                </a:cubicBezTo>
                <a:cubicBezTo>
                  <a:pt x="1954" y="1131"/>
                  <a:pt x="1953" y="1131"/>
                  <a:pt x="1953" y="1132"/>
                </a:cubicBezTo>
                <a:cubicBezTo>
                  <a:pt x="1953" y="1132"/>
                  <a:pt x="1952" y="1133"/>
                  <a:pt x="1952" y="1134"/>
                </a:cubicBezTo>
                <a:cubicBezTo>
                  <a:pt x="1951" y="1135"/>
                  <a:pt x="1950" y="1136"/>
                  <a:pt x="1949" y="1137"/>
                </a:cubicBezTo>
                <a:cubicBezTo>
                  <a:pt x="1948" y="1138"/>
                  <a:pt x="1947" y="1139"/>
                  <a:pt x="1946" y="1140"/>
                </a:cubicBezTo>
                <a:cubicBezTo>
                  <a:pt x="1945" y="1140"/>
                  <a:pt x="1944" y="1141"/>
                  <a:pt x="1944" y="1141"/>
                </a:cubicBezTo>
                <a:cubicBezTo>
                  <a:pt x="1943" y="1141"/>
                  <a:pt x="1943" y="1141"/>
                  <a:pt x="1942" y="1141"/>
                </a:cubicBezTo>
                <a:cubicBezTo>
                  <a:pt x="1942" y="1141"/>
                  <a:pt x="1941" y="1141"/>
                  <a:pt x="1941" y="1141"/>
                </a:cubicBezTo>
                <a:lnTo>
                  <a:pt x="1876" y="1076"/>
                </a:lnTo>
                <a:cubicBezTo>
                  <a:pt x="1876" y="1076"/>
                  <a:pt x="1876" y="1075"/>
                  <a:pt x="1876" y="1075"/>
                </a:cubicBezTo>
                <a:cubicBezTo>
                  <a:pt x="1875" y="1074"/>
                  <a:pt x="1876" y="1074"/>
                  <a:pt x="1876" y="1073"/>
                </a:cubicBezTo>
                <a:cubicBezTo>
                  <a:pt x="1876" y="1073"/>
                  <a:pt x="1877" y="1072"/>
                  <a:pt x="1877" y="1071"/>
                </a:cubicBezTo>
                <a:cubicBezTo>
                  <a:pt x="1878" y="1070"/>
                  <a:pt x="1879" y="1069"/>
                  <a:pt x="1880" y="1068"/>
                </a:cubicBezTo>
                <a:cubicBezTo>
                  <a:pt x="1881" y="1067"/>
                  <a:pt x="1882" y="1066"/>
                  <a:pt x="1883" y="1065"/>
                </a:cubicBezTo>
                <a:cubicBezTo>
                  <a:pt x="1884" y="1064"/>
                  <a:pt x="1885" y="1064"/>
                  <a:pt x="1885" y="1064"/>
                </a:cubicBezTo>
                <a:cubicBezTo>
                  <a:pt x="1886" y="1063"/>
                  <a:pt x="1886" y="1063"/>
                  <a:pt x="1887" y="1064"/>
                </a:cubicBezTo>
                <a:cubicBezTo>
                  <a:pt x="1887" y="1064"/>
                  <a:pt x="1888" y="1064"/>
                  <a:pt x="1888" y="1064"/>
                </a:cubicBezTo>
                <a:lnTo>
                  <a:pt x="1953" y="1129"/>
                </a:lnTo>
                <a:close/>
                <a:moveTo>
                  <a:pt x="1868" y="1041"/>
                </a:moveTo>
                <a:cubicBezTo>
                  <a:pt x="1870" y="1044"/>
                  <a:pt x="1872" y="1046"/>
                  <a:pt x="1872" y="1048"/>
                </a:cubicBezTo>
                <a:cubicBezTo>
                  <a:pt x="1872" y="1050"/>
                  <a:pt x="1870" y="1053"/>
                  <a:pt x="1867" y="1056"/>
                </a:cubicBezTo>
                <a:cubicBezTo>
                  <a:pt x="1865" y="1058"/>
                  <a:pt x="1862" y="1060"/>
                  <a:pt x="1860" y="1060"/>
                </a:cubicBezTo>
                <a:cubicBezTo>
                  <a:pt x="1858" y="1060"/>
                  <a:pt x="1856" y="1058"/>
                  <a:pt x="1853" y="1056"/>
                </a:cubicBezTo>
                <a:cubicBezTo>
                  <a:pt x="1850" y="1053"/>
                  <a:pt x="1849" y="1051"/>
                  <a:pt x="1849" y="1049"/>
                </a:cubicBezTo>
                <a:cubicBezTo>
                  <a:pt x="1849" y="1046"/>
                  <a:pt x="1851" y="1044"/>
                  <a:pt x="1853" y="1041"/>
                </a:cubicBezTo>
                <a:cubicBezTo>
                  <a:pt x="1856" y="1038"/>
                  <a:pt x="1859" y="1037"/>
                  <a:pt x="1861" y="1037"/>
                </a:cubicBezTo>
                <a:cubicBezTo>
                  <a:pt x="1863" y="1037"/>
                  <a:pt x="1865" y="1038"/>
                  <a:pt x="1868" y="1041"/>
                </a:cubicBezTo>
                <a:close/>
                <a:moveTo>
                  <a:pt x="2002" y="1014"/>
                </a:moveTo>
                <a:cubicBezTo>
                  <a:pt x="2007" y="1019"/>
                  <a:pt x="2011" y="1024"/>
                  <a:pt x="2014" y="1030"/>
                </a:cubicBezTo>
                <a:cubicBezTo>
                  <a:pt x="2017" y="1036"/>
                  <a:pt x="2019" y="1042"/>
                  <a:pt x="2020" y="1048"/>
                </a:cubicBezTo>
                <a:cubicBezTo>
                  <a:pt x="2020" y="1054"/>
                  <a:pt x="2019" y="1060"/>
                  <a:pt x="2017" y="1066"/>
                </a:cubicBezTo>
                <a:cubicBezTo>
                  <a:pt x="2014" y="1072"/>
                  <a:pt x="2011" y="1077"/>
                  <a:pt x="2005" y="1083"/>
                </a:cubicBezTo>
                <a:cubicBezTo>
                  <a:pt x="2000" y="1088"/>
                  <a:pt x="1994" y="1092"/>
                  <a:pt x="1989" y="1094"/>
                </a:cubicBezTo>
                <a:cubicBezTo>
                  <a:pt x="1983" y="1097"/>
                  <a:pt x="1978" y="1098"/>
                  <a:pt x="1972" y="1097"/>
                </a:cubicBezTo>
                <a:cubicBezTo>
                  <a:pt x="1966" y="1097"/>
                  <a:pt x="1961" y="1095"/>
                  <a:pt x="1955" y="1092"/>
                </a:cubicBezTo>
                <a:cubicBezTo>
                  <a:pt x="1950" y="1089"/>
                  <a:pt x="1944" y="1085"/>
                  <a:pt x="1939" y="1079"/>
                </a:cubicBezTo>
                <a:cubicBezTo>
                  <a:pt x="1933" y="1074"/>
                  <a:pt x="1929" y="1069"/>
                  <a:pt x="1926" y="1063"/>
                </a:cubicBezTo>
                <a:cubicBezTo>
                  <a:pt x="1923" y="1057"/>
                  <a:pt x="1921" y="1051"/>
                  <a:pt x="1921" y="1045"/>
                </a:cubicBezTo>
                <a:cubicBezTo>
                  <a:pt x="1920" y="1039"/>
                  <a:pt x="1921" y="1033"/>
                  <a:pt x="1924" y="1027"/>
                </a:cubicBezTo>
                <a:cubicBezTo>
                  <a:pt x="1926" y="1022"/>
                  <a:pt x="1930" y="1016"/>
                  <a:pt x="1935" y="1010"/>
                </a:cubicBezTo>
                <a:cubicBezTo>
                  <a:pt x="1941" y="1005"/>
                  <a:pt x="1946" y="1001"/>
                  <a:pt x="1952" y="999"/>
                </a:cubicBezTo>
                <a:cubicBezTo>
                  <a:pt x="1957" y="996"/>
                  <a:pt x="1963" y="996"/>
                  <a:pt x="1968" y="996"/>
                </a:cubicBezTo>
                <a:cubicBezTo>
                  <a:pt x="1974" y="996"/>
                  <a:pt x="1980" y="998"/>
                  <a:pt x="1985" y="1001"/>
                </a:cubicBezTo>
                <a:cubicBezTo>
                  <a:pt x="1991" y="1004"/>
                  <a:pt x="1997" y="1008"/>
                  <a:pt x="2002" y="1014"/>
                </a:cubicBezTo>
                <a:close/>
                <a:moveTo>
                  <a:pt x="1990" y="1027"/>
                </a:moveTo>
                <a:cubicBezTo>
                  <a:pt x="1987" y="1023"/>
                  <a:pt x="1983" y="1020"/>
                  <a:pt x="1980" y="1018"/>
                </a:cubicBezTo>
                <a:cubicBezTo>
                  <a:pt x="1976" y="1015"/>
                  <a:pt x="1972" y="1014"/>
                  <a:pt x="1968" y="1013"/>
                </a:cubicBezTo>
                <a:cubicBezTo>
                  <a:pt x="1964" y="1012"/>
                  <a:pt x="1960" y="1012"/>
                  <a:pt x="1956" y="1013"/>
                </a:cubicBezTo>
                <a:cubicBezTo>
                  <a:pt x="1953" y="1014"/>
                  <a:pt x="1949" y="1017"/>
                  <a:pt x="1945" y="1021"/>
                </a:cubicBezTo>
                <a:cubicBezTo>
                  <a:pt x="1941" y="1024"/>
                  <a:pt x="1939" y="1028"/>
                  <a:pt x="1938" y="1032"/>
                </a:cubicBezTo>
                <a:cubicBezTo>
                  <a:pt x="1936" y="1036"/>
                  <a:pt x="1936" y="1039"/>
                  <a:pt x="1937" y="1043"/>
                </a:cubicBezTo>
                <a:cubicBezTo>
                  <a:pt x="1937" y="1047"/>
                  <a:pt x="1939" y="1051"/>
                  <a:pt x="1941" y="1055"/>
                </a:cubicBezTo>
                <a:cubicBezTo>
                  <a:pt x="1943" y="1059"/>
                  <a:pt x="1946" y="1063"/>
                  <a:pt x="1950" y="1066"/>
                </a:cubicBezTo>
                <a:cubicBezTo>
                  <a:pt x="1954" y="1070"/>
                  <a:pt x="1957" y="1073"/>
                  <a:pt x="1961" y="1075"/>
                </a:cubicBezTo>
                <a:cubicBezTo>
                  <a:pt x="1965" y="1078"/>
                  <a:pt x="1969" y="1080"/>
                  <a:pt x="1972" y="1080"/>
                </a:cubicBezTo>
                <a:cubicBezTo>
                  <a:pt x="1976" y="1081"/>
                  <a:pt x="1980" y="1081"/>
                  <a:pt x="1984" y="1080"/>
                </a:cubicBezTo>
                <a:cubicBezTo>
                  <a:pt x="1988" y="1079"/>
                  <a:pt x="1992" y="1076"/>
                  <a:pt x="1996" y="1072"/>
                </a:cubicBezTo>
                <a:cubicBezTo>
                  <a:pt x="1999" y="1069"/>
                  <a:pt x="2002" y="1065"/>
                  <a:pt x="2003" y="1061"/>
                </a:cubicBezTo>
                <a:cubicBezTo>
                  <a:pt x="2004" y="1057"/>
                  <a:pt x="2005" y="1054"/>
                  <a:pt x="2004" y="1050"/>
                </a:cubicBezTo>
                <a:cubicBezTo>
                  <a:pt x="2003" y="1046"/>
                  <a:pt x="2002" y="1042"/>
                  <a:pt x="2000" y="1038"/>
                </a:cubicBezTo>
                <a:cubicBezTo>
                  <a:pt x="1997" y="1034"/>
                  <a:pt x="1994" y="1030"/>
                  <a:pt x="1990" y="1027"/>
                </a:cubicBezTo>
                <a:close/>
                <a:moveTo>
                  <a:pt x="2110" y="972"/>
                </a:moveTo>
                <a:cubicBezTo>
                  <a:pt x="2110" y="972"/>
                  <a:pt x="2110" y="973"/>
                  <a:pt x="2110" y="973"/>
                </a:cubicBezTo>
                <a:cubicBezTo>
                  <a:pt x="2110" y="974"/>
                  <a:pt x="2110" y="974"/>
                  <a:pt x="2110" y="975"/>
                </a:cubicBezTo>
                <a:cubicBezTo>
                  <a:pt x="2110" y="975"/>
                  <a:pt x="2109" y="976"/>
                  <a:pt x="2109" y="977"/>
                </a:cubicBezTo>
                <a:cubicBezTo>
                  <a:pt x="2108" y="978"/>
                  <a:pt x="2107" y="979"/>
                  <a:pt x="2106" y="980"/>
                </a:cubicBezTo>
                <a:cubicBezTo>
                  <a:pt x="2105" y="981"/>
                  <a:pt x="2104" y="982"/>
                  <a:pt x="2103" y="983"/>
                </a:cubicBezTo>
                <a:cubicBezTo>
                  <a:pt x="2102" y="983"/>
                  <a:pt x="2101" y="984"/>
                  <a:pt x="2101" y="984"/>
                </a:cubicBezTo>
                <a:cubicBezTo>
                  <a:pt x="2100" y="984"/>
                  <a:pt x="2100" y="984"/>
                  <a:pt x="2099" y="984"/>
                </a:cubicBezTo>
                <a:cubicBezTo>
                  <a:pt x="2099" y="984"/>
                  <a:pt x="2098" y="984"/>
                  <a:pt x="2098" y="984"/>
                </a:cubicBezTo>
                <a:lnTo>
                  <a:pt x="2060" y="946"/>
                </a:lnTo>
                <a:cubicBezTo>
                  <a:pt x="2056" y="942"/>
                  <a:pt x="2053" y="939"/>
                  <a:pt x="2050" y="938"/>
                </a:cubicBezTo>
                <a:cubicBezTo>
                  <a:pt x="2047" y="936"/>
                  <a:pt x="2045" y="935"/>
                  <a:pt x="2042" y="935"/>
                </a:cubicBezTo>
                <a:cubicBezTo>
                  <a:pt x="2039" y="934"/>
                  <a:pt x="2037" y="934"/>
                  <a:pt x="2034" y="935"/>
                </a:cubicBezTo>
                <a:cubicBezTo>
                  <a:pt x="2031" y="936"/>
                  <a:pt x="2029" y="938"/>
                  <a:pt x="2027" y="940"/>
                </a:cubicBezTo>
                <a:cubicBezTo>
                  <a:pt x="2024" y="943"/>
                  <a:pt x="2022" y="947"/>
                  <a:pt x="2021" y="952"/>
                </a:cubicBezTo>
                <a:cubicBezTo>
                  <a:pt x="2020" y="957"/>
                  <a:pt x="2020" y="963"/>
                  <a:pt x="2021" y="970"/>
                </a:cubicBezTo>
                <a:lnTo>
                  <a:pt x="2066" y="1016"/>
                </a:lnTo>
                <a:cubicBezTo>
                  <a:pt x="2066" y="1016"/>
                  <a:pt x="2066" y="1016"/>
                  <a:pt x="2067" y="1017"/>
                </a:cubicBezTo>
                <a:cubicBezTo>
                  <a:pt x="2067" y="1017"/>
                  <a:pt x="2067" y="1018"/>
                  <a:pt x="2066" y="1019"/>
                </a:cubicBezTo>
                <a:cubicBezTo>
                  <a:pt x="2066" y="1019"/>
                  <a:pt x="2066" y="1020"/>
                  <a:pt x="2065" y="1021"/>
                </a:cubicBezTo>
                <a:cubicBezTo>
                  <a:pt x="2064" y="1022"/>
                  <a:pt x="2063" y="1023"/>
                  <a:pt x="2062" y="1024"/>
                </a:cubicBezTo>
                <a:cubicBezTo>
                  <a:pt x="2061" y="1025"/>
                  <a:pt x="2060" y="1026"/>
                  <a:pt x="2059" y="1027"/>
                </a:cubicBezTo>
                <a:cubicBezTo>
                  <a:pt x="2058" y="1027"/>
                  <a:pt x="2058" y="1028"/>
                  <a:pt x="2057" y="1028"/>
                </a:cubicBezTo>
                <a:cubicBezTo>
                  <a:pt x="2056" y="1028"/>
                  <a:pt x="2056" y="1028"/>
                  <a:pt x="2055" y="1028"/>
                </a:cubicBezTo>
                <a:cubicBezTo>
                  <a:pt x="2055" y="1028"/>
                  <a:pt x="2054" y="1028"/>
                  <a:pt x="2054" y="1028"/>
                </a:cubicBezTo>
                <a:lnTo>
                  <a:pt x="1989" y="963"/>
                </a:lnTo>
                <a:cubicBezTo>
                  <a:pt x="1989" y="962"/>
                  <a:pt x="1989" y="962"/>
                  <a:pt x="1989" y="962"/>
                </a:cubicBezTo>
                <a:cubicBezTo>
                  <a:pt x="1989" y="961"/>
                  <a:pt x="1989" y="961"/>
                  <a:pt x="1989" y="960"/>
                </a:cubicBezTo>
                <a:cubicBezTo>
                  <a:pt x="1989" y="959"/>
                  <a:pt x="1989" y="959"/>
                  <a:pt x="1990" y="958"/>
                </a:cubicBezTo>
                <a:cubicBezTo>
                  <a:pt x="1991" y="957"/>
                  <a:pt x="1991" y="956"/>
                  <a:pt x="1993" y="955"/>
                </a:cubicBezTo>
                <a:cubicBezTo>
                  <a:pt x="1994" y="954"/>
                  <a:pt x="1995" y="953"/>
                  <a:pt x="1995" y="953"/>
                </a:cubicBezTo>
                <a:cubicBezTo>
                  <a:pt x="1996" y="952"/>
                  <a:pt x="1997" y="952"/>
                  <a:pt x="1997" y="952"/>
                </a:cubicBezTo>
                <a:cubicBezTo>
                  <a:pt x="1998" y="951"/>
                  <a:pt x="1998" y="951"/>
                  <a:pt x="1999" y="951"/>
                </a:cubicBezTo>
                <a:cubicBezTo>
                  <a:pt x="1999" y="952"/>
                  <a:pt x="2000" y="952"/>
                  <a:pt x="2000" y="952"/>
                </a:cubicBezTo>
                <a:lnTo>
                  <a:pt x="2009" y="961"/>
                </a:lnTo>
                <a:cubicBezTo>
                  <a:pt x="2008" y="953"/>
                  <a:pt x="2009" y="946"/>
                  <a:pt x="2011" y="941"/>
                </a:cubicBezTo>
                <a:cubicBezTo>
                  <a:pt x="2012" y="935"/>
                  <a:pt x="2015" y="931"/>
                  <a:pt x="2019" y="927"/>
                </a:cubicBezTo>
                <a:cubicBezTo>
                  <a:pt x="2023" y="923"/>
                  <a:pt x="2027" y="920"/>
                  <a:pt x="2032" y="918"/>
                </a:cubicBezTo>
                <a:cubicBezTo>
                  <a:pt x="2036" y="917"/>
                  <a:pt x="2041" y="917"/>
                  <a:pt x="2045" y="917"/>
                </a:cubicBezTo>
                <a:cubicBezTo>
                  <a:pt x="2049" y="918"/>
                  <a:pt x="2053" y="919"/>
                  <a:pt x="2057" y="922"/>
                </a:cubicBezTo>
                <a:cubicBezTo>
                  <a:pt x="2061" y="924"/>
                  <a:pt x="2066" y="928"/>
                  <a:pt x="2070" y="932"/>
                </a:cubicBezTo>
                <a:lnTo>
                  <a:pt x="2110" y="972"/>
                </a:lnTo>
                <a:close/>
                <a:moveTo>
                  <a:pt x="2236" y="839"/>
                </a:moveTo>
                <a:cubicBezTo>
                  <a:pt x="2237" y="840"/>
                  <a:pt x="2237" y="840"/>
                  <a:pt x="2238" y="841"/>
                </a:cubicBezTo>
                <a:cubicBezTo>
                  <a:pt x="2239" y="842"/>
                  <a:pt x="2239" y="843"/>
                  <a:pt x="2239" y="843"/>
                </a:cubicBezTo>
                <a:cubicBezTo>
                  <a:pt x="2239" y="844"/>
                  <a:pt x="2240" y="845"/>
                  <a:pt x="2239" y="845"/>
                </a:cubicBezTo>
                <a:cubicBezTo>
                  <a:pt x="2239" y="846"/>
                  <a:pt x="2239" y="846"/>
                  <a:pt x="2239" y="846"/>
                </a:cubicBezTo>
                <a:lnTo>
                  <a:pt x="2198" y="888"/>
                </a:lnTo>
                <a:cubicBezTo>
                  <a:pt x="2196" y="889"/>
                  <a:pt x="2195" y="889"/>
                  <a:pt x="2193" y="890"/>
                </a:cubicBezTo>
                <a:cubicBezTo>
                  <a:pt x="2192" y="890"/>
                  <a:pt x="2190" y="889"/>
                  <a:pt x="2188" y="887"/>
                </a:cubicBezTo>
                <a:lnTo>
                  <a:pt x="2102" y="801"/>
                </a:lnTo>
                <a:cubicBezTo>
                  <a:pt x="2102" y="801"/>
                  <a:pt x="2101" y="800"/>
                  <a:pt x="2101" y="800"/>
                </a:cubicBezTo>
                <a:cubicBezTo>
                  <a:pt x="2101" y="799"/>
                  <a:pt x="2101" y="799"/>
                  <a:pt x="2102" y="798"/>
                </a:cubicBezTo>
                <a:cubicBezTo>
                  <a:pt x="2102" y="797"/>
                  <a:pt x="2102" y="797"/>
                  <a:pt x="2103" y="796"/>
                </a:cubicBezTo>
                <a:cubicBezTo>
                  <a:pt x="2104" y="795"/>
                  <a:pt x="2105" y="794"/>
                  <a:pt x="2106" y="793"/>
                </a:cubicBezTo>
                <a:cubicBezTo>
                  <a:pt x="2107" y="791"/>
                  <a:pt x="2108" y="791"/>
                  <a:pt x="2109" y="790"/>
                </a:cubicBezTo>
                <a:cubicBezTo>
                  <a:pt x="2110" y="789"/>
                  <a:pt x="2111" y="789"/>
                  <a:pt x="2111" y="788"/>
                </a:cubicBezTo>
                <a:cubicBezTo>
                  <a:pt x="2112" y="788"/>
                  <a:pt x="2112" y="788"/>
                  <a:pt x="2113" y="788"/>
                </a:cubicBezTo>
                <a:cubicBezTo>
                  <a:pt x="2113" y="788"/>
                  <a:pt x="2114" y="788"/>
                  <a:pt x="2114" y="789"/>
                </a:cubicBezTo>
                <a:lnTo>
                  <a:pt x="2195" y="869"/>
                </a:lnTo>
                <a:lnTo>
                  <a:pt x="2228" y="836"/>
                </a:lnTo>
                <a:cubicBezTo>
                  <a:pt x="2228" y="835"/>
                  <a:pt x="2229" y="835"/>
                  <a:pt x="2229" y="835"/>
                </a:cubicBezTo>
                <a:cubicBezTo>
                  <a:pt x="2230" y="835"/>
                  <a:pt x="2230" y="835"/>
                  <a:pt x="2231" y="835"/>
                </a:cubicBezTo>
                <a:cubicBezTo>
                  <a:pt x="2232" y="835"/>
                  <a:pt x="2232" y="836"/>
                  <a:pt x="2233" y="836"/>
                </a:cubicBezTo>
                <a:cubicBezTo>
                  <a:pt x="2234" y="837"/>
                  <a:pt x="2235" y="838"/>
                  <a:pt x="2236" y="839"/>
                </a:cubicBezTo>
                <a:close/>
                <a:moveTo>
                  <a:pt x="2285" y="731"/>
                </a:moveTo>
                <a:cubicBezTo>
                  <a:pt x="2290" y="736"/>
                  <a:pt x="2294" y="742"/>
                  <a:pt x="2297" y="747"/>
                </a:cubicBezTo>
                <a:cubicBezTo>
                  <a:pt x="2300" y="753"/>
                  <a:pt x="2302" y="759"/>
                  <a:pt x="2302" y="765"/>
                </a:cubicBezTo>
                <a:cubicBezTo>
                  <a:pt x="2303" y="771"/>
                  <a:pt x="2302" y="777"/>
                  <a:pt x="2300" y="783"/>
                </a:cubicBezTo>
                <a:cubicBezTo>
                  <a:pt x="2297" y="789"/>
                  <a:pt x="2293" y="794"/>
                  <a:pt x="2288" y="800"/>
                </a:cubicBezTo>
                <a:cubicBezTo>
                  <a:pt x="2283" y="805"/>
                  <a:pt x="2277" y="809"/>
                  <a:pt x="2272" y="811"/>
                </a:cubicBezTo>
                <a:cubicBezTo>
                  <a:pt x="2266" y="814"/>
                  <a:pt x="2261" y="815"/>
                  <a:pt x="2255" y="814"/>
                </a:cubicBezTo>
                <a:cubicBezTo>
                  <a:pt x="2249" y="814"/>
                  <a:pt x="2244" y="812"/>
                  <a:pt x="2238" y="809"/>
                </a:cubicBezTo>
                <a:cubicBezTo>
                  <a:pt x="2232" y="806"/>
                  <a:pt x="2227" y="802"/>
                  <a:pt x="2221" y="797"/>
                </a:cubicBezTo>
                <a:cubicBezTo>
                  <a:pt x="2216" y="791"/>
                  <a:pt x="2212" y="786"/>
                  <a:pt x="2209" y="780"/>
                </a:cubicBezTo>
                <a:cubicBezTo>
                  <a:pt x="2206" y="774"/>
                  <a:pt x="2204" y="768"/>
                  <a:pt x="2204" y="762"/>
                </a:cubicBezTo>
                <a:cubicBezTo>
                  <a:pt x="2203" y="756"/>
                  <a:pt x="2204" y="751"/>
                  <a:pt x="2206" y="745"/>
                </a:cubicBezTo>
                <a:cubicBezTo>
                  <a:pt x="2209" y="739"/>
                  <a:pt x="2213" y="733"/>
                  <a:pt x="2218" y="728"/>
                </a:cubicBezTo>
                <a:cubicBezTo>
                  <a:pt x="2224" y="722"/>
                  <a:pt x="2229" y="718"/>
                  <a:pt x="2235" y="716"/>
                </a:cubicBezTo>
                <a:cubicBezTo>
                  <a:pt x="2240" y="714"/>
                  <a:pt x="2246" y="713"/>
                  <a:pt x="2251" y="713"/>
                </a:cubicBezTo>
                <a:cubicBezTo>
                  <a:pt x="2257" y="713"/>
                  <a:pt x="2263" y="715"/>
                  <a:pt x="2268" y="718"/>
                </a:cubicBezTo>
                <a:cubicBezTo>
                  <a:pt x="2274" y="721"/>
                  <a:pt x="2279" y="725"/>
                  <a:pt x="2285" y="731"/>
                </a:cubicBezTo>
                <a:close/>
                <a:moveTo>
                  <a:pt x="2273" y="744"/>
                </a:moveTo>
                <a:cubicBezTo>
                  <a:pt x="2270" y="740"/>
                  <a:pt x="2266" y="737"/>
                  <a:pt x="2262" y="735"/>
                </a:cubicBezTo>
                <a:cubicBezTo>
                  <a:pt x="2259" y="732"/>
                  <a:pt x="2255" y="731"/>
                  <a:pt x="2251" y="730"/>
                </a:cubicBezTo>
                <a:cubicBezTo>
                  <a:pt x="2247" y="729"/>
                  <a:pt x="2243" y="729"/>
                  <a:pt x="2239" y="730"/>
                </a:cubicBezTo>
                <a:cubicBezTo>
                  <a:pt x="2235" y="732"/>
                  <a:pt x="2232" y="734"/>
                  <a:pt x="2228" y="738"/>
                </a:cubicBezTo>
                <a:cubicBezTo>
                  <a:pt x="2224" y="741"/>
                  <a:pt x="2222" y="745"/>
                  <a:pt x="2220" y="749"/>
                </a:cubicBezTo>
                <a:cubicBezTo>
                  <a:pt x="2219" y="753"/>
                  <a:pt x="2219" y="757"/>
                  <a:pt x="2219" y="760"/>
                </a:cubicBezTo>
                <a:cubicBezTo>
                  <a:pt x="2220" y="764"/>
                  <a:pt x="2222" y="768"/>
                  <a:pt x="2224" y="772"/>
                </a:cubicBezTo>
                <a:cubicBezTo>
                  <a:pt x="2226" y="776"/>
                  <a:pt x="2229" y="780"/>
                  <a:pt x="2233" y="784"/>
                </a:cubicBezTo>
                <a:cubicBezTo>
                  <a:pt x="2236" y="787"/>
                  <a:pt x="2240" y="790"/>
                  <a:pt x="2244" y="793"/>
                </a:cubicBezTo>
                <a:cubicBezTo>
                  <a:pt x="2248" y="795"/>
                  <a:pt x="2251" y="797"/>
                  <a:pt x="2255" y="797"/>
                </a:cubicBezTo>
                <a:cubicBezTo>
                  <a:pt x="2259" y="798"/>
                  <a:pt x="2263" y="798"/>
                  <a:pt x="2267" y="797"/>
                </a:cubicBezTo>
                <a:cubicBezTo>
                  <a:pt x="2271" y="796"/>
                  <a:pt x="2275" y="793"/>
                  <a:pt x="2279" y="789"/>
                </a:cubicBezTo>
                <a:cubicBezTo>
                  <a:pt x="2282" y="786"/>
                  <a:pt x="2284" y="782"/>
                  <a:pt x="2286" y="778"/>
                </a:cubicBezTo>
                <a:cubicBezTo>
                  <a:pt x="2287" y="775"/>
                  <a:pt x="2287" y="771"/>
                  <a:pt x="2287" y="767"/>
                </a:cubicBezTo>
                <a:cubicBezTo>
                  <a:pt x="2286" y="763"/>
                  <a:pt x="2285" y="759"/>
                  <a:pt x="2282" y="755"/>
                </a:cubicBezTo>
                <a:cubicBezTo>
                  <a:pt x="2280" y="751"/>
                  <a:pt x="2277" y="748"/>
                  <a:pt x="2273" y="744"/>
                </a:cubicBezTo>
                <a:close/>
                <a:moveTo>
                  <a:pt x="2393" y="689"/>
                </a:moveTo>
                <a:cubicBezTo>
                  <a:pt x="2393" y="689"/>
                  <a:pt x="2393" y="690"/>
                  <a:pt x="2393" y="690"/>
                </a:cubicBezTo>
                <a:cubicBezTo>
                  <a:pt x="2393" y="691"/>
                  <a:pt x="2393" y="691"/>
                  <a:pt x="2393" y="692"/>
                </a:cubicBezTo>
                <a:cubicBezTo>
                  <a:pt x="2393" y="692"/>
                  <a:pt x="2392" y="693"/>
                  <a:pt x="2392" y="694"/>
                </a:cubicBezTo>
                <a:cubicBezTo>
                  <a:pt x="2391" y="695"/>
                  <a:pt x="2390" y="696"/>
                  <a:pt x="2389" y="697"/>
                </a:cubicBezTo>
                <a:cubicBezTo>
                  <a:pt x="2388" y="698"/>
                  <a:pt x="2387" y="699"/>
                  <a:pt x="2386" y="700"/>
                </a:cubicBezTo>
                <a:cubicBezTo>
                  <a:pt x="2385" y="701"/>
                  <a:pt x="2384" y="701"/>
                  <a:pt x="2384" y="701"/>
                </a:cubicBezTo>
                <a:cubicBezTo>
                  <a:pt x="2383" y="702"/>
                  <a:pt x="2382" y="702"/>
                  <a:pt x="2382" y="702"/>
                </a:cubicBezTo>
                <a:cubicBezTo>
                  <a:pt x="2381" y="701"/>
                  <a:pt x="2381" y="701"/>
                  <a:pt x="2381" y="701"/>
                </a:cubicBezTo>
                <a:lnTo>
                  <a:pt x="2343" y="663"/>
                </a:lnTo>
                <a:cubicBezTo>
                  <a:pt x="2339" y="659"/>
                  <a:pt x="2336" y="657"/>
                  <a:pt x="2333" y="655"/>
                </a:cubicBezTo>
                <a:cubicBezTo>
                  <a:pt x="2330" y="653"/>
                  <a:pt x="2327" y="652"/>
                  <a:pt x="2325" y="652"/>
                </a:cubicBezTo>
                <a:cubicBezTo>
                  <a:pt x="2322" y="651"/>
                  <a:pt x="2319" y="651"/>
                  <a:pt x="2317" y="652"/>
                </a:cubicBezTo>
                <a:cubicBezTo>
                  <a:pt x="2314" y="653"/>
                  <a:pt x="2312" y="655"/>
                  <a:pt x="2309" y="657"/>
                </a:cubicBezTo>
                <a:cubicBezTo>
                  <a:pt x="2306" y="660"/>
                  <a:pt x="2304" y="664"/>
                  <a:pt x="2304" y="669"/>
                </a:cubicBezTo>
                <a:cubicBezTo>
                  <a:pt x="2303" y="674"/>
                  <a:pt x="2303" y="680"/>
                  <a:pt x="2304" y="688"/>
                </a:cubicBezTo>
                <a:lnTo>
                  <a:pt x="2349" y="733"/>
                </a:lnTo>
                <a:cubicBezTo>
                  <a:pt x="2349" y="733"/>
                  <a:pt x="2349" y="734"/>
                  <a:pt x="2349" y="734"/>
                </a:cubicBezTo>
                <a:cubicBezTo>
                  <a:pt x="2349" y="735"/>
                  <a:pt x="2349" y="735"/>
                  <a:pt x="2349" y="736"/>
                </a:cubicBezTo>
                <a:cubicBezTo>
                  <a:pt x="2349" y="736"/>
                  <a:pt x="2348" y="737"/>
                  <a:pt x="2348" y="738"/>
                </a:cubicBezTo>
                <a:cubicBezTo>
                  <a:pt x="2347" y="739"/>
                  <a:pt x="2346" y="740"/>
                  <a:pt x="2345" y="741"/>
                </a:cubicBezTo>
                <a:cubicBezTo>
                  <a:pt x="2344" y="742"/>
                  <a:pt x="2343" y="743"/>
                  <a:pt x="2342" y="744"/>
                </a:cubicBezTo>
                <a:cubicBezTo>
                  <a:pt x="2341" y="744"/>
                  <a:pt x="2340" y="745"/>
                  <a:pt x="2340" y="745"/>
                </a:cubicBezTo>
                <a:cubicBezTo>
                  <a:pt x="2339" y="745"/>
                  <a:pt x="2339" y="745"/>
                  <a:pt x="2338" y="745"/>
                </a:cubicBezTo>
                <a:cubicBezTo>
                  <a:pt x="2338" y="745"/>
                  <a:pt x="2337" y="745"/>
                  <a:pt x="2337" y="745"/>
                </a:cubicBezTo>
                <a:lnTo>
                  <a:pt x="2272" y="680"/>
                </a:lnTo>
                <a:cubicBezTo>
                  <a:pt x="2272" y="680"/>
                  <a:pt x="2272" y="679"/>
                  <a:pt x="2271" y="679"/>
                </a:cubicBezTo>
                <a:cubicBezTo>
                  <a:pt x="2271" y="678"/>
                  <a:pt x="2271" y="678"/>
                  <a:pt x="2272" y="677"/>
                </a:cubicBezTo>
                <a:cubicBezTo>
                  <a:pt x="2272" y="677"/>
                  <a:pt x="2272" y="676"/>
                  <a:pt x="2273" y="675"/>
                </a:cubicBezTo>
                <a:cubicBezTo>
                  <a:pt x="2273" y="674"/>
                  <a:pt x="2274" y="674"/>
                  <a:pt x="2275" y="672"/>
                </a:cubicBezTo>
                <a:cubicBezTo>
                  <a:pt x="2276" y="671"/>
                  <a:pt x="2277" y="671"/>
                  <a:pt x="2278" y="670"/>
                </a:cubicBezTo>
                <a:cubicBezTo>
                  <a:pt x="2279" y="669"/>
                  <a:pt x="2280" y="669"/>
                  <a:pt x="2280" y="669"/>
                </a:cubicBezTo>
                <a:cubicBezTo>
                  <a:pt x="2281" y="669"/>
                  <a:pt x="2281" y="669"/>
                  <a:pt x="2282" y="669"/>
                </a:cubicBezTo>
                <a:cubicBezTo>
                  <a:pt x="2282" y="669"/>
                  <a:pt x="2283" y="669"/>
                  <a:pt x="2283" y="669"/>
                </a:cubicBezTo>
                <a:lnTo>
                  <a:pt x="2291" y="678"/>
                </a:lnTo>
                <a:cubicBezTo>
                  <a:pt x="2291" y="670"/>
                  <a:pt x="2292" y="664"/>
                  <a:pt x="2293" y="658"/>
                </a:cubicBezTo>
                <a:cubicBezTo>
                  <a:pt x="2295" y="653"/>
                  <a:pt x="2298" y="648"/>
                  <a:pt x="2302" y="644"/>
                </a:cubicBezTo>
                <a:cubicBezTo>
                  <a:pt x="2306" y="640"/>
                  <a:pt x="2310" y="637"/>
                  <a:pt x="2315" y="636"/>
                </a:cubicBezTo>
                <a:cubicBezTo>
                  <a:pt x="2319" y="634"/>
                  <a:pt x="2323" y="634"/>
                  <a:pt x="2328" y="634"/>
                </a:cubicBezTo>
                <a:cubicBezTo>
                  <a:pt x="2332" y="635"/>
                  <a:pt x="2336" y="636"/>
                  <a:pt x="2340" y="639"/>
                </a:cubicBezTo>
                <a:cubicBezTo>
                  <a:pt x="2344" y="641"/>
                  <a:pt x="2349" y="645"/>
                  <a:pt x="2353" y="650"/>
                </a:cubicBezTo>
                <a:lnTo>
                  <a:pt x="2393" y="689"/>
                </a:lnTo>
                <a:close/>
                <a:moveTo>
                  <a:pt x="2408" y="550"/>
                </a:moveTo>
                <a:cubicBezTo>
                  <a:pt x="2410" y="551"/>
                  <a:pt x="2411" y="553"/>
                  <a:pt x="2411" y="554"/>
                </a:cubicBezTo>
                <a:cubicBezTo>
                  <a:pt x="2412" y="555"/>
                  <a:pt x="2411" y="556"/>
                  <a:pt x="2411" y="557"/>
                </a:cubicBezTo>
                <a:lnTo>
                  <a:pt x="2401" y="566"/>
                </a:lnTo>
                <a:cubicBezTo>
                  <a:pt x="2405" y="566"/>
                  <a:pt x="2408" y="567"/>
                  <a:pt x="2411" y="568"/>
                </a:cubicBezTo>
                <a:cubicBezTo>
                  <a:pt x="2413" y="570"/>
                  <a:pt x="2416" y="572"/>
                  <a:pt x="2418" y="574"/>
                </a:cubicBezTo>
                <a:cubicBezTo>
                  <a:pt x="2422" y="578"/>
                  <a:pt x="2425" y="582"/>
                  <a:pt x="2426" y="586"/>
                </a:cubicBezTo>
                <a:cubicBezTo>
                  <a:pt x="2428" y="590"/>
                  <a:pt x="2429" y="594"/>
                  <a:pt x="2428" y="598"/>
                </a:cubicBezTo>
                <a:cubicBezTo>
                  <a:pt x="2428" y="602"/>
                  <a:pt x="2427" y="606"/>
                  <a:pt x="2425" y="611"/>
                </a:cubicBezTo>
                <a:cubicBezTo>
                  <a:pt x="2423" y="615"/>
                  <a:pt x="2420" y="619"/>
                  <a:pt x="2416" y="622"/>
                </a:cubicBezTo>
                <a:cubicBezTo>
                  <a:pt x="2414" y="625"/>
                  <a:pt x="2411" y="627"/>
                  <a:pt x="2408" y="629"/>
                </a:cubicBezTo>
                <a:cubicBezTo>
                  <a:pt x="2405" y="630"/>
                  <a:pt x="2402" y="631"/>
                  <a:pt x="2400" y="632"/>
                </a:cubicBezTo>
                <a:cubicBezTo>
                  <a:pt x="2400" y="633"/>
                  <a:pt x="2400" y="635"/>
                  <a:pt x="2401" y="637"/>
                </a:cubicBezTo>
                <a:cubicBezTo>
                  <a:pt x="2401" y="638"/>
                  <a:pt x="2402" y="640"/>
                  <a:pt x="2404" y="641"/>
                </a:cubicBezTo>
                <a:cubicBezTo>
                  <a:pt x="2405" y="643"/>
                  <a:pt x="2407" y="644"/>
                  <a:pt x="2410" y="643"/>
                </a:cubicBezTo>
                <a:cubicBezTo>
                  <a:pt x="2413" y="643"/>
                  <a:pt x="2415" y="641"/>
                  <a:pt x="2418" y="639"/>
                </a:cubicBezTo>
                <a:lnTo>
                  <a:pt x="2436" y="623"/>
                </a:lnTo>
                <a:cubicBezTo>
                  <a:pt x="2439" y="619"/>
                  <a:pt x="2442" y="617"/>
                  <a:pt x="2446" y="615"/>
                </a:cubicBezTo>
                <a:cubicBezTo>
                  <a:pt x="2449" y="613"/>
                  <a:pt x="2453" y="612"/>
                  <a:pt x="2456" y="611"/>
                </a:cubicBezTo>
                <a:cubicBezTo>
                  <a:pt x="2460" y="611"/>
                  <a:pt x="2463" y="611"/>
                  <a:pt x="2466" y="612"/>
                </a:cubicBezTo>
                <a:cubicBezTo>
                  <a:pt x="2469" y="613"/>
                  <a:pt x="2472" y="615"/>
                  <a:pt x="2475" y="618"/>
                </a:cubicBezTo>
                <a:cubicBezTo>
                  <a:pt x="2478" y="621"/>
                  <a:pt x="2480" y="624"/>
                  <a:pt x="2482" y="628"/>
                </a:cubicBezTo>
                <a:cubicBezTo>
                  <a:pt x="2483" y="632"/>
                  <a:pt x="2484" y="637"/>
                  <a:pt x="2483" y="641"/>
                </a:cubicBezTo>
                <a:cubicBezTo>
                  <a:pt x="2483" y="646"/>
                  <a:pt x="2481" y="651"/>
                  <a:pt x="2478" y="656"/>
                </a:cubicBezTo>
                <a:cubicBezTo>
                  <a:pt x="2475" y="661"/>
                  <a:pt x="2471" y="666"/>
                  <a:pt x="2466" y="672"/>
                </a:cubicBezTo>
                <a:cubicBezTo>
                  <a:pt x="2461" y="677"/>
                  <a:pt x="2456" y="681"/>
                  <a:pt x="2451" y="684"/>
                </a:cubicBezTo>
                <a:cubicBezTo>
                  <a:pt x="2447" y="686"/>
                  <a:pt x="2443" y="688"/>
                  <a:pt x="2439" y="689"/>
                </a:cubicBezTo>
                <a:cubicBezTo>
                  <a:pt x="2435" y="690"/>
                  <a:pt x="2431" y="690"/>
                  <a:pt x="2428" y="689"/>
                </a:cubicBezTo>
                <a:cubicBezTo>
                  <a:pt x="2425" y="688"/>
                  <a:pt x="2422" y="686"/>
                  <a:pt x="2420" y="683"/>
                </a:cubicBezTo>
                <a:cubicBezTo>
                  <a:pt x="2418" y="682"/>
                  <a:pt x="2417" y="680"/>
                  <a:pt x="2416" y="678"/>
                </a:cubicBezTo>
                <a:cubicBezTo>
                  <a:pt x="2414" y="676"/>
                  <a:pt x="2414" y="674"/>
                  <a:pt x="2413" y="672"/>
                </a:cubicBezTo>
                <a:cubicBezTo>
                  <a:pt x="2412" y="670"/>
                  <a:pt x="2412" y="668"/>
                  <a:pt x="2412" y="665"/>
                </a:cubicBezTo>
                <a:cubicBezTo>
                  <a:pt x="2412" y="663"/>
                  <a:pt x="2412" y="660"/>
                  <a:pt x="2413" y="658"/>
                </a:cubicBezTo>
                <a:cubicBezTo>
                  <a:pt x="2409" y="659"/>
                  <a:pt x="2406" y="659"/>
                  <a:pt x="2403" y="658"/>
                </a:cubicBezTo>
                <a:cubicBezTo>
                  <a:pt x="2400" y="658"/>
                  <a:pt x="2397" y="656"/>
                  <a:pt x="2395" y="654"/>
                </a:cubicBezTo>
                <a:cubicBezTo>
                  <a:pt x="2392" y="651"/>
                  <a:pt x="2390" y="648"/>
                  <a:pt x="2389" y="644"/>
                </a:cubicBezTo>
                <a:cubicBezTo>
                  <a:pt x="2388" y="641"/>
                  <a:pt x="2388" y="637"/>
                  <a:pt x="2387" y="634"/>
                </a:cubicBezTo>
                <a:cubicBezTo>
                  <a:pt x="2384" y="634"/>
                  <a:pt x="2381" y="633"/>
                  <a:pt x="2378" y="631"/>
                </a:cubicBezTo>
                <a:cubicBezTo>
                  <a:pt x="2375" y="630"/>
                  <a:pt x="2372" y="628"/>
                  <a:pt x="2369" y="625"/>
                </a:cubicBezTo>
                <a:cubicBezTo>
                  <a:pt x="2365" y="621"/>
                  <a:pt x="2362" y="617"/>
                  <a:pt x="2361" y="613"/>
                </a:cubicBezTo>
                <a:cubicBezTo>
                  <a:pt x="2359" y="609"/>
                  <a:pt x="2358" y="604"/>
                  <a:pt x="2358" y="600"/>
                </a:cubicBezTo>
                <a:cubicBezTo>
                  <a:pt x="2359" y="596"/>
                  <a:pt x="2360" y="592"/>
                  <a:pt x="2362" y="588"/>
                </a:cubicBezTo>
                <a:cubicBezTo>
                  <a:pt x="2364" y="584"/>
                  <a:pt x="2366" y="580"/>
                  <a:pt x="2370" y="576"/>
                </a:cubicBezTo>
                <a:cubicBezTo>
                  <a:pt x="2372" y="574"/>
                  <a:pt x="2374" y="572"/>
                  <a:pt x="2376" y="571"/>
                </a:cubicBezTo>
                <a:cubicBezTo>
                  <a:pt x="2378" y="569"/>
                  <a:pt x="2380" y="568"/>
                  <a:pt x="2382" y="567"/>
                </a:cubicBezTo>
                <a:lnTo>
                  <a:pt x="2401" y="547"/>
                </a:lnTo>
                <a:cubicBezTo>
                  <a:pt x="2402" y="547"/>
                  <a:pt x="2403" y="546"/>
                  <a:pt x="2404" y="547"/>
                </a:cubicBezTo>
                <a:cubicBezTo>
                  <a:pt x="2405" y="547"/>
                  <a:pt x="2407" y="548"/>
                  <a:pt x="2408" y="550"/>
                </a:cubicBezTo>
                <a:close/>
                <a:moveTo>
                  <a:pt x="2407" y="585"/>
                </a:moveTo>
                <a:cubicBezTo>
                  <a:pt x="2402" y="581"/>
                  <a:pt x="2398" y="579"/>
                  <a:pt x="2393" y="579"/>
                </a:cubicBezTo>
                <a:cubicBezTo>
                  <a:pt x="2388" y="579"/>
                  <a:pt x="2383" y="581"/>
                  <a:pt x="2379" y="585"/>
                </a:cubicBezTo>
                <a:cubicBezTo>
                  <a:pt x="2377" y="588"/>
                  <a:pt x="2375" y="590"/>
                  <a:pt x="2374" y="592"/>
                </a:cubicBezTo>
                <a:cubicBezTo>
                  <a:pt x="2373" y="595"/>
                  <a:pt x="2373" y="597"/>
                  <a:pt x="2373" y="600"/>
                </a:cubicBezTo>
                <a:cubicBezTo>
                  <a:pt x="2373" y="602"/>
                  <a:pt x="2374" y="605"/>
                  <a:pt x="2375" y="607"/>
                </a:cubicBezTo>
                <a:cubicBezTo>
                  <a:pt x="2376" y="609"/>
                  <a:pt x="2378" y="611"/>
                  <a:pt x="2380" y="613"/>
                </a:cubicBezTo>
                <a:cubicBezTo>
                  <a:pt x="2384" y="618"/>
                  <a:pt x="2389" y="620"/>
                  <a:pt x="2393" y="620"/>
                </a:cubicBezTo>
                <a:cubicBezTo>
                  <a:pt x="2398" y="620"/>
                  <a:pt x="2403" y="618"/>
                  <a:pt x="2407" y="613"/>
                </a:cubicBezTo>
                <a:cubicBezTo>
                  <a:pt x="2410" y="611"/>
                  <a:pt x="2411" y="608"/>
                  <a:pt x="2412" y="606"/>
                </a:cubicBezTo>
                <a:cubicBezTo>
                  <a:pt x="2413" y="603"/>
                  <a:pt x="2414" y="601"/>
                  <a:pt x="2413" y="599"/>
                </a:cubicBezTo>
                <a:cubicBezTo>
                  <a:pt x="2413" y="596"/>
                  <a:pt x="2413" y="594"/>
                  <a:pt x="2411" y="592"/>
                </a:cubicBezTo>
                <a:cubicBezTo>
                  <a:pt x="2410" y="589"/>
                  <a:pt x="2409" y="587"/>
                  <a:pt x="2407" y="585"/>
                </a:cubicBezTo>
                <a:close/>
                <a:moveTo>
                  <a:pt x="2464" y="631"/>
                </a:moveTo>
                <a:cubicBezTo>
                  <a:pt x="2461" y="628"/>
                  <a:pt x="2458" y="627"/>
                  <a:pt x="2454" y="628"/>
                </a:cubicBezTo>
                <a:cubicBezTo>
                  <a:pt x="2450" y="628"/>
                  <a:pt x="2447" y="631"/>
                  <a:pt x="2443" y="634"/>
                </a:cubicBezTo>
                <a:lnTo>
                  <a:pt x="2425" y="651"/>
                </a:lnTo>
                <a:cubicBezTo>
                  <a:pt x="2425" y="653"/>
                  <a:pt x="2425" y="656"/>
                  <a:pt x="2425" y="658"/>
                </a:cubicBezTo>
                <a:cubicBezTo>
                  <a:pt x="2425" y="660"/>
                  <a:pt x="2425" y="662"/>
                  <a:pt x="2426" y="663"/>
                </a:cubicBezTo>
                <a:cubicBezTo>
                  <a:pt x="2426" y="665"/>
                  <a:pt x="2427" y="666"/>
                  <a:pt x="2427" y="667"/>
                </a:cubicBezTo>
                <a:cubicBezTo>
                  <a:pt x="2428" y="668"/>
                  <a:pt x="2429" y="669"/>
                  <a:pt x="2430" y="670"/>
                </a:cubicBezTo>
                <a:cubicBezTo>
                  <a:pt x="2433" y="674"/>
                  <a:pt x="2437" y="674"/>
                  <a:pt x="2442" y="673"/>
                </a:cubicBezTo>
                <a:cubicBezTo>
                  <a:pt x="2447" y="671"/>
                  <a:pt x="2452" y="668"/>
                  <a:pt x="2457" y="662"/>
                </a:cubicBezTo>
                <a:cubicBezTo>
                  <a:pt x="2461" y="658"/>
                  <a:pt x="2464" y="655"/>
                  <a:pt x="2465" y="652"/>
                </a:cubicBezTo>
                <a:cubicBezTo>
                  <a:pt x="2467" y="649"/>
                  <a:pt x="2468" y="646"/>
                  <a:pt x="2468" y="643"/>
                </a:cubicBezTo>
                <a:cubicBezTo>
                  <a:pt x="2469" y="641"/>
                  <a:pt x="2469" y="638"/>
                  <a:pt x="2468" y="636"/>
                </a:cubicBezTo>
                <a:cubicBezTo>
                  <a:pt x="2467" y="634"/>
                  <a:pt x="2466" y="632"/>
                  <a:pt x="2464" y="631"/>
                </a:cubicBezTo>
                <a:close/>
                <a:moveTo>
                  <a:pt x="2545" y="445"/>
                </a:moveTo>
                <a:cubicBezTo>
                  <a:pt x="2553" y="453"/>
                  <a:pt x="2559" y="461"/>
                  <a:pt x="2563" y="469"/>
                </a:cubicBezTo>
                <a:cubicBezTo>
                  <a:pt x="2567" y="477"/>
                  <a:pt x="2569" y="485"/>
                  <a:pt x="2569" y="493"/>
                </a:cubicBezTo>
                <a:cubicBezTo>
                  <a:pt x="2569" y="501"/>
                  <a:pt x="2567" y="509"/>
                  <a:pt x="2563" y="516"/>
                </a:cubicBezTo>
                <a:cubicBezTo>
                  <a:pt x="2559" y="524"/>
                  <a:pt x="2553" y="532"/>
                  <a:pt x="2545" y="540"/>
                </a:cubicBezTo>
                <a:lnTo>
                  <a:pt x="2526" y="559"/>
                </a:lnTo>
                <a:cubicBezTo>
                  <a:pt x="2525" y="561"/>
                  <a:pt x="2523" y="561"/>
                  <a:pt x="2521" y="561"/>
                </a:cubicBezTo>
                <a:cubicBezTo>
                  <a:pt x="2520" y="562"/>
                  <a:pt x="2518" y="561"/>
                  <a:pt x="2516" y="559"/>
                </a:cubicBezTo>
                <a:lnTo>
                  <a:pt x="2433" y="476"/>
                </a:lnTo>
                <a:cubicBezTo>
                  <a:pt x="2431" y="474"/>
                  <a:pt x="2430" y="473"/>
                  <a:pt x="2431" y="471"/>
                </a:cubicBezTo>
                <a:cubicBezTo>
                  <a:pt x="2431" y="469"/>
                  <a:pt x="2432" y="468"/>
                  <a:pt x="2433" y="467"/>
                </a:cubicBezTo>
                <a:lnTo>
                  <a:pt x="2454" y="446"/>
                </a:lnTo>
                <a:cubicBezTo>
                  <a:pt x="2462" y="437"/>
                  <a:pt x="2470" y="432"/>
                  <a:pt x="2477" y="428"/>
                </a:cubicBezTo>
                <a:cubicBezTo>
                  <a:pt x="2485" y="425"/>
                  <a:pt x="2493" y="423"/>
                  <a:pt x="2500" y="423"/>
                </a:cubicBezTo>
                <a:cubicBezTo>
                  <a:pt x="2508" y="423"/>
                  <a:pt x="2515" y="425"/>
                  <a:pt x="2523" y="429"/>
                </a:cubicBezTo>
                <a:cubicBezTo>
                  <a:pt x="2530" y="432"/>
                  <a:pt x="2538" y="438"/>
                  <a:pt x="2545" y="445"/>
                </a:cubicBezTo>
                <a:close/>
                <a:moveTo>
                  <a:pt x="2532" y="458"/>
                </a:moveTo>
                <a:cubicBezTo>
                  <a:pt x="2527" y="453"/>
                  <a:pt x="2522" y="449"/>
                  <a:pt x="2516" y="446"/>
                </a:cubicBezTo>
                <a:cubicBezTo>
                  <a:pt x="2511" y="443"/>
                  <a:pt x="2505" y="441"/>
                  <a:pt x="2499" y="441"/>
                </a:cubicBezTo>
                <a:cubicBezTo>
                  <a:pt x="2493" y="440"/>
                  <a:pt x="2488" y="441"/>
                  <a:pt x="2482" y="443"/>
                </a:cubicBezTo>
                <a:cubicBezTo>
                  <a:pt x="2476" y="446"/>
                  <a:pt x="2470" y="450"/>
                  <a:pt x="2463" y="456"/>
                </a:cubicBezTo>
                <a:lnTo>
                  <a:pt x="2451" y="469"/>
                </a:lnTo>
                <a:lnTo>
                  <a:pt x="2523" y="541"/>
                </a:lnTo>
                <a:lnTo>
                  <a:pt x="2536" y="529"/>
                </a:lnTo>
                <a:cubicBezTo>
                  <a:pt x="2542" y="523"/>
                  <a:pt x="2546" y="517"/>
                  <a:pt x="2549" y="511"/>
                </a:cubicBezTo>
                <a:cubicBezTo>
                  <a:pt x="2551" y="506"/>
                  <a:pt x="2552" y="500"/>
                  <a:pt x="2552" y="494"/>
                </a:cubicBezTo>
                <a:cubicBezTo>
                  <a:pt x="2552" y="489"/>
                  <a:pt x="2550" y="483"/>
                  <a:pt x="2547" y="477"/>
                </a:cubicBezTo>
                <a:cubicBezTo>
                  <a:pt x="2543" y="471"/>
                  <a:pt x="2539" y="465"/>
                  <a:pt x="2532" y="458"/>
                </a:cubicBezTo>
                <a:close/>
                <a:moveTo>
                  <a:pt x="2664" y="418"/>
                </a:moveTo>
                <a:cubicBezTo>
                  <a:pt x="2664" y="418"/>
                  <a:pt x="2664" y="419"/>
                  <a:pt x="2664" y="419"/>
                </a:cubicBezTo>
                <a:cubicBezTo>
                  <a:pt x="2665" y="419"/>
                  <a:pt x="2665" y="420"/>
                  <a:pt x="2664" y="421"/>
                </a:cubicBezTo>
                <a:cubicBezTo>
                  <a:pt x="2664" y="421"/>
                  <a:pt x="2664" y="422"/>
                  <a:pt x="2663" y="423"/>
                </a:cubicBezTo>
                <a:cubicBezTo>
                  <a:pt x="2662" y="423"/>
                  <a:pt x="2662" y="424"/>
                  <a:pt x="2661" y="425"/>
                </a:cubicBezTo>
                <a:cubicBezTo>
                  <a:pt x="2660" y="426"/>
                  <a:pt x="2659" y="427"/>
                  <a:pt x="2658" y="428"/>
                </a:cubicBezTo>
                <a:cubicBezTo>
                  <a:pt x="2657" y="429"/>
                  <a:pt x="2656" y="429"/>
                  <a:pt x="2656" y="429"/>
                </a:cubicBezTo>
                <a:cubicBezTo>
                  <a:pt x="2655" y="429"/>
                  <a:pt x="2655" y="429"/>
                  <a:pt x="2654" y="429"/>
                </a:cubicBezTo>
                <a:cubicBezTo>
                  <a:pt x="2654" y="429"/>
                  <a:pt x="2653" y="429"/>
                  <a:pt x="2653" y="429"/>
                </a:cubicBezTo>
                <a:lnTo>
                  <a:pt x="2644" y="420"/>
                </a:lnTo>
                <a:cubicBezTo>
                  <a:pt x="2645" y="428"/>
                  <a:pt x="2644" y="434"/>
                  <a:pt x="2642" y="440"/>
                </a:cubicBezTo>
                <a:cubicBezTo>
                  <a:pt x="2641" y="445"/>
                  <a:pt x="2638" y="450"/>
                  <a:pt x="2634" y="454"/>
                </a:cubicBezTo>
                <a:cubicBezTo>
                  <a:pt x="2630" y="458"/>
                  <a:pt x="2626" y="461"/>
                  <a:pt x="2621" y="462"/>
                </a:cubicBezTo>
                <a:cubicBezTo>
                  <a:pt x="2617" y="464"/>
                  <a:pt x="2613" y="464"/>
                  <a:pt x="2608" y="464"/>
                </a:cubicBezTo>
                <a:cubicBezTo>
                  <a:pt x="2604" y="463"/>
                  <a:pt x="2600" y="461"/>
                  <a:pt x="2596" y="459"/>
                </a:cubicBezTo>
                <a:cubicBezTo>
                  <a:pt x="2592" y="456"/>
                  <a:pt x="2587" y="453"/>
                  <a:pt x="2583" y="448"/>
                </a:cubicBezTo>
                <a:lnTo>
                  <a:pt x="2543" y="409"/>
                </a:lnTo>
                <a:cubicBezTo>
                  <a:pt x="2543" y="408"/>
                  <a:pt x="2543" y="408"/>
                  <a:pt x="2543" y="408"/>
                </a:cubicBezTo>
                <a:cubicBezTo>
                  <a:pt x="2543" y="407"/>
                  <a:pt x="2543" y="407"/>
                  <a:pt x="2543" y="406"/>
                </a:cubicBezTo>
                <a:cubicBezTo>
                  <a:pt x="2543" y="405"/>
                  <a:pt x="2544" y="404"/>
                  <a:pt x="2544" y="404"/>
                </a:cubicBezTo>
                <a:cubicBezTo>
                  <a:pt x="2545" y="403"/>
                  <a:pt x="2546" y="402"/>
                  <a:pt x="2547" y="401"/>
                </a:cubicBezTo>
                <a:cubicBezTo>
                  <a:pt x="2548" y="400"/>
                  <a:pt x="2549" y="399"/>
                  <a:pt x="2550" y="398"/>
                </a:cubicBezTo>
                <a:cubicBezTo>
                  <a:pt x="2551" y="397"/>
                  <a:pt x="2552" y="397"/>
                  <a:pt x="2552" y="397"/>
                </a:cubicBezTo>
                <a:cubicBezTo>
                  <a:pt x="2553" y="396"/>
                  <a:pt x="2554" y="396"/>
                  <a:pt x="2554" y="396"/>
                </a:cubicBezTo>
                <a:cubicBezTo>
                  <a:pt x="2555" y="396"/>
                  <a:pt x="2555" y="397"/>
                  <a:pt x="2555" y="397"/>
                </a:cubicBezTo>
                <a:lnTo>
                  <a:pt x="2593" y="435"/>
                </a:lnTo>
                <a:cubicBezTo>
                  <a:pt x="2597" y="438"/>
                  <a:pt x="2600" y="441"/>
                  <a:pt x="2603" y="443"/>
                </a:cubicBezTo>
                <a:cubicBezTo>
                  <a:pt x="2606" y="445"/>
                  <a:pt x="2608" y="446"/>
                  <a:pt x="2611" y="446"/>
                </a:cubicBezTo>
                <a:cubicBezTo>
                  <a:pt x="2614" y="447"/>
                  <a:pt x="2617" y="446"/>
                  <a:pt x="2619" y="446"/>
                </a:cubicBezTo>
                <a:cubicBezTo>
                  <a:pt x="2622" y="445"/>
                  <a:pt x="2624" y="443"/>
                  <a:pt x="2627" y="441"/>
                </a:cubicBezTo>
                <a:cubicBezTo>
                  <a:pt x="2630" y="438"/>
                  <a:pt x="2631" y="434"/>
                  <a:pt x="2632" y="429"/>
                </a:cubicBezTo>
                <a:cubicBezTo>
                  <a:pt x="2633" y="424"/>
                  <a:pt x="2633" y="418"/>
                  <a:pt x="2632" y="410"/>
                </a:cubicBezTo>
                <a:lnTo>
                  <a:pt x="2587" y="365"/>
                </a:lnTo>
                <a:cubicBezTo>
                  <a:pt x="2587" y="365"/>
                  <a:pt x="2587" y="364"/>
                  <a:pt x="2587" y="364"/>
                </a:cubicBezTo>
                <a:cubicBezTo>
                  <a:pt x="2586" y="363"/>
                  <a:pt x="2586" y="363"/>
                  <a:pt x="2587" y="362"/>
                </a:cubicBezTo>
                <a:cubicBezTo>
                  <a:pt x="2587" y="361"/>
                  <a:pt x="2587" y="361"/>
                  <a:pt x="2588" y="360"/>
                </a:cubicBezTo>
                <a:cubicBezTo>
                  <a:pt x="2589" y="359"/>
                  <a:pt x="2590" y="358"/>
                  <a:pt x="2591" y="357"/>
                </a:cubicBezTo>
                <a:cubicBezTo>
                  <a:pt x="2592" y="356"/>
                  <a:pt x="2593" y="355"/>
                  <a:pt x="2594" y="354"/>
                </a:cubicBezTo>
                <a:cubicBezTo>
                  <a:pt x="2595" y="353"/>
                  <a:pt x="2596" y="353"/>
                  <a:pt x="2596" y="353"/>
                </a:cubicBezTo>
                <a:cubicBezTo>
                  <a:pt x="2597" y="353"/>
                  <a:pt x="2597" y="352"/>
                  <a:pt x="2598" y="352"/>
                </a:cubicBezTo>
                <a:cubicBezTo>
                  <a:pt x="2598" y="353"/>
                  <a:pt x="2599" y="353"/>
                  <a:pt x="2599" y="353"/>
                </a:cubicBezTo>
                <a:lnTo>
                  <a:pt x="2664" y="418"/>
                </a:lnTo>
                <a:close/>
                <a:moveTo>
                  <a:pt x="2665" y="296"/>
                </a:moveTo>
                <a:cubicBezTo>
                  <a:pt x="2666" y="297"/>
                  <a:pt x="2667" y="298"/>
                  <a:pt x="2668" y="298"/>
                </a:cubicBezTo>
                <a:cubicBezTo>
                  <a:pt x="2668" y="299"/>
                  <a:pt x="2669" y="300"/>
                  <a:pt x="2669" y="300"/>
                </a:cubicBezTo>
                <a:cubicBezTo>
                  <a:pt x="2669" y="301"/>
                  <a:pt x="2669" y="302"/>
                  <a:pt x="2669" y="302"/>
                </a:cubicBezTo>
                <a:cubicBezTo>
                  <a:pt x="2669" y="302"/>
                  <a:pt x="2669" y="303"/>
                  <a:pt x="2669" y="303"/>
                </a:cubicBezTo>
                <a:cubicBezTo>
                  <a:pt x="2668" y="304"/>
                  <a:pt x="2668" y="304"/>
                  <a:pt x="2667" y="304"/>
                </a:cubicBezTo>
                <a:cubicBezTo>
                  <a:pt x="2666" y="305"/>
                  <a:pt x="2665" y="305"/>
                  <a:pt x="2665" y="305"/>
                </a:cubicBezTo>
                <a:cubicBezTo>
                  <a:pt x="2664" y="306"/>
                  <a:pt x="2663" y="307"/>
                  <a:pt x="2662" y="307"/>
                </a:cubicBezTo>
                <a:cubicBezTo>
                  <a:pt x="2661" y="308"/>
                  <a:pt x="2660" y="309"/>
                  <a:pt x="2659" y="310"/>
                </a:cubicBezTo>
                <a:cubicBezTo>
                  <a:pt x="2657" y="311"/>
                  <a:pt x="2656" y="312"/>
                  <a:pt x="2656" y="314"/>
                </a:cubicBezTo>
                <a:cubicBezTo>
                  <a:pt x="2655" y="316"/>
                  <a:pt x="2655" y="318"/>
                  <a:pt x="2654" y="320"/>
                </a:cubicBezTo>
                <a:cubicBezTo>
                  <a:pt x="2654" y="322"/>
                  <a:pt x="2654" y="325"/>
                  <a:pt x="2655" y="328"/>
                </a:cubicBezTo>
                <a:cubicBezTo>
                  <a:pt x="2655" y="332"/>
                  <a:pt x="2656" y="335"/>
                  <a:pt x="2657" y="340"/>
                </a:cubicBezTo>
                <a:lnTo>
                  <a:pt x="2699" y="382"/>
                </a:lnTo>
                <a:cubicBezTo>
                  <a:pt x="2700" y="382"/>
                  <a:pt x="2700" y="383"/>
                  <a:pt x="2700" y="383"/>
                </a:cubicBezTo>
                <a:cubicBezTo>
                  <a:pt x="2700" y="384"/>
                  <a:pt x="2700" y="384"/>
                  <a:pt x="2700" y="385"/>
                </a:cubicBezTo>
                <a:cubicBezTo>
                  <a:pt x="2700" y="386"/>
                  <a:pt x="2699" y="386"/>
                  <a:pt x="2699" y="387"/>
                </a:cubicBezTo>
                <a:cubicBezTo>
                  <a:pt x="2698" y="388"/>
                  <a:pt x="2697" y="389"/>
                  <a:pt x="2696" y="390"/>
                </a:cubicBezTo>
                <a:cubicBezTo>
                  <a:pt x="2695" y="391"/>
                  <a:pt x="2694" y="392"/>
                  <a:pt x="2693" y="393"/>
                </a:cubicBezTo>
                <a:cubicBezTo>
                  <a:pt x="2692" y="394"/>
                  <a:pt x="2691" y="394"/>
                  <a:pt x="2690" y="394"/>
                </a:cubicBezTo>
                <a:cubicBezTo>
                  <a:pt x="2690" y="395"/>
                  <a:pt x="2689" y="395"/>
                  <a:pt x="2689" y="395"/>
                </a:cubicBezTo>
                <a:cubicBezTo>
                  <a:pt x="2688" y="395"/>
                  <a:pt x="2688" y="394"/>
                  <a:pt x="2688" y="394"/>
                </a:cubicBezTo>
                <a:lnTo>
                  <a:pt x="2623" y="329"/>
                </a:lnTo>
                <a:cubicBezTo>
                  <a:pt x="2623" y="329"/>
                  <a:pt x="2622" y="329"/>
                  <a:pt x="2622" y="328"/>
                </a:cubicBezTo>
                <a:cubicBezTo>
                  <a:pt x="2622" y="328"/>
                  <a:pt x="2622" y="327"/>
                  <a:pt x="2622" y="327"/>
                </a:cubicBezTo>
                <a:cubicBezTo>
                  <a:pt x="2623" y="326"/>
                  <a:pt x="2623" y="325"/>
                  <a:pt x="2624" y="324"/>
                </a:cubicBezTo>
                <a:cubicBezTo>
                  <a:pt x="2624" y="324"/>
                  <a:pt x="2625" y="323"/>
                  <a:pt x="2626" y="322"/>
                </a:cubicBezTo>
                <a:cubicBezTo>
                  <a:pt x="2627" y="321"/>
                  <a:pt x="2628" y="320"/>
                  <a:pt x="2629" y="319"/>
                </a:cubicBezTo>
                <a:cubicBezTo>
                  <a:pt x="2630" y="319"/>
                  <a:pt x="2630" y="318"/>
                  <a:pt x="2631" y="318"/>
                </a:cubicBezTo>
                <a:cubicBezTo>
                  <a:pt x="2632" y="318"/>
                  <a:pt x="2632" y="318"/>
                  <a:pt x="2632" y="318"/>
                </a:cubicBezTo>
                <a:cubicBezTo>
                  <a:pt x="2633" y="318"/>
                  <a:pt x="2633" y="318"/>
                  <a:pt x="2634" y="319"/>
                </a:cubicBezTo>
                <a:lnTo>
                  <a:pt x="2643" y="328"/>
                </a:lnTo>
                <a:cubicBezTo>
                  <a:pt x="2642" y="324"/>
                  <a:pt x="2642" y="320"/>
                  <a:pt x="2642" y="317"/>
                </a:cubicBezTo>
                <a:cubicBezTo>
                  <a:pt x="2642" y="314"/>
                  <a:pt x="2642" y="311"/>
                  <a:pt x="2642" y="308"/>
                </a:cubicBezTo>
                <a:cubicBezTo>
                  <a:pt x="2643" y="306"/>
                  <a:pt x="2644" y="304"/>
                  <a:pt x="2645" y="302"/>
                </a:cubicBezTo>
                <a:cubicBezTo>
                  <a:pt x="2646" y="301"/>
                  <a:pt x="2647" y="299"/>
                  <a:pt x="2648" y="298"/>
                </a:cubicBezTo>
                <a:cubicBezTo>
                  <a:pt x="2649" y="297"/>
                  <a:pt x="2649" y="296"/>
                  <a:pt x="2650" y="296"/>
                </a:cubicBezTo>
                <a:cubicBezTo>
                  <a:pt x="2651" y="295"/>
                  <a:pt x="2652" y="294"/>
                  <a:pt x="2653" y="294"/>
                </a:cubicBezTo>
                <a:cubicBezTo>
                  <a:pt x="2654" y="293"/>
                  <a:pt x="2655" y="292"/>
                  <a:pt x="2656" y="292"/>
                </a:cubicBezTo>
                <a:cubicBezTo>
                  <a:pt x="2657" y="291"/>
                  <a:pt x="2658" y="291"/>
                  <a:pt x="2658" y="291"/>
                </a:cubicBezTo>
                <a:cubicBezTo>
                  <a:pt x="2659" y="291"/>
                  <a:pt x="2659" y="291"/>
                  <a:pt x="2660" y="291"/>
                </a:cubicBezTo>
                <a:cubicBezTo>
                  <a:pt x="2660" y="291"/>
                  <a:pt x="2660" y="292"/>
                  <a:pt x="2661" y="292"/>
                </a:cubicBezTo>
                <a:cubicBezTo>
                  <a:pt x="2661" y="292"/>
                  <a:pt x="2662" y="293"/>
                  <a:pt x="2662" y="293"/>
                </a:cubicBezTo>
                <a:cubicBezTo>
                  <a:pt x="2663" y="294"/>
                  <a:pt x="2664" y="295"/>
                  <a:pt x="2665" y="296"/>
                </a:cubicBezTo>
                <a:close/>
                <a:moveTo>
                  <a:pt x="2793" y="289"/>
                </a:moveTo>
                <a:cubicBezTo>
                  <a:pt x="2794" y="289"/>
                  <a:pt x="2794" y="290"/>
                  <a:pt x="2794" y="291"/>
                </a:cubicBezTo>
                <a:cubicBezTo>
                  <a:pt x="2794" y="291"/>
                  <a:pt x="2793" y="292"/>
                  <a:pt x="2793" y="293"/>
                </a:cubicBezTo>
                <a:cubicBezTo>
                  <a:pt x="2792" y="294"/>
                  <a:pt x="2791" y="295"/>
                  <a:pt x="2790" y="296"/>
                </a:cubicBezTo>
                <a:cubicBezTo>
                  <a:pt x="2789" y="297"/>
                  <a:pt x="2788" y="298"/>
                  <a:pt x="2787" y="299"/>
                </a:cubicBezTo>
                <a:cubicBezTo>
                  <a:pt x="2786" y="299"/>
                  <a:pt x="2785" y="300"/>
                  <a:pt x="2785" y="300"/>
                </a:cubicBezTo>
                <a:cubicBezTo>
                  <a:pt x="2784" y="300"/>
                  <a:pt x="2783" y="300"/>
                  <a:pt x="2783" y="299"/>
                </a:cubicBezTo>
                <a:lnTo>
                  <a:pt x="2776" y="292"/>
                </a:lnTo>
                <a:cubicBezTo>
                  <a:pt x="2776" y="298"/>
                  <a:pt x="2776" y="304"/>
                  <a:pt x="2774" y="309"/>
                </a:cubicBezTo>
                <a:cubicBezTo>
                  <a:pt x="2772" y="314"/>
                  <a:pt x="2769" y="319"/>
                  <a:pt x="2765" y="323"/>
                </a:cubicBezTo>
                <a:cubicBezTo>
                  <a:pt x="2762" y="326"/>
                  <a:pt x="2758" y="329"/>
                  <a:pt x="2755" y="330"/>
                </a:cubicBezTo>
                <a:cubicBezTo>
                  <a:pt x="2751" y="332"/>
                  <a:pt x="2748" y="333"/>
                  <a:pt x="2744" y="334"/>
                </a:cubicBezTo>
                <a:cubicBezTo>
                  <a:pt x="2740" y="334"/>
                  <a:pt x="2737" y="333"/>
                  <a:pt x="2733" y="332"/>
                </a:cubicBezTo>
                <a:cubicBezTo>
                  <a:pt x="2730" y="331"/>
                  <a:pt x="2726" y="328"/>
                  <a:pt x="2723" y="325"/>
                </a:cubicBezTo>
                <a:cubicBezTo>
                  <a:pt x="2720" y="322"/>
                  <a:pt x="2717" y="318"/>
                  <a:pt x="2716" y="314"/>
                </a:cubicBezTo>
                <a:cubicBezTo>
                  <a:pt x="2715" y="309"/>
                  <a:pt x="2715" y="305"/>
                  <a:pt x="2716" y="300"/>
                </a:cubicBezTo>
                <a:cubicBezTo>
                  <a:pt x="2717" y="296"/>
                  <a:pt x="2719" y="291"/>
                  <a:pt x="2722" y="286"/>
                </a:cubicBezTo>
                <a:cubicBezTo>
                  <a:pt x="2725" y="281"/>
                  <a:pt x="2729" y="276"/>
                  <a:pt x="2734" y="271"/>
                </a:cubicBezTo>
                <a:lnTo>
                  <a:pt x="2743" y="262"/>
                </a:lnTo>
                <a:lnTo>
                  <a:pt x="2738" y="257"/>
                </a:lnTo>
                <a:cubicBezTo>
                  <a:pt x="2736" y="255"/>
                  <a:pt x="2733" y="253"/>
                  <a:pt x="2731" y="252"/>
                </a:cubicBezTo>
                <a:cubicBezTo>
                  <a:pt x="2728" y="250"/>
                  <a:pt x="2726" y="249"/>
                  <a:pt x="2723" y="249"/>
                </a:cubicBezTo>
                <a:cubicBezTo>
                  <a:pt x="2721" y="249"/>
                  <a:pt x="2718" y="250"/>
                  <a:pt x="2716" y="251"/>
                </a:cubicBezTo>
                <a:cubicBezTo>
                  <a:pt x="2713" y="252"/>
                  <a:pt x="2711" y="254"/>
                  <a:pt x="2708" y="257"/>
                </a:cubicBezTo>
                <a:cubicBezTo>
                  <a:pt x="2705" y="260"/>
                  <a:pt x="2703" y="263"/>
                  <a:pt x="2701" y="266"/>
                </a:cubicBezTo>
                <a:cubicBezTo>
                  <a:pt x="2700" y="269"/>
                  <a:pt x="2698" y="272"/>
                  <a:pt x="2697" y="274"/>
                </a:cubicBezTo>
                <a:cubicBezTo>
                  <a:pt x="2697" y="277"/>
                  <a:pt x="2696" y="279"/>
                  <a:pt x="2695" y="281"/>
                </a:cubicBezTo>
                <a:cubicBezTo>
                  <a:pt x="2695" y="283"/>
                  <a:pt x="2694" y="284"/>
                  <a:pt x="2694" y="285"/>
                </a:cubicBezTo>
                <a:cubicBezTo>
                  <a:pt x="2693" y="285"/>
                  <a:pt x="2693" y="285"/>
                  <a:pt x="2692" y="285"/>
                </a:cubicBezTo>
                <a:cubicBezTo>
                  <a:pt x="2692" y="285"/>
                  <a:pt x="2691" y="285"/>
                  <a:pt x="2691" y="285"/>
                </a:cubicBezTo>
                <a:cubicBezTo>
                  <a:pt x="2690" y="285"/>
                  <a:pt x="2690" y="285"/>
                  <a:pt x="2689" y="284"/>
                </a:cubicBezTo>
                <a:cubicBezTo>
                  <a:pt x="2688" y="284"/>
                  <a:pt x="2688" y="283"/>
                  <a:pt x="2687" y="282"/>
                </a:cubicBezTo>
                <a:cubicBezTo>
                  <a:pt x="2686" y="281"/>
                  <a:pt x="2685" y="280"/>
                  <a:pt x="2684" y="279"/>
                </a:cubicBezTo>
                <a:cubicBezTo>
                  <a:pt x="2684" y="278"/>
                  <a:pt x="2683" y="277"/>
                  <a:pt x="2683" y="276"/>
                </a:cubicBezTo>
                <a:cubicBezTo>
                  <a:pt x="2683" y="275"/>
                  <a:pt x="2684" y="273"/>
                  <a:pt x="2685" y="271"/>
                </a:cubicBezTo>
                <a:cubicBezTo>
                  <a:pt x="2685" y="268"/>
                  <a:pt x="2686" y="266"/>
                  <a:pt x="2688" y="263"/>
                </a:cubicBezTo>
                <a:cubicBezTo>
                  <a:pt x="2689" y="260"/>
                  <a:pt x="2691" y="257"/>
                  <a:pt x="2693" y="254"/>
                </a:cubicBezTo>
                <a:cubicBezTo>
                  <a:pt x="2695" y="251"/>
                  <a:pt x="2697" y="249"/>
                  <a:pt x="2700" y="246"/>
                </a:cubicBezTo>
                <a:cubicBezTo>
                  <a:pt x="2704" y="242"/>
                  <a:pt x="2709" y="238"/>
                  <a:pt x="2713" y="236"/>
                </a:cubicBezTo>
                <a:cubicBezTo>
                  <a:pt x="2717" y="234"/>
                  <a:pt x="2721" y="233"/>
                  <a:pt x="2725" y="233"/>
                </a:cubicBezTo>
                <a:cubicBezTo>
                  <a:pt x="2730" y="233"/>
                  <a:pt x="2733" y="234"/>
                  <a:pt x="2737" y="236"/>
                </a:cubicBezTo>
                <a:cubicBezTo>
                  <a:pt x="2741" y="238"/>
                  <a:pt x="2745" y="241"/>
                  <a:pt x="2749" y="245"/>
                </a:cubicBezTo>
                <a:lnTo>
                  <a:pt x="2793" y="289"/>
                </a:lnTo>
                <a:close/>
                <a:moveTo>
                  <a:pt x="2752" y="271"/>
                </a:moveTo>
                <a:lnTo>
                  <a:pt x="2742" y="281"/>
                </a:lnTo>
                <a:cubicBezTo>
                  <a:pt x="2738" y="284"/>
                  <a:pt x="2736" y="287"/>
                  <a:pt x="2734" y="290"/>
                </a:cubicBezTo>
                <a:cubicBezTo>
                  <a:pt x="2732" y="293"/>
                  <a:pt x="2731" y="296"/>
                  <a:pt x="2730" y="299"/>
                </a:cubicBezTo>
                <a:cubicBezTo>
                  <a:pt x="2730" y="301"/>
                  <a:pt x="2730" y="304"/>
                  <a:pt x="2731" y="306"/>
                </a:cubicBezTo>
                <a:cubicBezTo>
                  <a:pt x="2732" y="308"/>
                  <a:pt x="2733" y="311"/>
                  <a:pt x="2735" y="313"/>
                </a:cubicBezTo>
                <a:cubicBezTo>
                  <a:pt x="2738" y="316"/>
                  <a:pt x="2742" y="317"/>
                  <a:pt x="2746" y="317"/>
                </a:cubicBezTo>
                <a:cubicBezTo>
                  <a:pt x="2750" y="317"/>
                  <a:pt x="2754" y="315"/>
                  <a:pt x="2758" y="311"/>
                </a:cubicBezTo>
                <a:cubicBezTo>
                  <a:pt x="2761" y="308"/>
                  <a:pt x="2763" y="305"/>
                  <a:pt x="2764" y="300"/>
                </a:cubicBezTo>
                <a:cubicBezTo>
                  <a:pt x="2765" y="296"/>
                  <a:pt x="2766" y="291"/>
                  <a:pt x="2765" y="285"/>
                </a:cubicBezTo>
                <a:lnTo>
                  <a:pt x="2752" y="271"/>
                </a:lnTo>
                <a:close/>
                <a:moveTo>
                  <a:pt x="2841" y="231"/>
                </a:moveTo>
                <a:cubicBezTo>
                  <a:pt x="2842" y="233"/>
                  <a:pt x="2843" y="234"/>
                  <a:pt x="2844" y="235"/>
                </a:cubicBezTo>
                <a:cubicBezTo>
                  <a:pt x="2845" y="236"/>
                  <a:pt x="2845" y="237"/>
                  <a:pt x="2845" y="237"/>
                </a:cubicBezTo>
                <a:cubicBezTo>
                  <a:pt x="2845" y="238"/>
                  <a:pt x="2845" y="239"/>
                  <a:pt x="2844" y="240"/>
                </a:cubicBezTo>
                <a:cubicBezTo>
                  <a:pt x="2844" y="241"/>
                  <a:pt x="2843" y="242"/>
                  <a:pt x="2842" y="244"/>
                </a:cubicBezTo>
                <a:cubicBezTo>
                  <a:pt x="2842" y="245"/>
                  <a:pt x="2841" y="246"/>
                  <a:pt x="2840" y="247"/>
                </a:cubicBezTo>
                <a:cubicBezTo>
                  <a:pt x="2839" y="249"/>
                  <a:pt x="2838" y="250"/>
                  <a:pt x="2837" y="251"/>
                </a:cubicBezTo>
                <a:cubicBezTo>
                  <a:pt x="2833" y="254"/>
                  <a:pt x="2830" y="257"/>
                  <a:pt x="2827" y="258"/>
                </a:cubicBezTo>
                <a:cubicBezTo>
                  <a:pt x="2824" y="260"/>
                  <a:pt x="2820" y="260"/>
                  <a:pt x="2817" y="260"/>
                </a:cubicBezTo>
                <a:cubicBezTo>
                  <a:pt x="2814" y="260"/>
                  <a:pt x="2810" y="259"/>
                  <a:pt x="2807" y="256"/>
                </a:cubicBezTo>
                <a:cubicBezTo>
                  <a:pt x="2803" y="254"/>
                  <a:pt x="2800" y="252"/>
                  <a:pt x="2796" y="248"/>
                </a:cubicBezTo>
                <a:lnTo>
                  <a:pt x="2758" y="210"/>
                </a:lnTo>
                <a:lnTo>
                  <a:pt x="2749" y="219"/>
                </a:lnTo>
                <a:cubicBezTo>
                  <a:pt x="2748" y="220"/>
                  <a:pt x="2747" y="220"/>
                  <a:pt x="2746" y="220"/>
                </a:cubicBezTo>
                <a:cubicBezTo>
                  <a:pt x="2745" y="219"/>
                  <a:pt x="2744" y="218"/>
                  <a:pt x="2742" y="217"/>
                </a:cubicBezTo>
                <a:cubicBezTo>
                  <a:pt x="2741" y="216"/>
                  <a:pt x="2740" y="215"/>
                  <a:pt x="2740" y="214"/>
                </a:cubicBezTo>
                <a:cubicBezTo>
                  <a:pt x="2739" y="213"/>
                  <a:pt x="2739" y="213"/>
                  <a:pt x="2739" y="212"/>
                </a:cubicBezTo>
                <a:cubicBezTo>
                  <a:pt x="2738" y="211"/>
                  <a:pt x="2738" y="211"/>
                  <a:pt x="2739" y="210"/>
                </a:cubicBezTo>
                <a:cubicBezTo>
                  <a:pt x="2739" y="210"/>
                  <a:pt x="2739" y="210"/>
                  <a:pt x="2739" y="209"/>
                </a:cubicBezTo>
                <a:lnTo>
                  <a:pt x="2748" y="200"/>
                </a:lnTo>
                <a:lnTo>
                  <a:pt x="2733" y="185"/>
                </a:lnTo>
                <a:cubicBezTo>
                  <a:pt x="2733" y="184"/>
                  <a:pt x="2732" y="184"/>
                  <a:pt x="2732" y="184"/>
                </a:cubicBezTo>
                <a:cubicBezTo>
                  <a:pt x="2732" y="183"/>
                  <a:pt x="2732" y="183"/>
                  <a:pt x="2732" y="182"/>
                </a:cubicBezTo>
                <a:cubicBezTo>
                  <a:pt x="2733" y="181"/>
                  <a:pt x="2733" y="181"/>
                  <a:pt x="2734" y="180"/>
                </a:cubicBezTo>
                <a:cubicBezTo>
                  <a:pt x="2735" y="179"/>
                  <a:pt x="2735" y="178"/>
                  <a:pt x="2737" y="177"/>
                </a:cubicBezTo>
                <a:cubicBezTo>
                  <a:pt x="2738" y="175"/>
                  <a:pt x="2739" y="174"/>
                  <a:pt x="2740" y="174"/>
                </a:cubicBezTo>
                <a:cubicBezTo>
                  <a:pt x="2741" y="173"/>
                  <a:pt x="2741" y="173"/>
                  <a:pt x="2742" y="172"/>
                </a:cubicBezTo>
                <a:cubicBezTo>
                  <a:pt x="2743" y="172"/>
                  <a:pt x="2743" y="172"/>
                  <a:pt x="2744" y="172"/>
                </a:cubicBezTo>
                <a:cubicBezTo>
                  <a:pt x="2744" y="172"/>
                  <a:pt x="2744" y="173"/>
                  <a:pt x="2745" y="173"/>
                </a:cubicBezTo>
                <a:lnTo>
                  <a:pt x="2760" y="188"/>
                </a:lnTo>
                <a:lnTo>
                  <a:pt x="2777" y="172"/>
                </a:lnTo>
                <a:cubicBezTo>
                  <a:pt x="2777" y="171"/>
                  <a:pt x="2778" y="171"/>
                  <a:pt x="2778" y="171"/>
                </a:cubicBezTo>
                <a:cubicBezTo>
                  <a:pt x="2779" y="171"/>
                  <a:pt x="2779" y="171"/>
                  <a:pt x="2780" y="171"/>
                </a:cubicBezTo>
                <a:cubicBezTo>
                  <a:pt x="2780" y="171"/>
                  <a:pt x="2781" y="172"/>
                  <a:pt x="2782" y="172"/>
                </a:cubicBezTo>
                <a:cubicBezTo>
                  <a:pt x="2782" y="173"/>
                  <a:pt x="2783" y="173"/>
                  <a:pt x="2784" y="174"/>
                </a:cubicBezTo>
                <a:cubicBezTo>
                  <a:pt x="2786" y="176"/>
                  <a:pt x="2787" y="178"/>
                  <a:pt x="2787" y="179"/>
                </a:cubicBezTo>
                <a:cubicBezTo>
                  <a:pt x="2788" y="180"/>
                  <a:pt x="2787" y="181"/>
                  <a:pt x="2787" y="182"/>
                </a:cubicBezTo>
                <a:lnTo>
                  <a:pt x="2770" y="198"/>
                </a:lnTo>
                <a:lnTo>
                  <a:pt x="2806" y="234"/>
                </a:lnTo>
                <a:cubicBezTo>
                  <a:pt x="2811" y="239"/>
                  <a:pt x="2815" y="241"/>
                  <a:pt x="2818" y="242"/>
                </a:cubicBezTo>
                <a:cubicBezTo>
                  <a:pt x="2822" y="243"/>
                  <a:pt x="2825" y="242"/>
                  <a:pt x="2829" y="239"/>
                </a:cubicBezTo>
                <a:cubicBezTo>
                  <a:pt x="2830" y="238"/>
                  <a:pt x="2831" y="236"/>
                  <a:pt x="2831" y="235"/>
                </a:cubicBezTo>
                <a:cubicBezTo>
                  <a:pt x="2832" y="234"/>
                  <a:pt x="2832" y="233"/>
                  <a:pt x="2833" y="232"/>
                </a:cubicBezTo>
                <a:cubicBezTo>
                  <a:pt x="2833" y="232"/>
                  <a:pt x="2834" y="231"/>
                  <a:pt x="2834" y="230"/>
                </a:cubicBezTo>
                <a:cubicBezTo>
                  <a:pt x="2834" y="229"/>
                  <a:pt x="2835" y="229"/>
                  <a:pt x="2835" y="228"/>
                </a:cubicBezTo>
                <a:cubicBezTo>
                  <a:pt x="2835" y="228"/>
                  <a:pt x="2835" y="228"/>
                  <a:pt x="2836" y="228"/>
                </a:cubicBezTo>
                <a:cubicBezTo>
                  <a:pt x="2836" y="228"/>
                  <a:pt x="2836" y="228"/>
                  <a:pt x="2837" y="228"/>
                </a:cubicBezTo>
                <a:cubicBezTo>
                  <a:pt x="2837" y="228"/>
                  <a:pt x="2838" y="229"/>
                  <a:pt x="2839" y="229"/>
                </a:cubicBezTo>
                <a:cubicBezTo>
                  <a:pt x="2839" y="230"/>
                  <a:pt x="2840" y="230"/>
                  <a:pt x="2841" y="231"/>
                </a:cubicBezTo>
                <a:close/>
                <a:moveTo>
                  <a:pt x="2869" y="212"/>
                </a:moveTo>
                <a:cubicBezTo>
                  <a:pt x="2870" y="213"/>
                  <a:pt x="2870" y="213"/>
                  <a:pt x="2870" y="214"/>
                </a:cubicBezTo>
                <a:cubicBezTo>
                  <a:pt x="2870" y="214"/>
                  <a:pt x="2870" y="215"/>
                  <a:pt x="2870" y="215"/>
                </a:cubicBezTo>
                <a:cubicBezTo>
                  <a:pt x="2869" y="216"/>
                  <a:pt x="2869" y="217"/>
                  <a:pt x="2868" y="217"/>
                </a:cubicBezTo>
                <a:cubicBezTo>
                  <a:pt x="2868" y="218"/>
                  <a:pt x="2867" y="219"/>
                  <a:pt x="2865" y="221"/>
                </a:cubicBezTo>
                <a:cubicBezTo>
                  <a:pt x="2864" y="222"/>
                  <a:pt x="2863" y="223"/>
                  <a:pt x="2862" y="223"/>
                </a:cubicBezTo>
                <a:cubicBezTo>
                  <a:pt x="2862" y="224"/>
                  <a:pt x="2861" y="224"/>
                  <a:pt x="2860" y="225"/>
                </a:cubicBezTo>
                <a:cubicBezTo>
                  <a:pt x="2859" y="225"/>
                  <a:pt x="2859" y="225"/>
                  <a:pt x="2859" y="225"/>
                </a:cubicBezTo>
                <a:cubicBezTo>
                  <a:pt x="2858" y="225"/>
                  <a:pt x="2858" y="225"/>
                  <a:pt x="2857" y="224"/>
                </a:cubicBezTo>
                <a:lnTo>
                  <a:pt x="2793" y="160"/>
                </a:lnTo>
                <a:cubicBezTo>
                  <a:pt x="2792" y="159"/>
                  <a:pt x="2792" y="159"/>
                  <a:pt x="2792" y="158"/>
                </a:cubicBezTo>
                <a:cubicBezTo>
                  <a:pt x="2792" y="158"/>
                  <a:pt x="2792" y="157"/>
                  <a:pt x="2792" y="157"/>
                </a:cubicBezTo>
                <a:cubicBezTo>
                  <a:pt x="2792" y="156"/>
                  <a:pt x="2793" y="155"/>
                  <a:pt x="2794" y="154"/>
                </a:cubicBezTo>
                <a:cubicBezTo>
                  <a:pt x="2794" y="154"/>
                  <a:pt x="2795" y="153"/>
                  <a:pt x="2796" y="151"/>
                </a:cubicBezTo>
                <a:cubicBezTo>
                  <a:pt x="2798" y="150"/>
                  <a:pt x="2799" y="149"/>
                  <a:pt x="2799" y="149"/>
                </a:cubicBezTo>
                <a:cubicBezTo>
                  <a:pt x="2800" y="148"/>
                  <a:pt x="2801" y="148"/>
                  <a:pt x="2802" y="147"/>
                </a:cubicBezTo>
                <a:cubicBezTo>
                  <a:pt x="2802" y="147"/>
                  <a:pt x="2803" y="147"/>
                  <a:pt x="2803" y="147"/>
                </a:cubicBezTo>
                <a:cubicBezTo>
                  <a:pt x="2804" y="147"/>
                  <a:pt x="2804" y="147"/>
                  <a:pt x="2805" y="148"/>
                </a:cubicBezTo>
                <a:lnTo>
                  <a:pt x="2869" y="212"/>
                </a:lnTo>
                <a:close/>
                <a:moveTo>
                  <a:pt x="2784" y="125"/>
                </a:moveTo>
                <a:cubicBezTo>
                  <a:pt x="2787" y="127"/>
                  <a:pt x="2788" y="130"/>
                  <a:pt x="2788" y="132"/>
                </a:cubicBezTo>
                <a:cubicBezTo>
                  <a:pt x="2788" y="134"/>
                  <a:pt x="2787" y="136"/>
                  <a:pt x="2784" y="139"/>
                </a:cubicBezTo>
                <a:cubicBezTo>
                  <a:pt x="2781" y="142"/>
                  <a:pt x="2779" y="143"/>
                  <a:pt x="2777" y="143"/>
                </a:cubicBezTo>
                <a:cubicBezTo>
                  <a:pt x="2775" y="143"/>
                  <a:pt x="2772" y="142"/>
                  <a:pt x="2770" y="139"/>
                </a:cubicBezTo>
                <a:cubicBezTo>
                  <a:pt x="2767" y="137"/>
                  <a:pt x="2765" y="134"/>
                  <a:pt x="2765" y="132"/>
                </a:cubicBezTo>
                <a:cubicBezTo>
                  <a:pt x="2766" y="130"/>
                  <a:pt x="2767" y="128"/>
                  <a:pt x="2770" y="125"/>
                </a:cubicBezTo>
                <a:cubicBezTo>
                  <a:pt x="2773" y="122"/>
                  <a:pt x="2775" y="121"/>
                  <a:pt x="2777" y="121"/>
                </a:cubicBezTo>
                <a:cubicBezTo>
                  <a:pt x="2779" y="120"/>
                  <a:pt x="2781" y="122"/>
                  <a:pt x="2784" y="125"/>
                </a:cubicBezTo>
                <a:close/>
                <a:moveTo>
                  <a:pt x="2918" y="97"/>
                </a:moveTo>
                <a:cubicBezTo>
                  <a:pt x="2924" y="102"/>
                  <a:pt x="2928" y="108"/>
                  <a:pt x="2931" y="114"/>
                </a:cubicBezTo>
                <a:cubicBezTo>
                  <a:pt x="2934" y="120"/>
                  <a:pt x="2936" y="125"/>
                  <a:pt x="2936" y="131"/>
                </a:cubicBezTo>
                <a:cubicBezTo>
                  <a:pt x="2936" y="137"/>
                  <a:pt x="2936" y="143"/>
                  <a:pt x="2933" y="149"/>
                </a:cubicBezTo>
                <a:cubicBezTo>
                  <a:pt x="2931" y="155"/>
                  <a:pt x="2927" y="161"/>
                  <a:pt x="2921" y="166"/>
                </a:cubicBezTo>
                <a:cubicBezTo>
                  <a:pt x="2916" y="172"/>
                  <a:pt x="2911" y="176"/>
                  <a:pt x="2905" y="178"/>
                </a:cubicBezTo>
                <a:cubicBezTo>
                  <a:pt x="2900" y="180"/>
                  <a:pt x="2894" y="181"/>
                  <a:pt x="2888" y="181"/>
                </a:cubicBezTo>
                <a:cubicBezTo>
                  <a:pt x="2883" y="180"/>
                  <a:pt x="2877" y="179"/>
                  <a:pt x="2872" y="176"/>
                </a:cubicBezTo>
                <a:cubicBezTo>
                  <a:pt x="2866" y="173"/>
                  <a:pt x="2860" y="169"/>
                  <a:pt x="2855" y="163"/>
                </a:cubicBezTo>
                <a:cubicBezTo>
                  <a:pt x="2850" y="158"/>
                  <a:pt x="2846" y="152"/>
                  <a:pt x="2842" y="146"/>
                </a:cubicBezTo>
                <a:cubicBezTo>
                  <a:pt x="2839" y="141"/>
                  <a:pt x="2838" y="135"/>
                  <a:pt x="2837" y="129"/>
                </a:cubicBezTo>
                <a:cubicBezTo>
                  <a:pt x="2837" y="123"/>
                  <a:pt x="2838" y="117"/>
                  <a:pt x="2840" y="111"/>
                </a:cubicBezTo>
                <a:cubicBezTo>
                  <a:pt x="2842" y="105"/>
                  <a:pt x="2846" y="99"/>
                  <a:pt x="2852" y="94"/>
                </a:cubicBezTo>
                <a:cubicBezTo>
                  <a:pt x="2857" y="89"/>
                  <a:pt x="2863" y="85"/>
                  <a:pt x="2868" y="82"/>
                </a:cubicBezTo>
                <a:cubicBezTo>
                  <a:pt x="2874" y="80"/>
                  <a:pt x="2879" y="79"/>
                  <a:pt x="2885" y="79"/>
                </a:cubicBezTo>
                <a:cubicBezTo>
                  <a:pt x="2891" y="80"/>
                  <a:pt x="2896" y="82"/>
                  <a:pt x="2902" y="85"/>
                </a:cubicBezTo>
                <a:cubicBezTo>
                  <a:pt x="2907" y="88"/>
                  <a:pt x="2913" y="92"/>
                  <a:pt x="2918" y="97"/>
                </a:cubicBezTo>
                <a:close/>
                <a:moveTo>
                  <a:pt x="2907" y="110"/>
                </a:moveTo>
                <a:cubicBezTo>
                  <a:pt x="2903" y="107"/>
                  <a:pt x="2900" y="104"/>
                  <a:pt x="2896" y="101"/>
                </a:cubicBezTo>
                <a:cubicBezTo>
                  <a:pt x="2892" y="99"/>
                  <a:pt x="2888" y="97"/>
                  <a:pt x="2885" y="96"/>
                </a:cubicBezTo>
                <a:cubicBezTo>
                  <a:pt x="2881" y="95"/>
                  <a:pt x="2877" y="96"/>
                  <a:pt x="2873" y="97"/>
                </a:cubicBezTo>
                <a:cubicBezTo>
                  <a:pt x="2869" y="98"/>
                  <a:pt x="2865" y="101"/>
                  <a:pt x="2861" y="104"/>
                </a:cubicBezTo>
                <a:cubicBezTo>
                  <a:pt x="2858" y="108"/>
                  <a:pt x="2855" y="112"/>
                  <a:pt x="2854" y="115"/>
                </a:cubicBezTo>
                <a:cubicBezTo>
                  <a:pt x="2853" y="119"/>
                  <a:pt x="2852" y="123"/>
                  <a:pt x="2853" y="127"/>
                </a:cubicBezTo>
                <a:cubicBezTo>
                  <a:pt x="2854" y="131"/>
                  <a:pt x="2855" y="135"/>
                  <a:pt x="2857" y="139"/>
                </a:cubicBezTo>
                <a:cubicBezTo>
                  <a:pt x="2860" y="143"/>
                  <a:pt x="2863" y="146"/>
                  <a:pt x="2866" y="150"/>
                </a:cubicBezTo>
                <a:cubicBezTo>
                  <a:pt x="2870" y="154"/>
                  <a:pt x="2874" y="157"/>
                  <a:pt x="2877" y="159"/>
                </a:cubicBezTo>
                <a:cubicBezTo>
                  <a:pt x="2881" y="161"/>
                  <a:pt x="2885" y="163"/>
                  <a:pt x="2889" y="164"/>
                </a:cubicBezTo>
                <a:cubicBezTo>
                  <a:pt x="2893" y="165"/>
                  <a:pt x="2897" y="164"/>
                  <a:pt x="2900" y="163"/>
                </a:cubicBezTo>
                <a:cubicBezTo>
                  <a:pt x="2904" y="162"/>
                  <a:pt x="2908" y="160"/>
                  <a:pt x="2912" y="156"/>
                </a:cubicBezTo>
                <a:cubicBezTo>
                  <a:pt x="2916" y="152"/>
                  <a:pt x="2918" y="149"/>
                  <a:pt x="2919" y="145"/>
                </a:cubicBezTo>
                <a:cubicBezTo>
                  <a:pt x="2921" y="141"/>
                  <a:pt x="2921" y="137"/>
                  <a:pt x="2920" y="133"/>
                </a:cubicBezTo>
                <a:cubicBezTo>
                  <a:pt x="2920" y="129"/>
                  <a:pt x="2918" y="126"/>
                  <a:pt x="2916" y="122"/>
                </a:cubicBezTo>
                <a:cubicBezTo>
                  <a:pt x="2914" y="118"/>
                  <a:pt x="2911" y="114"/>
                  <a:pt x="2907" y="110"/>
                </a:cubicBezTo>
                <a:close/>
                <a:moveTo>
                  <a:pt x="3026" y="55"/>
                </a:moveTo>
                <a:cubicBezTo>
                  <a:pt x="3026" y="56"/>
                  <a:pt x="3027" y="56"/>
                  <a:pt x="3027" y="57"/>
                </a:cubicBezTo>
                <a:cubicBezTo>
                  <a:pt x="3027" y="57"/>
                  <a:pt x="3027" y="58"/>
                  <a:pt x="3027" y="58"/>
                </a:cubicBezTo>
                <a:cubicBezTo>
                  <a:pt x="3026" y="59"/>
                  <a:pt x="3026" y="60"/>
                  <a:pt x="3025" y="61"/>
                </a:cubicBezTo>
                <a:cubicBezTo>
                  <a:pt x="3024" y="61"/>
                  <a:pt x="3024" y="62"/>
                  <a:pt x="3022" y="64"/>
                </a:cubicBezTo>
                <a:cubicBezTo>
                  <a:pt x="3021" y="65"/>
                  <a:pt x="3020" y="66"/>
                  <a:pt x="3019" y="66"/>
                </a:cubicBezTo>
                <a:cubicBezTo>
                  <a:pt x="3018" y="67"/>
                  <a:pt x="3018" y="67"/>
                  <a:pt x="3017" y="68"/>
                </a:cubicBezTo>
                <a:cubicBezTo>
                  <a:pt x="3017" y="68"/>
                  <a:pt x="3016" y="68"/>
                  <a:pt x="3016" y="68"/>
                </a:cubicBezTo>
                <a:cubicBezTo>
                  <a:pt x="3015" y="68"/>
                  <a:pt x="3015" y="68"/>
                  <a:pt x="3014" y="67"/>
                </a:cubicBezTo>
                <a:lnTo>
                  <a:pt x="2976" y="29"/>
                </a:lnTo>
                <a:cubicBezTo>
                  <a:pt x="2973" y="26"/>
                  <a:pt x="2969" y="23"/>
                  <a:pt x="2967" y="21"/>
                </a:cubicBezTo>
                <a:cubicBezTo>
                  <a:pt x="2964" y="20"/>
                  <a:pt x="2961" y="19"/>
                  <a:pt x="2958" y="18"/>
                </a:cubicBezTo>
                <a:cubicBezTo>
                  <a:pt x="2956" y="18"/>
                  <a:pt x="2953" y="18"/>
                  <a:pt x="2950" y="19"/>
                </a:cubicBezTo>
                <a:cubicBezTo>
                  <a:pt x="2948" y="20"/>
                  <a:pt x="2945" y="21"/>
                  <a:pt x="2943" y="23"/>
                </a:cubicBezTo>
                <a:cubicBezTo>
                  <a:pt x="2940" y="26"/>
                  <a:pt x="2938" y="30"/>
                  <a:pt x="2937" y="35"/>
                </a:cubicBezTo>
                <a:cubicBezTo>
                  <a:pt x="2936" y="41"/>
                  <a:pt x="2936" y="47"/>
                  <a:pt x="2937" y="54"/>
                </a:cubicBezTo>
                <a:lnTo>
                  <a:pt x="2982" y="99"/>
                </a:lnTo>
                <a:cubicBezTo>
                  <a:pt x="2983" y="100"/>
                  <a:pt x="2983" y="100"/>
                  <a:pt x="2983" y="101"/>
                </a:cubicBezTo>
                <a:cubicBezTo>
                  <a:pt x="2983" y="101"/>
                  <a:pt x="2983" y="101"/>
                  <a:pt x="2983" y="102"/>
                </a:cubicBezTo>
                <a:cubicBezTo>
                  <a:pt x="2982" y="103"/>
                  <a:pt x="2982" y="103"/>
                  <a:pt x="2981" y="104"/>
                </a:cubicBezTo>
                <a:cubicBezTo>
                  <a:pt x="2981" y="105"/>
                  <a:pt x="2980" y="106"/>
                  <a:pt x="2979" y="107"/>
                </a:cubicBezTo>
                <a:cubicBezTo>
                  <a:pt x="2977" y="109"/>
                  <a:pt x="2976" y="109"/>
                  <a:pt x="2976" y="110"/>
                </a:cubicBezTo>
                <a:cubicBezTo>
                  <a:pt x="2975" y="111"/>
                  <a:pt x="2974" y="111"/>
                  <a:pt x="2973" y="112"/>
                </a:cubicBezTo>
                <a:cubicBezTo>
                  <a:pt x="2973" y="112"/>
                  <a:pt x="2972" y="112"/>
                  <a:pt x="2972" y="112"/>
                </a:cubicBezTo>
                <a:cubicBezTo>
                  <a:pt x="2971" y="112"/>
                  <a:pt x="2971" y="111"/>
                  <a:pt x="2970" y="111"/>
                </a:cubicBezTo>
                <a:lnTo>
                  <a:pt x="2906" y="46"/>
                </a:lnTo>
                <a:cubicBezTo>
                  <a:pt x="2905" y="46"/>
                  <a:pt x="2905" y="46"/>
                  <a:pt x="2905" y="45"/>
                </a:cubicBezTo>
                <a:cubicBezTo>
                  <a:pt x="2905" y="45"/>
                  <a:pt x="2905" y="44"/>
                  <a:pt x="2905" y="44"/>
                </a:cubicBezTo>
                <a:cubicBezTo>
                  <a:pt x="2905" y="43"/>
                  <a:pt x="2906" y="42"/>
                  <a:pt x="2906" y="42"/>
                </a:cubicBezTo>
                <a:cubicBezTo>
                  <a:pt x="2907" y="41"/>
                  <a:pt x="2908" y="40"/>
                  <a:pt x="2909" y="39"/>
                </a:cubicBezTo>
                <a:cubicBezTo>
                  <a:pt x="2910" y="38"/>
                  <a:pt x="2911" y="37"/>
                  <a:pt x="2912" y="36"/>
                </a:cubicBezTo>
                <a:cubicBezTo>
                  <a:pt x="2912" y="36"/>
                  <a:pt x="2913" y="35"/>
                  <a:pt x="2914" y="35"/>
                </a:cubicBezTo>
                <a:cubicBezTo>
                  <a:pt x="2914" y="35"/>
                  <a:pt x="2915" y="35"/>
                  <a:pt x="2915" y="35"/>
                </a:cubicBezTo>
                <a:cubicBezTo>
                  <a:pt x="2916" y="35"/>
                  <a:pt x="2916" y="35"/>
                  <a:pt x="2917" y="36"/>
                </a:cubicBezTo>
                <a:lnTo>
                  <a:pt x="2925" y="44"/>
                </a:lnTo>
                <a:cubicBezTo>
                  <a:pt x="2925" y="37"/>
                  <a:pt x="2925" y="30"/>
                  <a:pt x="2927" y="24"/>
                </a:cubicBezTo>
                <a:cubicBezTo>
                  <a:pt x="2929" y="19"/>
                  <a:pt x="2931" y="14"/>
                  <a:pt x="2935" y="11"/>
                </a:cubicBezTo>
                <a:cubicBezTo>
                  <a:pt x="2939" y="6"/>
                  <a:pt x="2944" y="3"/>
                  <a:pt x="2948" y="2"/>
                </a:cubicBezTo>
                <a:cubicBezTo>
                  <a:pt x="2953" y="1"/>
                  <a:pt x="2957" y="0"/>
                  <a:pt x="2961" y="1"/>
                </a:cubicBezTo>
                <a:cubicBezTo>
                  <a:pt x="2965" y="1"/>
                  <a:pt x="2970" y="3"/>
                  <a:pt x="2974" y="5"/>
                </a:cubicBezTo>
                <a:cubicBezTo>
                  <a:pt x="2978" y="8"/>
                  <a:pt x="2982" y="11"/>
                  <a:pt x="2987" y="16"/>
                </a:cubicBezTo>
                <a:lnTo>
                  <a:pt x="3026" y="55"/>
                </a:lnTo>
                <a:close/>
              </a:path>
            </a:pathLst>
          </a:custGeom>
          <a:solidFill>
            <a:srgbClr val="000000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104" name="Freeform 48"/>
          <p:cNvSpPr>
            <a:spLocks noEditPoints="1"/>
          </p:cNvSpPr>
          <p:nvPr/>
        </p:nvSpPr>
        <p:spPr bwMode="auto">
          <a:xfrm>
            <a:off x="4959610" y="3985506"/>
            <a:ext cx="1517650" cy="1481138"/>
          </a:xfrm>
          <a:custGeom>
            <a:avLst/>
            <a:gdLst/>
            <a:ahLst/>
            <a:cxnLst>
              <a:cxn ang="0">
                <a:pos x="0" y="2290"/>
              </a:cxn>
              <a:cxn ang="0">
                <a:pos x="140" y="2162"/>
              </a:cxn>
              <a:cxn ang="0">
                <a:pos x="197" y="2182"/>
              </a:cxn>
              <a:cxn ang="0">
                <a:pos x="212" y="2258"/>
              </a:cxn>
              <a:cxn ang="0">
                <a:pos x="107" y="2199"/>
              </a:cxn>
              <a:cxn ang="0">
                <a:pos x="314" y="2153"/>
              </a:cxn>
              <a:cxn ang="0">
                <a:pos x="298" y="2114"/>
              </a:cxn>
              <a:cxn ang="0">
                <a:pos x="411" y="2040"/>
              </a:cxn>
              <a:cxn ang="0">
                <a:pos x="499" y="1967"/>
              </a:cxn>
              <a:cxn ang="0">
                <a:pos x="444" y="1891"/>
              </a:cxn>
              <a:cxn ang="0">
                <a:pos x="559" y="1795"/>
              </a:cxn>
              <a:cxn ang="0">
                <a:pos x="613" y="1913"/>
              </a:cxn>
              <a:cxn ang="0">
                <a:pos x="556" y="1791"/>
              </a:cxn>
              <a:cxn ang="0">
                <a:pos x="605" y="1903"/>
              </a:cxn>
              <a:cxn ang="0">
                <a:pos x="636" y="1838"/>
              </a:cxn>
              <a:cxn ang="0">
                <a:pos x="604" y="1737"/>
              </a:cxn>
              <a:cxn ang="0">
                <a:pos x="674" y="1696"/>
              </a:cxn>
              <a:cxn ang="0">
                <a:pos x="695" y="1716"/>
              </a:cxn>
              <a:cxn ang="0">
                <a:pos x="766" y="1705"/>
              </a:cxn>
              <a:cxn ang="0">
                <a:pos x="717" y="1642"/>
              </a:cxn>
              <a:cxn ang="0">
                <a:pos x="872" y="1576"/>
              </a:cxn>
              <a:cxn ang="0">
                <a:pos x="825" y="1528"/>
              </a:cxn>
              <a:cxn ang="0">
                <a:pos x="884" y="1404"/>
              </a:cxn>
              <a:cxn ang="0">
                <a:pos x="1050" y="1404"/>
              </a:cxn>
              <a:cxn ang="0">
                <a:pos x="984" y="1369"/>
              </a:cxn>
              <a:cxn ang="0">
                <a:pos x="1057" y="1235"/>
              </a:cxn>
              <a:cxn ang="0">
                <a:pos x="1121" y="1349"/>
              </a:cxn>
              <a:cxn ang="0">
                <a:pos x="1184" y="1226"/>
              </a:cxn>
              <a:cxn ang="0">
                <a:pos x="1161" y="1297"/>
              </a:cxn>
              <a:cxn ang="0">
                <a:pos x="1224" y="1136"/>
              </a:cxn>
              <a:cxn ang="0">
                <a:pos x="1181" y="1155"/>
              </a:cxn>
              <a:cxn ang="0">
                <a:pos x="1278" y="1081"/>
              </a:cxn>
              <a:cxn ang="0">
                <a:pos x="1242" y="1095"/>
              </a:cxn>
              <a:cxn ang="0">
                <a:pos x="1387" y="1070"/>
              </a:cxn>
              <a:cxn ang="0">
                <a:pos x="1300" y="1061"/>
              </a:cxn>
              <a:cxn ang="0">
                <a:pos x="1363" y="1048"/>
              </a:cxn>
              <a:cxn ang="0">
                <a:pos x="1526" y="917"/>
              </a:cxn>
              <a:cxn ang="0">
                <a:pos x="1479" y="922"/>
              </a:cxn>
              <a:cxn ang="0">
                <a:pos x="1436" y="909"/>
              </a:cxn>
              <a:cxn ang="0">
                <a:pos x="1584" y="796"/>
              </a:cxn>
              <a:cxn ang="0">
                <a:pos x="1681" y="786"/>
              </a:cxn>
              <a:cxn ang="0">
                <a:pos x="1574" y="728"/>
              </a:cxn>
              <a:cxn ang="0">
                <a:pos x="1676" y="780"/>
              </a:cxn>
              <a:cxn ang="0">
                <a:pos x="1700" y="774"/>
              </a:cxn>
              <a:cxn ang="0">
                <a:pos x="1816" y="571"/>
              </a:cxn>
              <a:cxn ang="0">
                <a:pos x="1790" y="554"/>
              </a:cxn>
              <a:cxn ang="0">
                <a:pos x="1926" y="521"/>
              </a:cxn>
              <a:cxn ang="0">
                <a:pos x="1891" y="480"/>
              </a:cxn>
              <a:cxn ang="0">
                <a:pos x="1936" y="449"/>
              </a:cxn>
              <a:cxn ang="0">
                <a:pos x="1927" y="407"/>
              </a:cxn>
              <a:cxn ang="0">
                <a:pos x="1968" y="384"/>
              </a:cxn>
              <a:cxn ang="0">
                <a:pos x="2047" y="406"/>
              </a:cxn>
              <a:cxn ang="0">
                <a:pos x="2136" y="320"/>
              </a:cxn>
              <a:cxn ang="0">
                <a:pos x="2077" y="287"/>
              </a:cxn>
              <a:cxn ang="0">
                <a:pos x="2182" y="288"/>
              </a:cxn>
              <a:cxn ang="0">
                <a:pos x="2173" y="194"/>
              </a:cxn>
              <a:cxn ang="0">
                <a:pos x="2170" y="136"/>
              </a:cxn>
              <a:cxn ang="0">
                <a:pos x="2271" y="181"/>
              </a:cxn>
              <a:cxn ang="0">
                <a:pos x="2242" y="99"/>
              </a:cxn>
              <a:cxn ang="0">
                <a:pos x="2233" y="40"/>
              </a:cxn>
              <a:cxn ang="0">
                <a:pos x="2409" y="50"/>
              </a:cxn>
              <a:cxn ang="0">
                <a:pos x="2330" y="23"/>
              </a:cxn>
            </a:cxnLst>
            <a:rect l="0" t="0" r="r" b="b"/>
            <a:pathLst>
              <a:path w="2411" h="2352">
                <a:moveTo>
                  <a:pt x="73" y="2225"/>
                </a:moveTo>
                <a:cubicBezTo>
                  <a:pt x="74" y="2226"/>
                  <a:pt x="75" y="2227"/>
                  <a:pt x="76" y="2227"/>
                </a:cubicBezTo>
                <a:cubicBezTo>
                  <a:pt x="76" y="2228"/>
                  <a:pt x="76" y="2229"/>
                  <a:pt x="77" y="2230"/>
                </a:cubicBezTo>
                <a:cubicBezTo>
                  <a:pt x="77" y="2230"/>
                  <a:pt x="77" y="2231"/>
                  <a:pt x="77" y="2231"/>
                </a:cubicBezTo>
                <a:cubicBezTo>
                  <a:pt x="77" y="2232"/>
                  <a:pt x="76" y="2232"/>
                  <a:pt x="76" y="2233"/>
                </a:cubicBezTo>
                <a:lnTo>
                  <a:pt x="50" y="2259"/>
                </a:lnTo>
                <a:lnTo>
                  <a:pt x="130" y="2339"/>
                </a:lnTo>
                <a:cubicBezTo>
                  <a:pt x="131" y="2340"/>
                  <a:pt x="131" y="2340"/>
                  <a:pt x="131" y="2341"/>
                </a:cubicBezTo>
                <a:cubicBezTo>
                  <a:pt x="131" y="2341"/>
                  <a:pt x="131" y="2342"/>
                  <a:pt x="131" y="2342"/>
                </a:cubicBezTo>
                <a:cubicBezTo>
                  <a:pt x="131" y="2343"/>
                  <a:pt x="130" y="2344"/>
                  <a:pt x="129" y="2345"/>
                </a:cubicBezTo>
                <a:cubicBezTo>
                  <a:pt x="129" y="2346"/>
                  <a:pt x="128" y="2347"/>
                  <a:pt x="127" y="2348"/>
                </a:cubicBezTo>
                <a:cubicBezTo>
                  <a:pt x="125" y="2349"/>
                  <a:pt x="124" y="2350"/>
                  <a:pt x="123" y="2351"/>
                </a:cubicBezTo>
                <a:cubicBezTo>
                  <a:pt x="123" y="2351"/>
                  <a:pt x="122" y="2352"/>
                  <a:pt x="121" y="2352"/>
                </a:cubicBezTo>
                <a:cubicBezTo>
                  <a:pt x="120" y="2352"/>
                  <a:pt x="120" y="2352"/>
                  <a:pt x="119" y="2352"/>
                </a:cubicBezTo>
                <a:cubicBezTo>
                  <a:pt x="119" y="2352"/>
                  <a:pt x="119" y="2352"/>
                  <a:pt x="118" y="2352"/>
                </a:cubicBezTo>
                <a:lnTo>
                  <a:pt x="38" y="2271"/>
                </a:lnTo>
                <a:lnTo>
                  <a:pt x="11" y="2297"/>
                </a:lnTo>
                <a:cubicBezTo>
                  <a:pt x="11" y="2298"/>
                  <a:pt x="11" y="2298"/>
                  <a:pt x="10" y="2298"/>
                </a:cubicBezTo>
                <a:cubicBezTo>
                  <a:pt x="10" y="2298"/>
                  <a:pt x="9" y="2298"/>
                  <a:pt x="8" y="2298"/>
                </a:cubicBezTo>
                <a:cubicBezTo>
                  <a:pt x="8" y="2298"/>
                  <a:pt x="7" y="2297"/>
                  <a:pt x="6" y="2297"/>
                </a:cubicBezTo>
                <a:cubicBezTo>
                  <a:pt x="6" y="2296"/>
                  <a:pt x="5" y="2295"/>
                  <a:pt x="4" y="2294"/>
                </a:cubicBezTo>
                <a:cubicBezTo>
                  <a:pt x="3" y="2294"/>
                  <a:pt x="2" y="2293"/>
                  <a:pt x="2" y="2292"/>
                </a:cubicBezTo>
                <a:cubicBezTo>
                  <a:pt x="1" y="2291"/>
                  <a:pt x="1" y="2290"/>
                  <a:pt x="0" y="2290"/>
                </a:cubicBezTo>
                <a:cubicBezTo>
                  <a:pt x="0" y="2289"/>
                  <a:pt x="0" y="2289"/>
                  <a:pt x="0" y="2288"/>
                </a:cubicBezTo>
                <a:cubicBezTo>
                  <a:pt x="0" y="2288"/>
                  <a:pt x="1" y="2287"/>
                  <a:pt x="1" y="2287"/>
                </a:cubicBezTo>
                <a:lnTo>
                  <a:pt x="66" y="2222"/>
                </a:lnTo>
                <a:cubicBezTo>
                  <a:pt x="66" y="2222"/>
                  <a:pt x="66" y="2221"/>
                  <a:pt x="67" y="2221"/>
                </a:cubicBezTo>
                <a:cubicBezTo>
                  <a:pt x="67" y="2221"/>
                  <a:pt x="68" y="2221"/>
                  <a:pt x="69" y="2221"/>
                </a:cubicBezTo>
                <a:cubicBezTo>
                  <a:pt x="69" y="2222"/>
                  <a:pt x="70" y="2222"/>
                  <a:pt x="71" y="2223"/>
                </a:cubicBezTo>
                <a:cubicBezTo>
                  <a:pt x="72" y="2223"/>
                  <a:pt x="72" y="2224"/>
                  <a:pt x="73" y="2225"/>
                </a:cubicBezTo>
                <a:close/>
                <a:moveTo>
                  <a:pt x="141" y="2283"/>
                </a:moveTo>
                <a:cubicBezTo>
                  <a:pt x="139" y="2280"/>
                  <a:pt x="137" y="2278"/>
                  <a:pt x="135" y="2274"/>
                </a:cubicBezTo>
                <a:cubicBezTo>
                  <a:pt x="133" y="2271"/>
                  <a:pt x="132" y="2268"/>
                  <a:pt x="132" y="2264"/>
                </a:cubicBezTo>
                <a:cubicBezTo>
                  <a:pt x="131" y="2260"/>
                  <a:pt x="131" y="2256"/>
                  <a:pt x="131" y="2252"/>
                </a:cubicBezTo>
                <a:cubicBezTo>
                  <a:pt x="131" y="2247"/>
                  <a:pt x="132" y="2242"/>
                  <a:pt x="134" y="2237"/>
                </a:cubicBezTo>
                <a:cubicBezTo>
                  <a:pt x="129" y="2236"/>
                  <a:pt x="125" y="2235"/>
                  <a:pt x="122" y="2234"/>
                </a:cubicBezTo>
                <a:cubicBezTo>
                  <a:pt x="118" y="2234"/>
                  <a:pt x="115" y="2233"/>
                  <a:pt x="113" y="2232"/>
                </a:cubicBezTo>
                <a:cubicBezTo>
                  <a:pt x="110" y="2231"/>
                  <a:pt x="107" y="2230"/>
                  <a:pt x="105" y="2229"/>
                </a:cubicBezTo>
                <a:cubicBezTo>
                  <a:pt x="103" y="2227"/>
                  <a:pt x="102" y="2226"/>
                  <a:pt x="100" y="2224"/>
                </a:cubicBezTo>
                <a:cubicBezTo>
                  <a:pt x="97" y="2221"/>
                  <a:pt x="95" y="2218"/>
                  <a:pt x="93" y="2214"/>
                </a:cubicBezTo>
                <a:cubicBezTo>
                  <a:pt x="91" y="2210"/>
                  <a:pt x="90" y="2206"/>
                  <a:pt x="90" y="2202"/>
                </a:cubicBezTo>
                <a:cubicBezTo>
                  <a:pt x="91" y="2198"/>
                  <a:pt x="92" y="2193"/>
                  <a:pt x="94" y="2189"/>
                </a:cubicBezTo>
                <a:cubicBezTo>
                  <a:pt x="96" y="2184"/>
                  <a:pt x="100" y="2179"/>
                  <a:pt x="105" y="2174"/>
                </a:cubicBezTo>
                <a:cubicBezTo>
                  <a:pt x="109" y="2170"/>
                  <a:pt x="113" y="2167"/>
                  <a:pt x="117" y="2164"/>
                </a:cubicBezTo>
                <a:cubicBezTo>
                  <a:pt x="121" y="2162"/>
                  <a:pt x="125" y="2161"/>
                  <a:pt x="129" y="2161"/>
                </a:cubicBezTo>
                <a:cubicBezTo>
                  <a:pt x="133" y="2160"/>
                  <a:pt x="136" y="2161"/>
                  <a:pt x="140" y="2162"/>
                </a:cubicBezTo>
                <a:cubicBezTo>
                  <a:pt x="143" y="2163"/>
                  <a:pt x="146" y="2166"/>
                  <a:pt x="149" y="2169"/>
                </a:cubicBezTo>
                <a:cubicBezTo>
                  <a:pt x="152" y="2171"/>
                  <a:pt x="154" y="2174"/>
                  <a:pt x="155" y="2178"/>
                </a:cubicBezTo>
                <a:cubicBezTo>
                  <a:pt x="157" y="2181"/>
                  <a:pt x="158" y="2185"/>
                  <a:pt x="158" y="2189"/>
                </a:cubicBezTo>
                <a:cubicBezTo>
                  <a:pt x="158" y="2193"/>
                  <a:pt x="158" y="2198"/>
                  <a:pt x="157" y="2203"/>
                </a:cubicBezTo>
                <a:cubicBezTo>
                  <a:pt x="156" y="2208"/>
                  <a:pt x="154" y="2215"/>
                  <a:pt x="152" y="2221"/>
                </a:cubicBezTo>
                <a:cubicBezTo>
                  <a:pt x="156" y="2222"/>
                  <a:pt x="160" y="2222"/>
                  <a:pt x="164" y="2222"/>
                </a:cubicBezTo>
                <a:cubicBezTo>
                  <a:pt x="168" y="2222"/>
                  <a:pt x="172" y="2223"/>
                  <a:pt x="176" y="2223"/>
                </a:cubicBezTo>
                <a:cubicBezTo>
                  <a:pt x="180" y="2223"/>
                  <a:pt x="185" y="2223"/>
                  <a:pt x="189" y="2223"/>
                </a:cubicBezTo>
                <a:cubicBezTo>
                  <a:pt x="193" y="2222"/>
                  <a:pt x="197" y="2222"/>
                  <a:pt x="201" y="2222"/>
                </a:cubicBezTo>
                <a:cubicBezTo>
                  <a:pt x="201" y="2220"/>
                  <a:pt x="200" y="2218"/>
                  <a:pt x="199" y="2215"/>
                </a:cubicBezTo>
                <a:cubicBezTo>
                  <a:pt x="199" y="2213"/>
                  <a:pt x="197" y="2210"/>
                  <a:pt x="196" y="2208"/>
                </a:cubicBezTo>
                <a:cubicBezTo>
                  <a:pt x="195" y="2205"/>
                  <a:pt x="193" y="2203"/>
                  <a:pt x="192" y="2201"/>
                </a:cubicBezTo>
                <a:cubicBezTo>
                  <a:pt x="190" y="2199"/>
                  <a:pt x="188" y="2197"/>
                  <a:pt x="186" y="2195"/>
                </a:cubicBezTo>
                <a:lnTo>
                  <a:pt x="184" y="2192"/>
                </a:lnTo>
                <a:cubicBezTo>
                  <a:pt x="183" y="2192"/>
                  <a:pt x="183" y="2191"/>
                  <a:pt x="183" y="2191"/>
                </a:cubicBezTo>
                <a:cubicBezTo>
                  <a:pt x="183" y="2190"/>
                  <a:pt x="183" y="2190"/>
                  <a:pt x="183" y="2189"/>
                </a:cubicBezTo>
                <a:cubicBezTo>
                  <a:pt x="183" y="2188"/>
                  <a:pt x="184" y="2188"/>
                  <a:pt x="184" y="2187"/>
                </a:cubicBezTo>
                <a:cubicBezTo>
                  <a:pt x="185" y="2186"/>
                  <a:pt x="186" y="2185"/>
                  <a:pt x="187" y="2184"/>
                </a:cubicBezTo>
                <a:cubicBezTo>
                  <a:pt x="188" y="2183"/>
                  <a:pt x="189" y="2182"/>
                  <a:pt x="190" y="2181"/>
                </a:cubicBezTo>
                <a:cubicBezTo>
                  <a:pt x="190" y="2181"/>
                  <a:pt x="191" y="2180"/>
                  <a:pt x="192" y="2180"/>
                </a:cubicBezTo>
                <a:cubicBezTo>
                  <a:pt x="193" y="2179"/>
                  <a:pt x="193" y="2179"/>
                  <a:pt x="194" y="2179"/>
                </a:cubicBezTo>
                <a:cubicBezTo>
                  <a:pt x="194" y="2180"/>
                  <a:pt x="195" y="2180"/>
                  <a:pt x="195" y="2181"/>
                </a:cubicBezTo>
                <a:lnTo>
                  <a:pt x="197" y="2182"/>
                </a:lnTo>
                <a:cubicBezTo>
                  <a:pt x="200" y="2185"/>
                  <a:pt x="202" y="2188"/>
                  <a:pt x="204" y="2191"/>
                </a:cubicBezTo>
                <a:cubicBezTo>
                  <a:pt x="207" y="2194"/>
                  <a:pt x="209" y="2197"/>
                  <a:pt x="210" y="2200"/>
                </a:cubicBezTo>
                <a:cubicBezTo>
                  <a:pt x="212" y="2204"/>
                  <a:pt x="213" y="2207"/>
                  <a:pt x="214" y="2210"/>
                </a:cubicBezTo>
                <a:cubicBezTo>
                  <a:pt x="215" y="2214"/>
                  <a:pt x="216" y="2217"/>
                  <a:pt x="217" y="2221"/>
                </a:cubicBezTo>
                <a:cubicBezTo>
                  <a:pt x="221" y="2220"/>
                  <a:pt x="224" y="2220"/>
                  <a:pt x="227" y="2219"/>
                </a:cubicBezTo>
                <a:cubicBezTo>
                  <a:pt x="229" y="2219"/>
                  <a:pt x="232" y="2218"/>
                  <a:pt x="234" y="2218"/>
                </a:cubicBezTo>
                <a:cubicBezTo>
                  <a:pt x="235" y="2218"/>
                  <a:pt x="237" y="2217"/>
                  <a:pt x="238" y="2217"/>
                </a:cubicBezTo>
                <a:cubicBezTo>
                  <a:pt x="239" y="2216"/>
                  <a:pt x="240" y="2216"/>
                  <a:pt x="240" y="2215"/>
                </a:cubicBezTo>
                <a:cubicBezTo>
                  <a:pt x="241" y="2215"/>
                  <a:pt x="241" y="2214"/>
                  <a:pt x="241" y="2214"/>
                </a:cubicBezTo>
                <a:cubicBezTo>
                  <a:pt x="242" y="2213"/>
                  <a:pt x="242" y="2213"/>
                  <a:pt x="243" y="2213"/>
                </a:cubicBezTo>
                <a:cubicBezTo>
                  <a:pt x="243" y="2213"/>
                  <a:pt x="244" y="2213"/>
                  <a:pt x="244" y="2214"/>
                </a:cubicBezTo>
                <a:cubicBezTo>
                  <a:pt x="245" y="2214"/>
                  <a:pt x="246" y="2215"/>
                  <a:pt x="247" y="2216"/>
                </a:cubicBezTo>
                <a:cubicBezTo>
                  <a:pt x="248" y="2217"/>
                  <a:pt x="249" y="2218"/>
                  <a:pt x="250" y="2219"/>
                </a:cubicBezTo>
                <a:cubicBezTo>
                  <a:pt x="251" y="2220"/>
                  <a:pt x="251" y="2220"/>
                  <a:pt x="251" y="2221"/>
                </a:cubicBezTo>
                <a:cubicBezTo>
                  <a:pt x="252" y="2221"/>
                  <a:pt x="252" y="2222"/>
                  <a:pt x="252" y="2222"/>
                </a:cubicBezTo>
                <a:cubicBezTo>
                  <a:pt x="252" y="2223"/>
                  <a:pt x="251" y="2224"/>
                  <a:pt x="251" y="2225"/>
                </a:cubicBezTo>
                <a:cubicBezTo>
                  <a:pt x="250" y="2226"/>
                  <a:pt x="249" y="2227"/>
                  <a:pt x="248" y="2228"/>
                </a:cubicBezTo>
                <a:cubicBezTo>
                  <a:pt x="247" y="2229"/>
                  <a:pt x="246" y="2230"/>
                  <a:pt x="244" y="2231"/>
                </a:cubicBezTo>
                <a:cubicBezTo>
                  <a:pt x="243" y="2231"/>
                  <a:pt x="241" y="2232"/>
                  <a:pt x="239" y="2233"/>
                </a:cubicBezTo>
                <a:cubicBezTo>
                  <a:pt x="236" y="2234"/>
                  <a:pt x="233" y="2234"/>
                  <a:pt x="230" y="2235"/>
                </a:cubicBezTo>
                <a:cubicBezTo>
                  <a:pt x="226" y="2235"/>
                  <a:pt x="222" y="2236"/>
                  <a:pt x="217" y="2236"/>
                </a:cubicBezTo>
                <a:cubicBezTo>
                  <a:pt x="217" y="2240"/>
                  <a:pt x="216" y="2244"/>
                  <a:pt x="215" y="2247"/>
                </a:cubicBezTo>
                <a:cubicBezTo>
                  <a:pt x="215" y="2251"/>
                  <a:pt x="213" y="2254"/>
                  <a:pt x="212" y="2258"/>
                </a:cubicBezTo>
                <a:cubicBezTo>
                  <a:pt x="210" y="2261"/>
                  <a:pt x="208" y="2265"/>
                  <a:pt x="206" y="2268"/>
                </a:cubicBezTo>
                <a:cubicBezTo>
                  <a:pt x="204" y="2271"/>
                  <a:pt x="201" y="2275"/>
                  <a:pt x="198" y="2278"/>
                </a:cubicBezTo>
                <a:cubicBezTo>
                  <a:pt x="195" y="2281"/>
                  <a:pt x="192" y="2284"/>
                  <a:pt x="189" y="2286"/>
                </a:cubicBezTo>
                <a:cubicBezTo>
                  <a:pt x="186" y="2288"/>
                  <a:pt x="182" y="2290"/>
                  <a:pt x="179" y="2291"/>
                </a:cubicBezTo>
                <a:cubicBezTo>
                  <a:pt x="176" y="2292"/>
                  <a:pt x="172" y="2293"/>
                  <a:pt x="169" y="2293"/>
                </a:cubicBezTo>
                <a:cubicBezTo>
                  <a:pt x="166" y="2294"/>
                  <a:pt x="163" y="2294"/>
                  <a:pt x="159" y="2293"/>
                </a:cubicBezTo>
                <a:cubicBezTo>
                  <a:pt x="156" y="2292"/>
                  <a:pt x="153" y="2291"/>
                  <a:pt x="150" y="2290"/>
                </a:cubicBezTo>
                <a:cubicBezTo>
                  <a:pt x="147" y="2288"/>
                  <a:pt x="144" y="2286"/>
                  <a:pt x="141" y="2283"/>
                </a:cubicBezTo>
                <a:close/>
                <a:moveTo>
                  <a:pt x="111" y="2211"/>
                </a:moveTo>
                <a:cubicBezTo>
                  <a:pt x="113" y="2212"/>
                  <a:pt x="114" y="2213"/>
                  <a:pt x="116" y="2214"/>
                </a:cubicBezTo>
                <a:cubicBezTo>
                  <a:pt x="118" y="2215"/>
                  <a:pt x="120" y="2216"/>
                  <a:pt x="122" y="2217"/>
                </a:cubicBezTo>
                <a:cubicBezTo>
                  <a:pt x="124" y="2217"/>
                  <a:pt x="126" y="2218"/>
                  <a:pt x="129" y="2219"/>
                </a:cubicBezTo>
                <a:cubicBezTo>
                  <a:pt x="132" y="2219"/>
                  <a:pt x="135" y="2220"/>
                  <a:pt x="139" y="2220"/>
                </a:cubicBezTo>
                <a:cubicBezTo>
                  <a:pt x="140" y="2215"/>
                  <a:pt x="141" y="2210"/>
                  <a:pt x="142" y="2206"/>
                </a:cubicBezTo>
                <a:cubicBezTo>
                  <a:pt x="143" y="2202"/>
                  <a:pt x="143" y="2199"/>
                  <a:pt x="143" y="2196"/>
                </a:cubicBezTo>
                <a:cubicBezTo>
                  <a:pt x="143" y="2193"/>
                  <a:pt x="142" y="2190"/>
                  <a:pt x="142" y="2188"/>
                </a:cubicBezTo>
                <a:cubicBezTo>
                  <a:pt x="141" y="2186"/>
                  <a:pt x="139" y="2184"/>
                  <a:pt x="138" y="2182"/>
                </a:cubicBezTo>
                <a:cubicBezTo>
                  <a:pt x="136" y="2181"/>
                  <a:pt x="135" y="2180"/>
                  <a:pt x="133" y="2179"/>
                </a:cubicBezTo>
                <a:cubicBezTo>
                  <a:pt x="131" y="2178"/>
                  <a:pt x="129" y="2178"/>
                  <a:pt x="127" y="2178"/>
                </a:cubicBezTo>
                <a:cubicBezTo>
                  <a:pt x="125" y="2178"/>
                  <a:pt x="123" y="2179"/>
                  <a:pt x="121" y="2180"/>
                </a:cubicBezTo>
                <a:cubicBezTo>
                  <a:pt x="118" y="2181"/>
                  <a:pt x="116" y="2183"/>
                  <a:pt x="114" y="2185"/>
                </a:cubicBezTo>
                <a:cubicBezTo>
                  <a:pt x="111" y="2187"/>
                  <a:pt x="109" y="2190"/>
                  <a:pt x="108" y="2192"/>
                </a:cubicBezTo>
                <a:cubicBezTo>
                  <a:pt x="107" y="2195"/>
                  <a:pt x="107" y="2197"/>
                  <a:pt x="107" y="2199"/>
                </a:cubicBezTo>
                <a:cubicBezTo>
                  <a:pt x="106" y="2201"/>
                  <a:pt x="107" y="2203"/>
                  <a:pt x="108" y="2205"/>
                </a:cubicBezTo>
                <a:cubicBezTo>
                  <a:pt x="109" y="2207"/>
                  <a:pt x="110" y="2209"/>
                  <a:pt x="111" y="2211"/>
                </a:cubicBezTo>
                <a:close/>
                <a:moveTo>
                  <a:pt x="153" y="2269"/>
                </a:moveTo>
                <a:cubicBezTo>
                  <a:pt x="156" y="2271"/>
                  <a:pt x="158" y="2273"/>
                  <a:pt x="161" y="2275"/>
                </a:cubicBezTo>
                <a:cubicBezTo>
                  <a:pt x="164" y="2276"/>
                  <a:pt x="167" y="2276"/>
                  <a:pt x="170" y="2276"/>
                </a:cubicBezTo>
                <a:cubicBezTo>
                  <a:pt x="173" y="2276"/>
                  <a:pt x="177" y="2275"/>
                  <a:pt x="180" y="2274"/>
                </a:cubicBezTo>
                <a:cubicBezTo>
                  <a:pt x="183" y="2272"/>
                  <a:pt x="186" y="2270"/>
                  <a:pt x="190" y="2266"/>
                </a:cubicBezTo>
                <a:cubicBezTo>
                  <a:pt x="192" y="2264"/>
                  <a:pt x="193" y="2262"/>
                  <a:pt x="195" y="2260"/>
                </a:cubicBezTo>
                <a:cubicBezTo>
                  <a:pt x="196" y="2258"/>
                  <a:pt x="197" y="2255"/>
                  <a:pt x="198" y="2253"/>
                </a:cubicBezTo>
                <a:cubicBezTo>
                  <a:pt x="199" y="2251"/>
                  <a:pt x="200" y="2248"/>
                  <a:pt x="201" y="2246"/>
                </a:cubicBezTo>
                <a:cubicBezTo>
                  <a:pt x="201" y="2243"/>
                  <a:pt x="202" y="2241"/>
                  <a:pt x="202" y="2238"/>
                </a:cubicBezTo>
                <a:cubicBezTo>
                  <a:pt x="197" y="2239"/>
                  <a:pt x="193" y="2239"/>
                  <a:pt x="188" y="2239"/>
                </a:cubicBezTo>
                <a:cubicBezTo>
                  <a:pt x="183" y="2239"/>
                  <a:pt x="178" y="2239"/>
                  <a:pt x="174" y="2239"/>
                </a:cubicBezTo>
                <a:cubicBezTo>
                  <a:pt x="169" y="2239"/>
                  <a:pt x="164" y="2239"/>
                  <a:pt x="160" y="2239"/>
                </a:cubicBezTo>
                <a:cubicBezTo>
                  <a:pt x="155" y="2239"/>
                  <a:pt x="151" y="2238"/>
                  <a:pt x="147" y="2238"/>
                </a:cubicBezTo>
                <a:cubicBezTo>
                  <a:pt x="146" y="2242"/>
                  <a:pt x="146" y="2245"/>
                  <a:pt x="146" y="2248"/>
                </a:cubicBezTo>
                <a:cubicBezTo>
                  <a:pt x="146" y="2252"/>
                  <a:pt x="146" y="2254"/>
                  <a:pt x="147" y="2257"/>
                </a:cubicBezTo>
                <a:cubicBezTo>
                  <a:pt x="147" y="2259"/>
                  <a:pt x="148" y="2262"/>
                  <a:pt x="149" y="2264"/>
                </a:cubicBezTo>
                <a:cubicBezTo>
                  <a:pt x="150" y="2265"/>
                  <a:pt x="151" y="2267"/>
                  <a:pt x="153" y="2269"/>
                </a:cubicBezTo>
                <a:close/>
                <a:moveTo>
                  <a:pt x="296" y="2082"/>
                </a:moveTo>
                <a:cubicBezTo>
                  <a:pt x="304" y="2090"/>
                  <a:pt x="310" y="2098"/>
                  <a:pt x="314" y="2106"/>
                </a:cubicBezTo>
                <a:cubicBezTo>
                  <a:pt x="318" y="2114"/>
                  <a:pt x="320" y="2122"/>
                  <a:pt x="320" y="2130"/>
                </a:cubicBezTo>
                <a:cubicBezTo>
                  <a:pt x="320" y="2138"/>
                  <a:pt x="318" y="2146"/>
                  <a:pt x="314" y="2153"/>
                </a:cubicBezTo>
                <a:cubicBezTo>
                  <a:pt x="310" y="2161"/>
                  <a:pt x="305" y="2169"/>
                  <a:pt x="297" y="2177"/>
                </a:cubicBezTo>
                <a:lnTo>
                  <a:pt x="277" y="2197"/>
                </a:lnTo>
                <a:cubicBezTo>
                  <a:pt x="276" y="2198"/>
                  <a:pt x="274" y="2198"/>
                  <a:pt x="273" y="2199"/>
                </a:cubicBezTo>
                <a:cubicBezTo>
                  <a:pt x="271" y="2199"/>
                  <a:pt x="269" y="2198"/>
                  <a:pt x="267" y="2196"/>
                </a:cubicBezTo>
                <a:lnTo>
                  <a:pt x="184" y="2113"/>
                </a:lnTo>
                <a:cubicBezTo>
                  <a:pt x="183" y="2111"/>
                  <a:pt x="182" y="2110"/>
                  <a:pt x="182" y="2108"/>
                </a:cubicBezTo>
                <a:cubicBezTo>
                  <a:pt x="182" y="2106"/>
                  <a:pt x="183" y="2105"/>
                  <a:pt x="184" y="2104"/>
                </a:cubicBezTo>
                <a:lnTo>
                  <a:pt x="205" y="2083"/>
                </a:lnTo>
                <a:cubicBezTo>
                  <a:pt x="213" y="2075"/>
                  <a:pt x="221" y="2069"/>
                  <a:pt x="229" y="2065"/>
                </a:cubicBezTo>
                <a:cubicBezTo>
                  <a:pt x="236" y="2062"/>
                  <a:pt x="244" y="2060"/>
                  <a:pt x="252" y="2060"/>
                </a:cubicBezTo>
                <a:cubicBezTo>
                  <a:pt x="259" y="2060"/>
                  <a:pt x="267" y="2062"/>
                  <a:pt x="274" y="2066"/>
                </a:cubicBezTo>
                <a:cubicBezTo>
                  <a:pt x="282" y="2070"/>
                  <a:pt x="289" y="2075"/>
                  <a:pt x="296" y="2082"/>
                </a:cubicBezTo>
                <a:close/>
                <a:moveTo>
                  <a:pt x="284" y="2095"/>
                </a:moveTo>
                <a:cubicBezTo>
                  <a:pt x="278" y="2090"/>
                  <a:pt x="273" y="2086"/>
                  <a:pt x="268" y="2083"/>
                </a:cubicBezTo>
                <a:cubicBezTo>
                  <a:pt x="262" y="2080"/>
                  <a:pt x="256" y="2078"/>
                  <a:pt x="251" y="2078"/>
                </a:cubicBezTo>
                <a:cubicBezTo>
                  <a:pt x="245" y="2077"/>
                  <a:pt x="239" y="2078"/>
                  <a:pt x="233" y="2080"/>
                </a:cubicBezTo>
                <a:cubicBezTo>
                  <a:pt x="227" y="2083"/>
                  <a:pt x="221" y="2087"/>
                  <a:pt x="215" y="2094"/>
                </a:cubicBezTo>
                <a:lnTo>
                  <a:pt x="202" y="2106"/>
                </a:lnTo>
                <a:lnTo>
                  <a:pt x="274" y="2178"/>
                </a:lnTo>
                <a:lnTo>
                  <a:pt x="287" y="2166"/>
                </a:lnTo>
                <a:cubicBezTo>
                  <a:pt x="293" y="2160"/>
                  <a:pt x="297" y="2154"/>
                  <a:pt x="300" y="2148"/>
                </a:cubicBezTo>
                <a:cubicBezTo>
                  <a:pt x="302" y="2143"/>
                  <a:pt x="304" y="2137"/>
                  <a:pt x="303" y="2131"/>
                </a:cubicBezTo>
                <a:cubicBezTo>
                  <a:pt x="303" y="2126"/>
                  <a:pt x="301" y="2120"/>
                  <a:pt x="298" y="2114"/>
                </a:cubicBezTo>
                <a:cubicBezTo>
                  <a:pt x="295" y="2108"/>
                  <a:pt x="290" y="2102"/>
                  <a:pt x="284" y="2095"/>
                </a:cubicBezTo>
                <a:close/>
                <a:moveTo>
                  <a:pt x="432" y="1972"/>
                </a:moveTo>
                <a:cubicBezTo>
                  <a:pt x="438" y="1978"/>
                  <a:pt x="442" y="1984"/>
                  <a:pt x="445" y="1990"/>
                </a:cubicBezTo>
                <a:cubicBezTo>
                  <a:pt x="448" y="1996"/>
                  <a:pt x="449" y="2002"/>
                  <a:pt x="449" y="2008"/>
                </a:cubicBezTo>
                <a:cubicBezTo>
                  <a:pt x="449" y="2014"/>
                  <a:pt x="448" y="2021"/>
                  <a:pt x="445" y="2027"/>
                </a:cubicBezTo>
                <a:cubicBezTo>
                  <a:pt x="442" y="2033"/>
                  <a:pt x="438" y="2038"/>
                  <a:pt x="432" y="2044"/>
                </a:cubicBezTo>
                <a:cubicBezTo>
                  <a:pt x="427" y="2049"/>
                  <a:pt x="422" y="2053"/>
                  <a:pt x="416" y="2056"/>
                </a:cubicBezTo>
                <a:cubicBezTo>
                  <a:pt x="410" y="2058"/>
                  <a:pt x="405" y="2060"/>
                  <a:pt x="399" y="2060"/>
                </a:cubicBezTo>
                <a:cubicBezTo>
                  <a:pt x="393" y="2060"/>
                  <a:pt x="387" y="2059"/>
                  <a:pt x="381" y="2056"/>
                </a:cubicBezTo>
                <a:cubicBezTo>
                  <a:pt x="375" y="2053"/>
                  <a:pt x="369" y="2049"/>
                  <a:pt x="363" y="2043"/>
                </a:cubicBezTo>
                <a:lnTo>
                  <a:pt x="306" y="1986"/>
                </a:lnTo>
                <a:cubicBezTo>
                  <a:pt x="305" y="1985"/>
                  <a:pt x="305" y="1985"/>
                  <a:pt x="305" y="1984"/>
                </a:cubicBezTo>
                <a:cubicBezTo>
                  <a:pt x="305" y="1984"/>
                  <a:pt x="305" y="1983"/>
                  <a:pt x="305" y="1983"/>
                </a:cubicBezTo>
                <a:cubicBezTo>
                  <a:pt x="306" y="1982"/>
                  <a:pt x="306" y="1981"/>
                  <a:pt x="307" y="1980"/>
                </a:cubicBezTo>
                <a:cubicBezTo>
                  <a:pt x="307" y="1980"/>
                  <a:pt x="308" y="1979"/>
                  <a:pt x="310" y="1977"/>
                </a:cubicBezTo>
                <a:cubicBezTo>
                  <a:pt x="311" y="1976"/>
                  <a:pt x="312" y="1975"/>
                  <a:pt x="313" y="1975"/>
                </a:cubicBezTo>
                <a:cubicBezTo>
                  <a:pt x="314" y="1974"/>
                  <a:pt x="314" y="1973"/>
                  <a:pt x="315" y="1973"/>
                </a:cubicBezTo>
                <a:cubicBezTo>
                  <a:pt x="316" y="1973"/>
                  <a:pt x="316" y="1973"/>
                  <a:pt x="317" y="1973"/>
                </a:cubicBezTo>
                <a:cubicBezTo>
                  <a:pt x="317" y="1973"/>
                  <a:pt x="318" y="1973"/>
                  <a:pt x="318" y="1973"/>
                </a:cubicBezTo>
                <a:lnTo>
                  <a:pt x="374" y="2030"/>
                </a:lnTo>
                <a:cubicBezTo>
                  <a:pt x="378" y="2034"/>
                  <a:pt x="383" y="2037"/>
                  <a:pt x="387" y="2039"/>
                </a:cubicBezTo>
                <a:cubicBezTo>
                  <a:pt x="391" y="2041"/>
                  <a:pt x="395" y="2043"/>
                  <a:pt x="399" y="2043"/>
                </a:cubicBezTo>
                <a:cubicBezTo>
                  <a:pt x="404" y="2043"/>
                  <a:pt x="408" y="2042"/>
                  <a:pt x="411" y="2040"/>
                </a:cubicBezTo>
                <a:cubicBezTo>
                  <a:pt x="415" y="2039"/>
                  <a:pt x="419" y="2036"/>
                  <a:pt x="423" y="2033"/>
                </a:cubicBezTo>
                <a:cubicBezTo>
                  <a:pt x="426" y="2029"/>
                  <a:pt x="429" y="2025"/>
                  <a:pt x="431" y="2021"/>
                </a:cubicBezTo>
                <a:cubicBezTo>
                  <a:pt x="432" y="2018"/>
                  <a:pt x="433" y="2014"/>
                  <a:pt x="433" y="2010"/>
                </a:cubicBezTo>
                <a:cubicBezTo>
                  <a:pt x="433" y="2006"/>
                  <a:pt x="432" y="2001"/>
                  <a:pt x="430" y="1997"/>
                </a:cubicBezTo>
                <a:cubicBezTo>
                  <a:pt x="427" y="1993"/>
                  <a:pt x="424" y="1989"/>
                  <a:pt x="420" y="1985"/>
                </a:cubicBezTo>
                <a:lnTo>
                  <a:pt x="363" y="1928"/>
                </a:lnTo>
                <a:cubicBezTo>
                  <a:pt x="363" y="1928"/>
                  <a:pt x="363" y="1927"/>
                  <a:pt x="363" y="1927"/>
                </a:cubicBezTo>
                <a:cubicBezTo>
                  <a:pt x="363" y="1926"/>
                  <a:pt x="363" y="1926"/>
                  <a:pt x="363" y="1925"/>
                </a:cubicBezTo>
                <a:cubicBezTo>
                  <a:pt x="363" y="1924"/>
                  <a:pt x="364" y="1924"/>
                  <a:pt x="364" y="1923"/>
                </a:cubicBezTo>
                <a:cubicBezTo>
                  <a:pt x="365" y="1922"/>
                  <a:pt x="366" y="1921"/>
                  <a:pt x="367" y="1920"/>
                </a:cubicBezTo>
                <a:cubicBezTo>
                  <a:pt x="368" y="1918"/>
                  <a:pt x="369" y="1917"/>
                  <a:pt x="370" y="1917"/>
                </a:cubicBezTo>
                <a:cubicBezTo>
                  <a:pt x="371" y="1916"/>
                  <a:pt x="372" y="1916"/>
                  <a:pt x="373" y="1915"/>
                </a:cubicBezTo>
                <a:cubicBezTo>
                  <a:pt x="373" y="1915"/>
                  <a:pt x="374" y="1915"/>
                  <a:pt x="374" y="1915"/>
                </a:cubicBezTo>
                <a:cubicBezTo>
                  <a:pt x="375" y="1915"/>
                  <a:pt x="375" y="1915"/>
                  <a:pt x="376" y="1916"/>
                </a:cubicBezTo>
                <a:lnTo>
                  <a:pt x="432" y="1972"/>
                </a:lnTo>
                <a:close/>
                <a:moveTo>
                  <a:pt x="510" y="1893"/>
                </a:moveTo>
                <a:cubicBezTo>
                  <a:pt x="516" y="1899"/>
                  <a:pt x="520" y="1904"/>
                  <a:pt x="524" y="1910"/>
                </a:cubicBezTo>
                <a:cubicBezTo>
                  <a:pt x="527" y="1916"/>
                  <a:pt x="529" y="1921"/>
                  <a:pt x="530" y="1927"/>
                </a:cubicBezTo>
                <a:cubicBezTo>
                  <a:pt x="531" y="1932"/>
                  <a:pt x="530" y="1938"/>
                  <a:pt x="528" y="1943"/>
                </a:cubicBezTo>
                <a:cubicBezTo>
                  <a:pt x="526" y="1948"/>
                  <a:pt x="523" y="1953"/>
                  <a:pt x="519" y="1957"/>
                </a:cubicBezTo>
                <a:cubicBezTo>
                  <a:pt x="517" y="1959"/>
                  <a:pt x="515" y="1961"/>
                  <a:pt x="513" y="1962"/>
                </a:cubicBezTo>
                <a:cubicBezTo>
                  <a:pt x="511" y="1963"/>
                  <a:pt x="509" y="1964"/>
                  <a:pt x="506" y="1965"/>
                </a:cubicBezTo>
                <a:cubicBezTo>
                  <a:pt x="504" y="1966"/>
                  <a:pt x="501" y="1966"/>
                  <a:pt x="499" y="1967"/>
                </a:cubicBezTo>
                <a:cubicBezTo>
                  <a:pt x="496" y="1967"/>
                  <a:pt x="493" y="1967"/>
                  <a:pt x="489" y="1967"/>
                </a:cubicBezTo>
                <a:lnTo>
                  <a:pt x="522" y="2000"/>
                </a:lnTo>
                <a:cubicBezTo>
                  <a:pt x="522" y="2000"/>
                  <a:pt x="522" y="2000"/>
                  <a:pt x="522" y="2001"/>
                </a:cubicBezTo>
                <a:cubicBezTo>
                  <a:pt x="522" y="2001"/>
                  <a:pt x="522" y="2002"/>
                  <a:pt x="522" y="2002"/>
                </a:cubicBezTo>
                <a:cubicBezTo>
                  <a:pt x="522" y="2003"/>
                  <a:pt x="521" y="2004"/>
                  <a:pt x="521" y="2005"/>
                </a:cubicBezTo>
                <a:cubicBezTo>
                  <a:pt x="520" y="2006"/>
                  <a:pt x="519" y="2007"/>
                  <a:pt x="518" y="2008"/>
                </a:cubicBezTo>
                <a:cubicBezTo>
                  <a:pt x="517" y="2009"/>
                  <a:pt x="516" y="2010"/>
                  <a:pt x="515" y="2011"/>
                </a:cubicBezTo>
                <a:cubicBezTo>
                  <a:pt x="514" y="2011"/>
                  <a:pt x="513" y="2012"/>
                  <a:pt x="513" y="2012"/>
                </a:cubicBezTo>
                <a:cubicBezTo>
                  <a:pt x="512" y="2012"/>
                  <a:pt x="512" y="2012"/>
                  <a:pt x="511" y="2012"/>
                </a:cubicBezTo>
                <a:cubicBezTo>
                  <a:pt x="511" y="2012"/>
                  <a:pt x="510" y="2012"/>
                  <a:pt x="510" y="2011"/>
                </a:cubicBezTo>
                <a:lnTo>
                  <a:pt x="420" y="1921"/>
                </a:lnTo>
                <a:cubicBezTo>
                  <a:pt x="419" y="1921"/>
                  <a:pt x="419" y="1920"/>
                  <a:pt x="419" y="1920"/>
                </a:cubicBezTo>
                <a:cubicBezTo>
                  <a:pt x="419" y="1919"/>
                  <a:pt x="419" y="1919"/>
                  <a:pt x="419" y="1918"/>
                </a:cubicBezTo>
                <a:cubicBezTo>
                  <a:pt x="419" y="1918"/>
                  <a:pt x="420" y="1917"/>
                  <a:pt x="420" y="1916"/>
                </a:cubicBezTo>
                <a:cubicBezTo>
                  <a:pt x="421" y="1916"/>
                  <a:pt x="422" y="1915"/>
                  <a:pt x="422" y="1914"/>
                </a:cubicBezTo>
                <a:cubicBezTo>
                  <a:pt x="424" y="1913"/>
                  <a:pt x="424" y="1912"/>
                  <a:pt x="425" y="1911"/>
                </a:cubicBezTo>
                <a:cubicBezTo>
                  <a:pt x="426" y="1911"/>
                  <a:pt x="426" y="1910"/>
                  <a:pt x="427" y="1910"/>
                </a:cubicBezTo>
                <a:cubicBezTo>
                  <a:pt x="428" y="1910"/>
                  <a:pt x="428" y="1910"/>
                  <a:pt x="429" y="1910"/>
                </a:cubicBezTo>
                <a:cubicBezTo>
                  <a:pt x="429" y="1910"/>
                  <a:pt x="430" y="1910"/>
                  <a:pt x="430" y="1911"/>
                </a:cubicBezTo>
                <a:lnTo>
                  <a:pt x="439" y="1919"/>
                </a:lnTo>
                <a:cubicBezTo>
                  <a:pt x="439" y="1915"/>
                  <a:pt x="439" y="1912"/>
                  <a:pt x="439" y="1908"/>
                </a:cubicBezTo>
                <a:cubicBezTo>
                  <a:pt x="439" y="1905"/>
                  <a:pt x="440" y="1902"/>
                  <a:pt x="441" y="1899"/>
                </a:cubicBezTo>
                <a:cubicBezTo>
                  <a:pt x="442" y="1896"/>
                  <a:pt x="443" y="1894"/>
                  <a:pt x="444" y="1891"/>
                </a:cubicBezTo>
                <a:cubicBezTo>
                  <a:pt x="446" y="1889"/>
                  <a:pt x="448" y="1887"/>
                  <a:pt x="450" y="1884"/>
                </a:cubicBezTo>
                <a:cubicBezTo>
                  <a:pt x="454" y="1880"/>
                  <a:pt x="459" y="1877"/>
                  <a:pt x="464" y="1875"/>
                </a:cubicBezTo>
                <a:cubicBezTo>
                  <a:pt x="470" y="1874"/>
                  <a:pt x="475" y="1874"/>
                  <a:pt x="480" y="1875"/>
                </a:cubicBezTo>
                <a:cubicBezTo>
                  <a:pt x="485" y="1876"/>
                  <a:pt x="490" y="1878"/>
                  <a:pt x="496" y="1881"/>
                </a:cubicBezTo>
                <a:cubicBezTo>
                  <a:pt x="501" y="1884"/>
                  <a:pt x="506" y="1888"/>
                  <a:pt x="510" y="1893"/>
                </a:cubicBezTo>
                <a:close/>
                <a:moveTo>
                  <a:pt x="499" y="1907"/>
                </a:moveTo>
                <a:cubicBezTo>
                  <a:pt x="496" y="1903"/>
                  <a:pt x="493" y="1900"/>
                  <a:pt x="489" y="1898"/>
                </a:cubicBezTo>
                <a:cubicBezTo>
                  <a:pt x="485" y="1895"/>
                  <a:pt x="482" y="1893"/>
                  <a:pt x="478" y="1892"/>
                </a:cubicBezTo>
                <a:cubicBezTo>
                  <a:pt x="475" y="1891"/>
                  <a:pt x="471" y="1891"/>
                  <a:pt x="468" y="1891"/>
                </a:cubicBezTo>
                <a:cubicBezTo>
                  <a:pt x="464" y="1892"/>
                  <a:pt x="461" y="1894"/>
                  <a:pt x="458" y="1897"/>
                </a:cubicBezTo>
                <a:cubicBezTo>
                  <a:pt x="456" y="1898"/>
                  <a:pt x="455" y="1900"/>
                  <a:pt x="454" y="1902"/>
                </a:cubicBezTo>
                <a:cubicBezTo>
                  <a:pt x="453" y="1904"/>
                  <a:pt x="452" y="1906"/>
                  <a:pt x="451" y="1909"/>
                </a:cubicBezTo>
                <a:cubicBezTo>
                  <a:pt x="451" y="1911"/>
                  <a:pt x="451" y="1914"/>
                  <a:pt x="450" y="1918"/>
                </a:cubicBezTo>
                <a:cubicBezTo>
                  <a:pt x="450" y="1921"/>
                  <a:pt x="451" y="1925"/>
                  <a:pt x="451" y="1929"/>
                </a:cubicBezTo>
                <a:lnTo>
                  <a:pt x="477" y="1955"/>
                </a:lnTo>
                <a:cubicBezTo>
                  <a:pt x="484" y="1955"/>
                  <a:pt x="490" y="1955"/>
                  <a:pt x="495" y="1954"/>
                </a:cubicBezTo>
                <a:cubicBezTo>
                  <a:pt x="500" y="1954"/>
                  <a:pt x="504" y="1951"/>
                  <a:pt x="508" y="1948"/>
                </a:cubicBezTo>
                <a:cubicBezTo>
                  <a:pt x="511" y="1945"/>
                  <a:pt x="512" y="1942"/>
                  <a:pt x="513" y="1938"/>
                </a:cubicBezTo>
                <a:cubicBezTo>
                  <a:pt x="514" y="1935"/>
                  <a:pt x="514" y="1931"/>
                  <a:pt x="513" y="1927"/>
                </a:cubicBezTo>
                <a:cubicBezTo>
                  <a:pt x="511" y="1924"/>
                  <a:pt x="510" y="1920"/>
                  <a:pt x="507" y="1917"/>
                </a:cubicBezTo>
                <a:cubicBezTo>
                  <a:pt x="505" y="1913"/>
                  <a:pt x="502" y="1910"/>
                  <a:pt x="499" y="1907"/>
                </a:cubicBezTo>
                <a:close/>
                <a:moveTo>
                  <a:pt x="556" y="1791"/>
                </a:moveTo>
                <a:cubicBezTo>
                  <a:pt x="557" y="1793"/>
                  <a:pt x="558" y="1794"/>
                  <a:pt x="559" y="1795"/>
                </a:cubicBezTo>
                <a:cubicBezTo>
                  <a:pt x="559" y="1796"/>
                  <a:pt x="559" y="1797"/>
                  <a:pt x="558" y="1798"/>
                </a:cubicBezTo>
                <a:lnTo>
                  <a:pt x="549" y="1807"/>
                </a:lnTo>
                <a:cubicBezTo>
                  <a:pt x="552" y="1807"/>
                  <a:pt x="555" y="1808"/>
                  <a:pt x="558" y="1809"/>
                </a:cubicBezTo>
                <a:cubicBezTo>
                  <a:pt x="561" y="1811"/>
                  <a:pt x="563" y="1813"/>
                  <a:pt x="565" y="1815"/>
                </a:cubicBezTo>
                <a:cubicBezTo>
                  <a:pt x="569" y="1819"/>
                  <a:pt x="572" y="1823"/>
                  <a:pt x="574" y="1827"/>
                </a:cubicBezTo>
                <a:cubicBezTo>
                  <a:pt x="575" y="1831"/>
                  <a:pt x="576" y="1835"/>
                  <a:pt x="576" y="1839"/>
                </a:cubicBezTo>
                <a:cubicBezTo>
                  <a:pt x="575" y="1843"/>
                  <a:pt x="574" y="1847"/>
                  <a:pt x="572" y="1852"/>
                </a:cubicBezTo>
                <a:cubicBezTo>
                  <a:pt x="570" y="1856"/>
                  <a:pt x="567" y="1860"/>
                  <a:pt x="564" y="1863"/>
                </a:cubicBezTo>
                <a:cubicBezTo>
                  <a:pt x="561" y="1866"/>
                  <a:pt x="558" y="1868"/>
                  <a:pt x="555" y="1870"/>
                </a:cubicBezTo>
                <a:cubicBezTo>
                  <a:pt x="552" y="1872"/>
                  <a:pt x="549" y="1872"/>
                  <a:pt x="547" y="1873"/>
                </a:cubicBezTo>
                <a:cubicBezTo>
                  <a:pt x="547" y="1874"/>
                  <a:pt x="547" y="1876"/>
                  <a:pt x="548" y="1878"/>
                </a:cubicBezTo>
                <a:cubicBezTo>
                  <a:pt x="548" y="1879"/>
                  <a:pt x="549" y="1881"/>
                  <a:pt x="551" y="1882"/>
                </a:cubicBezTo>
                <a:cubicBezTo>
                  <a:pt x="553" y="1884"/>
                  <a:pt x="555" y="1885"/>
                  <a:pt x="557" y="1884"/>
                </a:cubicBezTo>
                <a:cubicBezTo>
                  <a:pt x="560" y="1884"/>
                  <a:pt x="563" y="1882"/>
                  <a:pt x="565" y="1880"/>
                </a:cubicBezTo>
                <a:lnTo>
                  <a:pt x="583" y="1864"/>
                </a:lnTo>
                <a:cubicBezTo>
                  <a:pt x="586" y="1861"/>
                  <a:pt x="590" y="1858"/>
                  <a:pt x="593" y="1856"/>
                </a:cubicBezTo>
                <a:cubicBezTo>
                  <a:pt x="597" y="1854"/>
                  <a:pt x="600" y="1853"/>
                  <a:pt x="603" y="1853"/>
                </a:cubicBezTo>
                <a:cubicBezTo>
                  <a:pt x="607" y="1852"/>
                  <a:pt x="610" y="1852"/>
                  <a:pt x="613" y="1853"/>
                </a:cubicBezTo>
                <a:cubicBezTo>
                  <a:pt x="617" y="1854"/>
                  <a:pt x="620" y="1856"/>
                  <a:pt x="623" y="1859"/>
                </a:cubicBezTo>
                <a:cubicBezTo>
                  <a:pt x="626" y="1862"/>
                  <a:pt x="628" y="1866"/>
                  <a:pt x="629" y="1869"/>
                </a:cubicBezTo>
                <a:cubicBezTo>
                  <a:pt x="631" y="1873"/>
                  <a:pt x="631" y="1878"/>
                  <a:pt x="631" y="1882"/>
                </a:cubicBezTo>
                <a:cubicBezTo>
                  <a:pt x="630" y="1887"/>
                  <a:pt x="628" y="1892"/>
                  <a:pt x="626" y="1897"/>
                </a:cubicBezTo>
                <a:cubicBezTo>
                  <a:pt x="623" y="1902"/>
                  <a:pt x="619" y="1907"/>
                  <a:pt x="613" y="1913"/>
                </a:cubicBezTo>
                <a:cubicBezTo>
                  <a:pt x="608" y="1918"/>
                  <a:pt x="603" y="1922"/>
                  <a:pt x="599" y="1925"/>
                </a:cubicBezTo>
                <a:cubicBezTo>
                  <a:pt x="594" y="1927"/>
                  <a:pt x="590" y="1929"/>
                  <a:pt x="586" y="1930"/>
                </a:cubicBezTo>
                <a:cubicBezTo>
                  <a:pt x="582" y="1931"/>
                  <a:pt x="579" y="1931"/>
                  <a:pt x="575" y="1930"/>
                </a:cubicBezTo>
                <a:cubicBezTo>
                  <a:pt x="572" y="1929"/>
                  <a:pt x="569" y="1927"/>
                  <a:pt x="567" y="1924"/>
                </a:cubicBezTo>
                <a:cubicBezTo>
                  <a:pt x="565" y="1923"/>
                  <a:pt x="564" y="1921"/>
                  <a:pt x="563" y="1919"/>
                </a:cubicBezTo>
                <a:cubicBezTo>
                  <a:pt x="562" y="1917"/>
                  <a:pt x="561" y="1915"/>
                  <a:pt x="560" y="1913"/>
                </a:cubicBezTo>
                <a:cubicBezTo>
                  <a:pt x="560" y="1911"/>
                  <a:pt x="559" y="1909"/>
                  <a:pt x="559" y="1906"/>
                </a:cubicBezTo>
                <a:cubicBezTo>
                  <a:pt x="559" y="1904"/>
                  <a:pt x="560" y="1901"/>
                  <a:pt x="560" y="1899"/>
                </a:cubicBezTo>
                <a:cubicBezTo>
                  <a:pt x="556" y="1900"/>
                  <a:pt x="553" y="1900"/>
                  <a:pt x="550" y="1899"/>
                </a:cubicBezTo>
                <a:cubicBezTo>
                  <a:pt x="547" y="1899"/>
                  <a:pt x="545" y="1897"/>
                  <a:pt x="543" y="1895"/>
                </a:cubicBezTo>
                <a:cubicBezTo>
                  <a:pt x="540" y="1892"/>
                  <a:pt x="538" y="1889"/>
                  <a:pt x="537" y="1886"/>
                </a:cubicBezTo>
                <a:cubicBezTo>
                  <a:pt x="535" y="1882"/>
                  <a:pt x="535" y="1879"/>
                  <a:pt x="535" y="1875"/>
                </a:cubicBezTo>
                <a:cubicBezTo>
                  <a:pt x="532" y="1875"/>
                  <a:pt x="528" y="1874"/>
                  <a:pt x="525" y="1872"/>
                </a:cubicBezTo>
                <a:cubicBezTo>
                  <a:pt x="522" y="1871"/>
                  <a:pt x="519" y="1869"/>
                  <a:pt x="516" y="1866"/>
                </a:cubicBezTo>
                <a:cubicBezTo>
                  <a:pt x="512" y="1862"/>
                  <a:pt x="510" y="1858"/>
                  <a:pt x="508" y="1854"/>
                </a:cubicBezTo>
                <a:cubicBezTo>
                  <a:pt x="506" y="1850"/>
                  <a:pt x="505" y="1846"/>
                  <a:pt x="506" y="1841"/>
                </a:cubicBezTo>
                <a:cubicBezTo>
                  <a:pt x="506" y="1837"/>
                  <a:pt x="507" y="1833"/>
                  <a:pt x="509" y="1829"/>
                </a:cubicBezTo>
                <a:cubicBezTo>
                  <a:pt x="511" y="1825"/>
                  <a:pt x="514" y="1821"/>
                  <a:pt x="517" y="1817"/>
                </a:cubicBezTo>
                <a:cubicBezTo>
                  <a:pt x="519" y="1815"/>
                  <a:pt x="521" y="1813"/>
                  <a:pt x="523" y="1812"/>
                </a:cubicBezTo>
                <a:cubicBezTo>
                  <a:pt x="525" y="1810"/>
                  <a:pt x="527" y="1809"/>
                  <a:pt x="529" y="1808"/>
                </a:cubicBezTo>
                <a:lnTo>
                  <a:pt x="548" y="1788"/>
                </a:lnTo>
                <a:cubicBezTo>
                  <a:pt x="549" y="1788"/>
                  <a:pt x="550" y="1787"/>
                  <a:pt x="551" y="1788"/>
                </a:cubicBezTo>
                <a:cubicBezTo>
                  <a:pt x="553" y="1788"/>
                  <a:pt x="554" y="1789"/>
                  <a:pt x="556" y="1791"/>
                </a:cubicBezTo>
                <a:close/>
                <a:moveTo>
                  <a:pt x="554" y="1826"/>
                </a:moveTo>
                <a:cubicBezTo>
                  <a:pt x="550" y="1822"/>
                  <a:pt x="545" y="1820"/>
                  <a:pt x="540" y="1820"/>
                </a:cubicBezTo>
                <a:cubicBezTo>
                  <a:pt x="535" y="1820"/>
                  <a:pt x="531" y="1822"/>
                  <a:pt x="526" y="1826"/>
                </a:cubicBezTo>
                <a:cubicBezTo>
                  <a:pt x="524" y="1829"/>
                  <a:pt x="522" y="1831"/>
                  <a:pt x="521" y="1833"/>
                </a:cubicBezTo>
                <a:cubicBezTo>
                  <a:pt x="520" y="1836"/>
                  <a:pt x="520" y="1838"/>
                  <a:pt x="520" y="1841"/>
                </a:cubicBezTo>
                <a:cubicBezTo>
                  <a:pt x="521" y="1843"/>
                  <a:pt x="521" y="1846"/>
                  <a:pt x="522" y="1848"/>
                </a:cubicBezTo>
                <a:cubicBezTo>
                  <a:pt x="524" y="1850"/>
                  <a:pt x="525" y="1852"/>
                  <a:pt x="527" y="1854"/>
                </a:cubicBezTo>
                <a:cubicBezTo>
                  <a:pt x="531" y="1859"/>
                  <a:pt x="536" y="1861"/>
                  <a:pt x="541" y="1861"/>
                </a:cubicBezTo>
                <a:cubicBezTo>
                  <a:pt x="546" y="1861"/>
                  <a:pt x="550" y="1859"/>
                  <a:pt x="555" y="1854"/>
                </a:cubicBezTo>
                <a:cubicBezTo>
                  <a:pt x="557" y="1852"/>
                  <a:pt x="559" y="1849"/>
                  <a:pt x="560" y="1847"/>
                </a:cubicBezTo>
                <a:cubicBezTo>
                  <a:pt x="561" y="1845"/>
                  <a:pt x="561" y="1842"/>
                  <a:pt x="561" y="1840"/>
                </a:cubicBezTo>
                <a:cubicBezTo>
                  <a:pt x="561" y="1837"/>
                  <a:pt x="560" y="1835"/>
                  <a:pt x="559" y="1833"/>
                </a:cubicBezTo>
                <a:cubicBezTo>
                  <a:pt x="558" y="1830"/>
                  <a:pt x="556" y="1828"/>
                  <a:pt x="554" y="1826"/>
                </a:cubicBezTo>
                <a:close/>
                <a:moveTo>
                  <a:pt x="611" y="1872"/>
                </a:moveTo>
                <a:cubicBezTo>
                  <a:pt x="609" y="1869"/>
                  <a:pt x="605" y="1868"/>
                  <a:pt x="602" y="1869"/>
                </a:cubicBezTo>
                <a:cubicBezTo>
                  <a:pt x="598" y="1869"/>
                  <a:pt x="594" y="1872"/>
                  <a:pt x="590" y="1875"/>
                </a:cubicBezTo>
                <a:lnTo>
                  <a:pt x="573" y="1892"/>
                </a:lnTo>
                <a:cubicBezTo>
                  <a:pt x="572" y="1894"/>
                  <a:pt x="572" y="1897"/>
                  <a:pt x="572" y="1899"/>
                </a:cubicBezTo>
                <a:cubicBezTo>
                  <a:pt x="572" y="1901"/>
                  <a:pt x="573" y="1903"/>
                  <a:pt x="573" y="1904"/>
                </a:cubicBezTo>
                <a:cubicBezTo>
                  <a:pt x="573" y="1906"/>
                  <a:pt x="574" y="1907"/>
                  <a:pt x="575" y="1908"/>
                </a:cubicBezTo>
                <a:cubicBezTo>
                  <a:pt x="575" y="1909"/>
                  <a:pt x="576" y="1911"/>
                  <a:pt x="577" y="1912"/>
                </a:cubicBezTo>
                <a:cubicBezTo>
                  <a:pt x="580" y="1915"/>
                  <a:pt x="584" y="1915"/>
                  <a:pt x="589" y="1914"/>
                </a:cubicBezTo>
                <a:cubicBezTo>
                  <a:pt x="594" y="1912"/>
                  <a:pt x="599" y="1909"/>
                  <a:pt x="605" y="1903"/>
                </a:cubicBezTo>
                <a:cubicBezTo>
                  <a:pt x="608" y="1899"/>
                  <a:pt x="611" y="1896"/>
                  <a:pt x="613" y="1893"/>
                </a:cubicBezTo>
                <a:cubicBezTo>
                  <a:pt x="614" y="1890"/>
                  <a:pt x="615" y="1887"/>
                  <a:pt x="616" y="1884"/>
                </a:cubicBezTo>
                <a:cubicBezTo>
                  <a:pt x="616" y="1882"/>
                  <a:pt x="616" y="1879"/>
                  <a:pt x="615" y="1877"/>
                </a:cubicBezTo>
                <a:cubicBezTo>
                  <a:pt x="614" y="1875"/>
                  <a:pt x="613" y="1873"/>
                  <a:pt x="611" y="1872"/>
                </a:cubicBezTo>
                <a:close/>
                <a:moveTo>
                  <a:pt x="609" y="1740"/>
                </a:moveTo>
                <a:cubicBezTo>
                  <a:pt x="610" y="1742"/>
                  <a:pt x="611" y="1742"/>
                  <a:pt x="611" y="1743"/>
                </a:cubicBezTo>
                <a:cubicBezTo>
                  <a:pt x="612" y="1744"/>
                  <a:pt x="612" y="1745"/>
                  <a:pt x="613" y="1745"/>
                </a:cubicBezTo>
                <a:cubicBezTo>
                  <a:pt x="613" y="1746"/>
                  <a:pt x="613" y="1746"/>
                  <a:pt x="613" y="1747"/>
                </a:cubicBezTo>
                <a:cubicBezTo>
                  <a:pt x="613" y="1747"/>
                  <a:pt x="613" y="1747"/>
                  <a:pt x="612" y="1748"/>
                </a:cubicBezTo>
                <a:cubicBezTo>
                  <a:pt x="612" y="1748"/>
                  <a:pt x="611" y="1749"/>
                  <a:pt x="611" y="1749"/>
                </a:cubicBezTo>
                <a:cubicBezTo>
                  <a:pt x="610" y="1749"/>
                  <a:pt x="609" y="1750"/>
                  <a:pt x="608" y="1750"/>
                </a:cubicBezTo>
                <a:cubicBezTo>
                  <a:pt x="607" y="1751"/>
                  <a:pt x="606" y="1751"/>
                  <a:pt x="605" y="1752"/>
                </a:cubicBezTo>
                <a:cubicBezTo>
                  <a:pt x="604" y="1753"/>
                  <a:pt x="603" y="1753"/>
                  <a:pt x="602" y="1754"/>
                </a:cubicBezTo>
                <a:cubicBezTo>
                  <a:pt x="601" y="1756"/>
                  <a:pt x="600" y="1757"/>
                  <a:pt x="599" y="1759"/>
                </a:cubicBezTo>
                <a:cubicBezTo>
                  <a:pt x="599" y="1760"/>
                  <a:pt x="598" y="1762"/>
                  <a:pt x="598" y="1765"/>
                </a:cubicBezTo>
                <a:cubicBezTo>
                  <a:pt x="598" y="1767"/>
                  <a:pt x="598" y="1770"/>
                  <a:pt x="599" y="1773"/>
                </a:cubicBezTo>
                <a:cubicBezTo>
                  <a:pt x="599" y="1776"/>
                  <a:pt x="600" y="1780"/>
                  <a:pt x="601" y="1784"/>
                </a:cubicBezTo>
                <a:lnTo>
                  <a:pt x="643" y="1827"/>
                </a:lnTo>
                <a:cubicBezTo>
                  <a:pt x="644" y="1827"/>
                  <a:pt x="644" y="1828"/>
                  <a:pt x="644" y="1828"/>
                </a:cubicBezTo>
                <a:cubicBezTo>
                  <a:pt x="644" y="1829"/>
                  <a:pt x="644" y="1829"/>
                  <a:pt x="644" y="1830"/>
                </a:cubicBezTo>
                <a:cubicBezTo>
                  <a:pt x="643" y="1830"/>
                  <a:pt x="643" y="1831"/>
                  <a:pt x="642" y="1832"/>
                </a:cubicBezTo>
                <a:cubicBezTo>
                  <a:pt x="642" y="1833"/>
                  <a:pt x="641" y="1834"/>
                  <a:pt x="639" y="1835"/>
                </a:cubicBezTo>
                <a:cubicBezTo>
                  <a:pt x="638" y="1836"/>
                  <a:pt x="637" y="1837"/>
                  <a:pt x="636" y="1838"/>
                </a:cubicBezTo>
                <a:cubicBezTo>
                  <a:pt x="636" y="1838"/>
                  <a:pt x="635" y="1839"/>
                  <a:pt x="634" y="1839"/>
                </a:cubicBezTo>
                <a:cubicBezTo>
                  <a:pt x="633" y="1839"/>
                  <a:pt x="633" y="1839"/>
                  <a:pt x="632" y="1839"/>
                </a:cubicBezTo>
                <a:cubicBezTo>
                  <a:pt x="632" y="1839"/>
                  <a:pt x="632" y="1839"/>
                  <a:pt x="631" y="1839"/>
                </a:cubicBezTo>
                <a:lnTo>
                  <a:pt x="567" y="1774"/>
                </a:lnTo>
                <a:cubicBezTo>
                  <a:pt x="566" y="1774"/>
                  <a:pt x="566" y="1773"/>
                  <a:pt x="566" y="1773"/>
                </a:cubicBezTo>
                <a:cubicBezTo>
                  <a:pt x="566" y="1772"/>
                  <a:pt x="566" y="1772"/>
                  <a:pt x="566" y="1771"/>
                </a:cubicBezTo>
                <a:cubicBezTo>
                  <a:pt x="566" y="1771"/>
                  <a:pt x="567" y="1770"/>
                  <a:pt x="567" y="1769"/>
                </a:cubicBezTo>
                <a:cubicBezTo>
                  <a:pt x="568" y="1768"/>
                  <a:pt x="569" y="1768"/>
                  <a:pt x="570" y="1766"/>
                </a:cubicBezTo>
                <a:cubicBezTo>
                  <a:pt x="571" y="1765"/>
                  <a:pt x="572" y="1765"/>
                  <a:pt x="573" y="1764"/>
                </a:cubicBezTo>
                <a:cubicBezTo>
                  <a:pt x="573" y="1763"/>
                  <a:pt x="574" y="1763"/>
                  <a:pt x="575" y="1763"/>
                </a:cubicBezTo>
                <a:cubicBezTo>
                  <a:pt x="575" y="1763"/>
                  <a:pt x="576" y="1762"/>
                  <a:pt x="576" y="1763"/>
                </a:cubicBezTo>
                <a:cubicBezTo>
                  <a:pt x="577" y="1763"/>
                  <a:pt x="577" y="1763"/>
                  <a:pt x="577" y="1763"/>
                </a:cubicBezTo>
                <a:lnTo>
                  <a:pt x="587" y="1773"/>
                </a:lnTo>
                <a:cubicBezTo>
                  <a:pt x="586" y="1768"/>
                  <a:pt x="585" y="1765"/>
                  <a:pt x="585" y="1761"/>
                </a:cubicBezTo>
                <a:cubicBezTo>
                  <a:pt x="585" y="1758"/>
                  <a:pt x="586" y="1755"/>
                  <a:pt x="586" y="1753"/>
                </a:cubicBezTo>
                <a:cubicBezTo>
                  <a:pt x="586" y="1751"/>
                  <a:pt x="587" y="1749"/>
                  <a:pt x="588" y="1747"/>
                </a:cubicBezTo>
                <a:cubicBezTo>
                  <a:pt x="589" y="1745"/>
                  <a:pt x="590" y="1744"/>
                  <a:pt x="592" y="1742"/>
                </a:cubicBezTo>
                <a:cubicBezTo>
                  <a:pt x="592" y="1742"/>
                  <a:pt x="593" y="1741"/>
                  <a:pt x="594" y="1740"/>
                </a:cubicBezTo>
                <a:cubicBezTo>
                  <a:pt x="595" y="1740"/>
                  <a:pt x="596" y="1739"/>
                  <a:pt x="597" y="1738"/>
                </a:cubicBezTo>
                <a:cubicBezTo>
                  <a:pt x="598" y="1738"/>
                  <a:pt x="599" y="1737"/>
                  <a:pt x="600" y="1737"/>
                </a:cubicBezTo>
                <a:cubicBezTo>
                  <a:pt x="601" y="1736"/>
                  <a:pt x="602" y="1736"/>
                  <a:pt x="602" y="1736"/>
                </a:cubicBezTo>
                <a:cubicBezTo>
                  <a:pt x="603" y="1736"/>
                  <a:pt x="603" y="1736"/>
                  <a:pt x="603" y="1736"/>
                </a:cubicBezTo>
                <a:cubicBezTo>
                  <a:pt x="604" y="1736"/>
                  <a:pt x="604" y="1736"/>
                  <a:pt x="604" y="1737"/>
                </a:cubicBezTo>
                <a:cubicBezTo>
                  <a:pt x="605" y="1737"/>
                  <a:pt x="605" y="1737"/>
                  <a:pt x="606" y="1738"/>
                </a:cubicBezTo>
                <a:cubicBezTo>
                  <a:pt x="607" y="1739"/>
                  <a:pt x="608" y="1739"/>
                  <a:pt x="609" y="1740"/>
                </a:cubicBezTo>
                <a:close/>
                <a:moveTo>
                  <a:pt x="737" y="1733"/>
                </a:moveTo>
                <a:cubicBezTo>
                  <a:pt x="737" y="1734"/>
                  <a:pt x="737" y="1735"/>
                  <a:pt x="737" y="1735"/>
                </a:cubicBezTo>
                <a:cubicBezTo>
                  <a:pt x="737" y="1736"/>
                  <a:pt x="737" y="1737"/>
                  <a:pt x="736" y="1738"/>
                </a:cubicBezTo>
                <a:cubicBezTo>
                  <a:pt x="736" y="1738"/>
                  <a:pt x="735" y="1739"/>
                  <a:pt x="734" y="1741"/>
                </a:cubicBezTo>
                <a:cubicBezTo>
                  <a:pt x="732" y="1742"/>
                  <a:pt x="731" y="1743"/>
                  <a:pt x="730" y="1743"/>
                </a:cubicBezTo>
                <a:cubicBezTo>
                  <a:pt x="730" y="1744"/>
                  <a:pt x="729" y="1744"/>
                  <a:pt x="728" y="1744"/>
                </a:cubicBezTo>
                <a:cubicBezTo>
                  <a:pt x="728" y="1744"/>
                  <a:pt x="727" y="1744"/>
                  <a:pt x="726" y="1744"/>
                </a:cubicBezTo>
                <a:lnTo>
                  <a:pt x="720" y="1737"/>
                </a:lnTo>
                <a:cubicBezTo>
                  <a:pt x="720" y="1743"/>
                  <a:pt x="719" y="1749"/>
                  <a:pt x="718" y="1754"/>
                </a:cubicBezTo>
                <a:cubicBezTo>
                  <a:pt x="716" y="1759"/>
                  <a:pt x="713" y="1763"/>
                  <a:pt x="709" y="1767"/>
                </a:cubicBezTo>
                <a:cubicBezTo>
                  <a:pt x="706" y="1771"/>
                  <a:pt x="702" y="1773"/>
                  <a:pt x="698" y="1775"/>
                </a:cubicBezTo>
                <a:cubicBezTo>
                  <a:pt x="695" y="1777"/>
                  <a:pt x="691" y="1778"/>
                  <a:pt x="688" y="1778"/>
                </a:cubicBezTo>
                <a:cubicBezTo>
                  <a:pt x="684" y="1779"/>
                  <a:pt x="680" y="1778"/>
                  <a:pt x="677" y="1777"/>
                </a:cubicBezTo>
                <a:cubicBezTo>
                  <a:pt x="673" y="1775"/>
                  <a:pt x="670" y="1773"/>
                  <a:pt x="667" y="1770"/>
                </a:cubicBezTo>
                <a:cubicBezTo>
                  <a:pt x="663" y="1766"/>
                  <a:pt x="661" y="1762"/>
                  <a:pt x="660" y="1758"/>
                </a:cubicBezTo>
                <a:cubicBezTo>
                  <a:pt x="658" y="1754"/>
                  <a:pt x="658" y="1750"/>
                  <a:pt x="659" y="1745"/>
                </a:cubicBezTo>
                <a:cubicBezTo>
                  <a:pt x="660" y="1741"/>
                  <a:pt x="662" y="1736"/>
                  <a:pt x="666" y="1731"/>
                </a:cubicBezTo>
                <a:cubicBezTo>
                  <a:pt x="669" y="1726"/>
                  <a:pt x="673" y="1721"/>
                  <a:pt x="678" y="1716"/>
                </a:cubicBezTo>
                <a:lnTo>
                  <a:pt x="687" y="1707"/>
                </a:lnTo>
                <a:lnTo>
                  <a:pt x="682" y="1702"/>
                </a:lnTo>
                <a:cubicBezTo>
                  <a:pt x="679" y="1700"/>
                  <a:pt x="677" y="1698"/>
                  <a:pt x="674" y="1696"/>
                </a:cubicBezTo>
                <a:cubicBezTo>
                  <a:pt x="672" y="1695"/>
                  <a:pt x="669" y="1694"/>
                  <a:pt x="667" y="1694"/>
                </a:cubicBezTo>
                <a:cubicBezTo>
                  <a:pt x="665" y="1694"/>
                  <a:pt x="662" y="1695"/>
                  <a:pt x="660" y="1696"/>
                </a:cubicBezTo>
                <a:cubicBezTo>
                  <a:pt x="657" y="1697"/>
                  <a:pt x="654" y="1699"/>
                  <a:pt x="652" y="1702"/>
                </a:cubicBezTo>
                <a:cubicBezTo>
                  <a:pt x="649" y="1705"/>
                  <a:pt x="647" y="1708"/>
                  <a:pt x="645" y="1711"/>
                </a:cubicBezTo>
                <a:cubicBezTo>
                  <a:pt x="643" y="1714"/>
                  <a:pt x="642" y="1716"/>
                  <a:pt x="641" y="1719"/>
                </a:cubicBezTo>
                <a:cubicBezTo>
                  <a:pt x="640" y="1722"/>
                  <a:pt x="639" y="1724"/>
                  <a:pt x="639" y="1726"/>
                </a:cubicBezTo>
                <a:cubicBezTo>
                  <a:pt x="639" y="1728"/>
                  <a:pt x="638" y="1729"/>
                  <a:pt x="637" y="1729"/>
                </a:cubicBezTo>
                <a:cubicBezTo>
                  <a:pt x="637" y="1730"/>
                  <a:pt x="637" y="1730"/>
                  <a:pt x="636" y="1730"/>
                </a:cubicBezTo>
                <a:cubicBezTo>
                  <a:pt x="636" y="1730"/>
                  <a:pt x="635" y="1730"/>
                  <a:pt x="635" y="1730"/>
                </a:cubicBezTo>
                <a:cubicBezTo>
                  <a:pt x="634" y="1730"/>
                  <a:pt x="633" y="1729"/>
                  <a:pt x="633" y="1729"/>
                </a:cubicBezTo>
                <a:cubicBezTo>
                  <a:pt x="632" y="1728"/>
                  <a:pt x="631" y="1728"/>
                  <a:pt x="630" y="1727"/>
                </a:cubicBezTo>
                <a:cubicBezTo>
                  <a:pt x="629" y="1726"/>
                  <a:pt x="628" y="1725"/>
                  <a:pt x="628" y="1724"/>
                </a:cubicBezTo>
                <a:cubicBezTo>
                  <a:pt x="627" y="1723"/>
                  <a:pt x="627" y="1722"/>
                  <a:pt x="627" y="1721"/>
                </a:cubicBezTo>
                <a:cubicBezTo>
                  <a:pt x="627" y="1720"/>
                  <a:pt x="628" y="1718"/>
                  <a:pt x="628" y="1715"/>
                </a:cubicBezTo>
                <a:cubicBezTo>
                  <a:pt x="629" y="1713"/>
                  <a:pt x="630" y="1710"/>
                  <a:pt x="631" y="1708"/>
                </a:cubicBezTo>
                <a:cubicBezTo>
                  <a:pt x="633" y="1705"/>
                  <a:pt x="634" y="1702"/>
                  <a:pt x="636" y="1699"/>
                </a:cubicBezTo>
                <a:cubicBezTo>
                  <a:pt x="638" y="1696"/>
                  <a:pt x="641" y="1694"/>
                  <a:pt x="643" y="1691"/>
                </a:cubicBezTo>
                <a:cubicBezTo>
                  <a:pt x="648" y="1686"/>
                  <a:pt x="652" y="1683"/>
                  <a:pt x="657" y="1681"/>
                </a:cubicBezTo>
                <a:cubicBezTo>
                  <a:pt x="661" y="1679"/>
                  <a:pt x="665" y="1677"/>
                  <a:pt x="669" y="1677"/>
                </a:cubicBezTo>
                <a:cubicBezTo>
                  <a:pt x="673" y="1678"/>
                  <a:pt x="677" y="1679"/>
                  <a:pt x="681" y="1681"/>
                </a:cubicBezTo>
                <a:cubicBezTo>
                  <a:pt x="685" y="1683"/>
                  <a:pt x="689" y="1686"/>
                  <a:pt x="693" y="1690"/>
                </a:cubicBezTo>
                <a:lnTo>
                  <a:pt x="737" y="1733"/>
                </a:lnTo>
                <a:close/>
                <a:moveTo>
                  <a:pt x="695" y="1716"/>
                </a:moveTo>
                <a:lnTo>
                  <a:pt x="685" y="1726"/>
                </a:lnTo>
                <a:cubicBezTo>
                  <a:pt x="682" y="1729"/>
                  <a:pt x="679" y="1732"/>
                  <a:pt x="678" y="1735"/>
                </a:cubicBezTo>
                <a:cubicBezTo>
                  <a:pt x="676" y="1738"/>
                  <a:pt x="675" y="1741"/>
                  <a:pt x="674" y="1744"/>
                </a:cubicBezTo>
                <a:cubicBezTo>
                  <a:pt x="674" y="1746"/>
                  <a:pt x="674" y="1749"/>
                  <a:pt x="674" y="1751"/>
                </a:cubicBezTo>
                <a:cubicBezTo>
                  <a:pt x="675" y="1753"/>
                  <a:pt x="677" y="1755"/>
                  <a:pt x="678" y="1757"/>
                </a:cubicBezTo>
                <a:cubicBezTo>
                  <a:pt x="682" y="1761"/>
                  <a:pt x="686" y="1762"/>
                  <a:pt x="690" y="1762"/>
                </a:cubicBezTo>
                <a:cubicBezTo>
                  <a:pt x="694" y="1762"/>
                  <a:pt x="698" y="1760"/>
                  <a:pt x="702" y="1756"/>
                </a:cubicBezTo>
                <a:cubicBezTo>
                  <a:pt x="705" y="1753"/>
                  <a:pt x="707" y="1749"/>
                  <a:pt x="708" y="1745"/>
                </a:cubicBezTo>
                <a:cubicBezTo>
                  <a:pt x="709" y="1741"/>
                  <a:pt x="709" y="1736"/>
                  <a:pt x="709" y="1729"/>
                </a:cubicBezTo>
                <a:lnTo>
                  <a:pt x="695" y="1716"/>
                </a:lnTo>
                <a:close/>
                <a:moveTo>
                  <a:pt x="811" y="1659"/>
                </a:moveTo>
                <a:cubicBezTo>
                  <a:pt x="811" y="1659"/>
                  <a:pt x="812" y="1660"/>
                  <a:pt x="812" y="1660"/>
                </a:cubicBezTo>
                <a:cubicBezTo>
                  <a:pt x="812" y="1661"/>
                  <a:pt x="812" y="1661"/>
                  <a:pt x="812" y="1662"/>
                </a:cubicBezTo>
                <a:cubicBezTo>
                  <a:pt x="811" y="1662"/>
                  <a:pt x="811" y="1663"/>
                  <a:pt x="810" y="1664"/>
                </a:cubicBezTo>
                <a:cubicBezTo>
                  <a:pt x="810" y="1664"/>
                  <a:pt x="809" y="1665"/>
                  <a:pt x="808" y="1666"/>
                </a:cubicBezTo>
                <a:cubicBezTo>
                  <a:pt x="807" y="1667"/>
                  <a:pt x="806" y="1668"/>
                  <a:pt x="805" y="1669"/>
                </a:cubicBezTo>
                <a:cubicBezTo>
                  <a:pt x="805" y="1669"/>
                  <a:pt x="804" y="1670"/>
                  <a:pt x="803" y="1670"/>
                </a:cubicBezTo>
                <a:cubicBezTo>
                  <a:pt x="803" y="1670"/>
                  <a:pt x="802" y="1670"/>
                  <a:pt x="802" y="1670"/>
                </a:cubicBezTo>
                <a:cubicBezTo>
                  <a:pt x="801" y="1670"/>
                  <a:pt x="801" y="1670"/>
                  <a:pt x="801" y="1669"/>
                </a:cubicBezTo>
                <a:lnTo>
                  <a:pt x="792" y="1661"/>
                </a:lnTo>
                <a:cubicBezTo>
                  <a:pt x="792" y="1668"/>
                  <a:pt x="792" y="1674"/>
                  <a:pt x="790" y="1680"/>
                </a:cubicBezTo>
                <a:cubicBezTo>
                  <a:pt x="788" y="1686"/>
                  <a:pt x="785" y="1691"/>
                  <a:pt x="781" y="1695"/>
                </a:cubicBezTo>
                <a:cubicBezTo>
                  <a:pt x="776" y="1700"/>
                  <a:pt x="771" y="1703"/>
                  <a:pt x="766" y="1705"/>
                </a:cubicBezTo>
                <a:cubicBezTo>
                  <a:pt x="761" y="1706"/>
                  <a:pt x="756" y="1706"/>
                  <a:pt x="751" y="1705"/>
                </a:cubicBezTo>
                <a:cubicBezTo>
                  <a:pt x="745" y="1704"/>
                  <a:pt x="740" y="1702"/>
                  <a:pt x="735" y="1699"/>
                </a:cubicBezTo>
                <a:cubicBezTo>
                  <a:pt x="730" y="1695"/>
                  <a:pt x="725" y="1691"/>
                  <a:pt x="720" y="1687"/>
                </a:cubicBezTo>
                <a:cubicBezTo>
                  <a:pt x="715" y="1681"/>
                  <a:pt x="710" y="1676"/>
                  <a:pt x="707" y="1670"/>
                </a:cubicBezTo>
                <a:cubicBezTo>
                  <a:pt x="704" y="1664"/>
                  <a:pt x="702" y="1659"/>
                  <a:pt x="701" y="1653"/>
                </a:cubicBezTo>
                <a:cubicBezTo>
                  <a:pt x="700" y="1648"/>
                  <a:pt x="700" y="1642"/>
                  <a:pt x="702" y="1637"/>
                </a:cubicBezTo>
                <a:cubicBezTo>
                  <a:pt x="704" y="1632"/>
                  <a:pt x="707" y="1627"/>
                  <a:pt x="712" y="1623"/>
                </a:cubicBezTo>
                <a:cubicBezTo>
                  <a:pt x="715" y="1619"/>
                  <a:pt x="720" y="1616"/>
                  <a:pt x="724" y="1615"/>
                </a:cubicBezTo>
                <a:cubicBezTo>
                  <a:pt x="729" y="1613"/>
                  <a:pt x="735" y="1613"/>
                  <a:pt x="741" y="1613"/>
                </a:cubicBezTo>
                <a:lnTo>
                  <a:pt x="704" y="1575"/>
                </a:lnTo>
                <a:cubicBezTo>
                  <a:pt x="703" y="1575"/>
                  <a:pt x="703" y="1574"/>
                  <a:pt x="703" y="1574"/>
                </a:cubicBezTo>
                <a:cubicBezTo>
                  <a:pt x="703" y="1573"/>
                  <a:pt x="703" y="1573"/>
                  <a:pt x="703" y="1572"/>
                </a:cubicBezTo>
                <a:cubicBezTo>
                  <a:pt x="703" y="1572"/>
                  <a:pt x="704" y="1571"/>
                  <a:pt x="704" y="1570"/>
                </a:cubicBezTo>
                <a:cubicBezTo>
                  <a:pt x="705" y="1569"/>
                  <a:pt x="706" y="1568"/>
                  <a:pt x="707" y="1567"/>
                </a:cubicBezTo>
                <a:cubicBezTo>
                  <a:pt x="708" y="1566"/>
                  <a:pt x="709" y="1565"/>
                  <a:pt x="710" y="1564"/>
                </a:cubicBezTo>
                <a:cubicBezTo>
                  <a:pt x="711" y="1563"/>
                  <a:pt x="712" y="1563"/>
                  <a:pt x="712" y="1563"/>
                </a:cubicBezTo>
                <a:cubicBezTo>
                  <a:pt x="713" y="1563"/>
                  <a:pt x="714" y="1562"/>
                  <a:pt x="714" y="1563"/>
                </a:cubicBezTo>
                <a:cubicBezTo>
                  <a:pt x="715" y="1563"/>
                  <a:pt x="715" y="1563"/>
                  <a:pt x="715" y="1563"/>
                </a:cubicBezTo>
                <a:lnTo>
                  <a:pt x="811" y="1659"/>
                </a:lnTo>
                <a:close/>
                <a:moveTo>
                  <a:pt x="754" y="1625"/>
                </a:moveTo>
                <a:cubicBezTo>
                  <a:pt x="747" y="1625"/>
                  <a:pt x="740" y="1625"/>
                  <a:pt x="735" y="1626"/>
                </a:cubicBezTo>
                <a:cubicBezTo>
                  <a:pt x="730" y="1626"/>
                  <a:pt x="726" y="1628"/>
                  <a:pt x="723" y="1632"/>
                </a:cubicBezTo>
                <a:cubicBezTo>
                  <a:pt x="720" y="1635"/>
                  <a:pt x="718" y="1638"/>
                  <a:pt x="717" y="1642"/>
                </a:cubicBezTo>
                <a:cubicBezTo>
                  <a:pt x="717" y="1645"/>
                  <a:pt x="717" y="1649"/>
                  <a:pt x="718" y="1652"/>
                </a:cubicBezTo>
                <a:cubicBezTo>
                  <a:pt x="719" y="1656"/>
                  <a:pt x="721" y="1660"/>
                  <a:pt x="723" y="1663"/>
                </a:cubicBezTo>
                <a:cubicBezTo>
                  <a:pt x="725" y="1667"/>
                  <a:pt x="728" y="1670"/>
                  <a:pt x="731" y="1673"/>
                </a:cubicBezTo>
                <a:cubicBezTo>
                  <a:pt x="734" y="1676"/>
                  <a:pt x="738" y="1679"/>
                  <a:pt x="741" y="1682"/>
                </a:cubicBezTo>
                <a:cubicBezTo>
                  <a:pt x="745" y="1685"/>
                  <a:pt x="749" y="1686"/>
                  <a:pt x="752" y="1688"/>
                </a:cubicBezTo>
                <a:cubicBezTo>
                  <a:pt x="756" y="1689"/>
                  <a:pt x="760" y="1689"/>
                  <a:pt x="763" y="1689"/>
                </a:cubicBezTo>
                <a:cubicBezTo>
                  <a:pt x="767" y="1688"/>
                  <a:pt x="770" y="1686"/>
                  <a:pt x="773" y="1683"/>
                </a:cubicBezTo>
                <a:cubicBezTo>
                  <a:pt x="775" y="1681"/>
                  <a:pt x="776" y="1680"/>
                  <a:pt x="777" y="1678"/>
                </a:cubicBezTo>
                <a:cubicBezTo>
                  <a:pt x="778" y="1676"/>
                  <a:pt x="779" y="1674"/>
                  <a:pt x="779" y="1671"/>
                </a:cubicBezTo>
                <a:cubicBezTo>
                  <a:pt x="780" y="1669"/>
                  <a:pt x="780" y="1666"/>
                  <a:pt x="780" y="1662"/>
                </a:cubicBezTo>
                <a:cubicBezTo>
                  <a:pt x="780" y="1659"/>
                  <a:pt x="780" y="1655"/>
                  <a:pt x="780" y="1651"/>
                </a:cubicBezTo>
                <a:lnTo>
                  <a:pt x="754" y="1625"/>
                </a:lnTo>
                <a:close/>
                <a:moveTo>
                  <a:pt x="855" y="1545"/>
                </a:moveTo>
                <a:cubicBezTo>
                  <a:pt x="857" y="1547"/>
                  <a:pt x="858" y="1548"/>
                  <a:pt x="858" y="1550"/>
                </a:cubicBezTo>
                <a:cubicBezTo>
                  <a:pt x="857" y="1552"/>
                  <a:pt x="857" y="1553"/>
                  <a:pt x="856" y="1555"/>
                </a:cubicBezTo>
                <a:lnTo>
                  <a:pt x="813" y="1597"/>
                </a:lnTo>
                <a:cubicBezTo>
                  <a:pt x="817" y="1601"/>
                  <a:pt x="820" y="1604"/>
                  <a:pt x="824" y="1606"/>
                </a:cubicBezTo>
                <a:cubicBezTo>
                  <a:pt x="827" y="1608"/>
                  <a:pt x="831" y="1609"/>
                  <a:pt x="835" y="1609"/>
                </a:cubicBezTo>
                <a:cubicBezTo>
                  <a:pt x="838" y="1610"/>
                  <a:pt x="842" y="1609"/>
                  <a:pt x="846" y="1608"/>
                </a:cubicBezTo>
                <a:cubicBezTo>
                  <a:pt x="850" y="1606"/>
                  <a:pt x="854" y="1603"/>
                  <a:pt x="858" y="1599"/>
                </a:cubicBezTo>
                <a:cubicBezTo>
                  <a:pt x="861" y="1596"/>
                  <a:pt x="863" y="1593"/>
                  <a:pt x="865" y="1590"/>
                </a:cubicBezTo>
                <a:cubicBezTo>
                  <a:pt x="867" y="1588"/>
                  <a:pt x="868" y="1585"/>
                  <a:pt x="870" y="1583"/>
                </a:cubicBezTo>
                <a:cubicBezTo>
                  <a:pt x="871" y="1580"/>
                  <a:pt x="872" y="1578"/>
                  <a:pt x="872" y="1576"/>
                </a:cubicBezTo>
                <a:cubicBezTo>
                  <a:pt x="873" y="1575"/>
                  <a:pt x="873" y="1574"/>
                  <a:pt x="874" y="1573"/>
                </a:cubicBezTo>
                <a:cubicBezTo>
                  <a:pt x="874" y="1573"/>
                  <a:pt x="875" y="1573"/>
                  <a:pt x="875" y="1573"/>
                </a:cubicBezTo>
                <a:cubicBezTo>
                  <a:pt x="876" y="1572"/>
                  <a:pt x="876" y="1572"/>
                  <a:pt x="877" y="1573"/>
                </a:cubicBezTo>
                <a:cubicBezTo>
                  <a:pt x="877" y="1573"/>
                  <a:pt x="878" y="1573"/>
                  <a:pt x="878" y="1574"/>
                </a:cubicBezTo>
                <a:cubicBezTo>
                  <a:pt x="879" y="1574"/>
                  <a:pt x="880" y="1575"/>
                  <a:pt x="881" y="1576"/>
                </a:cubicBezTo>
                <a:cubicBezTo>
                  <a:pt x="881" y="1576"/>
                  <a:pt x="882" y="1577"/>
                  <a:pt x="882" y="1578"/>
                </a:cubicBezTo>
                <a:cubicBezTo>
                  <a:pt x="883" y="1578"/>
                  <a:pt x="883" y="1578"/>
                  <a:pt x="883" y="1579"/>
                </a:cubicBezTo>
                <a:cubicBezTo>
                  <a:pt x="883" y="1579"/>
                  <a:pt x="884" y="1580"/>
                  <a:pt x="884" y="1580"/>
                </a:cubicBezTo>
                <a:cubicBezTo>
                  <a:pt x="884" y="1581"/>
                  <a:pt x="884" y="1581"/>
                  <a:pt x="884" y="1582"/>
                </a:cubicBezTo>
                <a:cubicBezTo>
                  <a:pt x="884" y="1582"/>
                  <a:pt x="884" y="1583"/>
                  <a:pt x="883" y="1585"/>
                </a:cubicBezTo>
                <a:cubicBezTo>
                  <a:pt x="882" y="1587"/>
                  <a:pt x="881" y="1589"/>
                  <a:pt x="880" y="1592"/>
                </a:cubicBezTo>
                <a:cubicBezTo>
                  <a:pt x="878" y="1595"/>
                  <a:pt x="876" y="1598"/>
                  <a:pt x="874" y="1601"/>
                </a:cubicBezTo>
                <a:cubicBezTo>
                  <a:pt x="872" y="1604"/>
                  <a:pt x="869" y="1607"/>
                  <a:pt x="866" y="1610"/>
                </a:cubicBezTo>
                <a:cubicBezTo>
                  <a:pt x="861" y="1615"/>
                  <a:pt x="855" y="1619"/>
                  <a:pt x="850" y="1622"/>
                </a:cubicBezTo>
                <a:cubicBezTo>
                  <a:pt x="844" y="1624"/>
                  <a:pt x="839" y="1626"/>
                  <a:pt x="833" y="1625"/>
                </a:cubicBezTo>
                <a:cubicBezTo>
                  <a:pt x="828" y="1625"/>
                  <a:pt x="822" y="1624"/>
                  <a:pt x="816" y="1621"/>
                </a:cubicBezTo>
                <a:cubicBezTo>
                  <a:pt x="810" y="1618"/>
                  <a:pt x="804" y="1613"/>
                  <a:pt x="799" y="1607"/>
                </a:cubicBezTo>
                <a:cubicBezTo>
                  <a:pt x="793" y="1602"/>
                  <a:pt x="789" y="1596"/>
                  <a:pt x="786" y="1590"/>
                </a:cubicBezTo>
                <a:cubicBezTo>
                  <a:pt x="783" y="1584"/>
                  <a:pt x="781" y="1578"/>
                  <a:pt x="781" y="1573"/>
                </a:cubicBezTo>
                <a:cubicBezTo>
                  <a:pt x="780" y="1567"/>
                  <a:pt x="781" y="1561"/>
                  <a:pt x="783" y="1556"/>
                </a:cubicBezTo>
                <a:cubicBezTo>
                  <a:pt x="786" y="1550"/>
                  <a:pt x="789" y="1545"/>
                  <a:pt x="794" y="1540"/>
                </a:cubicBezTo>
                <a:cubicBezTo>
                  <a:pt x="799" y="1535"/>
                  <a:pt x="804" y="1532"/>
                  <a:pt x="809" y="1530"/>
                </a:cubicBezTo>
                <a:cubicBezTo>
                  <a:pt x="814" y="1528"/>
                  <a:pt x="819" y="1527"/>
                  <a:pt x="825" y="1528"/>
                </a:cubicBezTo>
                <a:cubicBezTo>
                  <a:pt x="830" y="1528"/>
                  <a:pt x="835" y="1530"/>
                  <a:pt x="839" y="1532"/>
                </a:cubicBezTo>
                <a:cubicBezTo>
                  <a:pt x="844" y="1535"/>
                  <a:pt x="849" y="1538"/>
                  <a:pt x="853" y="1543"/>
                </a:cubicBezTo>
                <a:lnTo>
                  <a:pt x="855" y="1545"/>
                </a:lnTo>
                <a:close/>
                <a:moveTo>
                  <a:pt x="840" y="1553"/>
                </a:moveTo>
                <a:cubicBezTo>
                  <a:pt x="833" y="1547"/>
                  <a:pt x="827" y="1543"/>
                  <a:pt x="821" y="1543"/>
                </a:cubicBezTo>
                <a:cubicBezTo>
                  <a:pt x="814" y="1542"/>
                  <a:pt x="808" y="1545"/>
                  <a:pt x="802" y="1550"/>
                </a:cubicBezTo>
                <a:cubicBezTo>
                  <a:pt x="799" y="1553"/>
                  <a:pt x="797" y="1556"/>
                  <a:pt x="796" y="1560"/>
                </a:cubicBezTo>
                <a:cubicBezTo>
                  <a:pt x="795" y="1563"/>
                  <a:pt x="795" y="1566"/>
                  <a:pt x="795" y="1570"/>
                </a:cubicBezTo>
                <a:cubicBezTo>
                  <a:pt x="795" y="1573"/>
                  <a:pt x="796" y="1576"/>
                  <a:pt x="798" y="1579"/>
                </a:cubicBezTo>
                <a:cubicBezTo>
                  <a:pt x="800" y="1583"/>
                  <a:pt x="802" y="1586"/>
                  <a:pt x="804" y="1588"/>
                </a:cubicBezTo>
                <a:lnTo>
                  <a:pt x="840" y="1553"/>
                </a:lnTo>
                <a:close/>
                <a:moveTo>
                  <a:pt x="975" y="1403"/>
                </a:moveTo>
                <a:cubicBezTo>
                  <a:pt x="983" y="1411"/>
                  <a:pt x="989" y="1419"/>
                  <a:pt x="993" y="1427"/>
                </a:cubicBezTo>
                <a:cubicBezTo>
                  <a:pt x="997" y="1435"/>
                  <a:pt x="999" y="1443"/>
                  <a:pt x="999" y="1451"/>
                </a:cubicBezTo>
                <a:cubicBezTo>
                  <a:pt x="999" y="1459"/>
                  <a:pt x="997" y="1467"/>
                  <a:pt x="993" y="1475"/>
                </a:cubicBezTo>
                <a:cubicBezTo>
                  <a:pt x="989" y="1482"/>
                  <a:pt x="983" y="1490"/>
                  <a:pt x="975" y="1498"/>
                </a:cubicBezTo>
                <a:lnTo>
                  <a:pt x="956" y="1518"/>
                </a:lnTo>
                <a:cubicBezTo>
                  <a:pt x="955" y="1519"/>
                  <a:pt x="953" y="1519"/>
                  <a:pt x="952" y="1520"/>
                </a:cubicBezTo>
                <a:cubicBezTo>
                  <a:pt x="950" y="1520"/>
                  <a:pt x="948" y="1519"/>
                  <a:pt x="946" y="1517"/>
                </a:cubicBezTo>
                <a:lnTo>
                  <a:pt x="863" y="1434"/>
                </a:lnTo>
                <a:cubicBezTo>
                  <a:pt x="861" y="1433"/>
                  <a:pt x="861" y="1431"/>
                  <a:pt x="861" y="1429"/>
                </a:cubicBezTo>
                <a:cubicBezTo>
                  <a:pt x="861" y="1427"/>
                  <a:pt x="862" y="1426"/>
                  <a:pt x="863" y="1425"/>
                </a:cubicBezTo>
                <a:lnTo>
                  <a:pt x="884" y="1404"/>
                </a:lnTo>
                <a:cubicBezTo>
                  <a:pt x="892" y="1396"/>
                  <a:pt x="900" y="1390"/>
                  <a:pt x="907" y="1386"/>
                </a:cubicBezTo>
                <a:cubicBezTo>
                  <a:pt x="915" y="1383"/>
                  <a:pt x="923" y="1381"/>
                  <a:pt x="930" y="1381"/>
                </a:cubicBezTo>
                <a:cubicBezTo>
                  <a:pt x="938" y="1382"/>
                  <a:pt x="946" y="1383"/>
                  <a:pt x="953" y="1387"/>
                </a:cubicBezTo>
                <a:cubicBezTo>
                  <a:pt x="961" y="1391"/>
                  <a:pt x="968" y="1396"/>
                  <a:pt x="975" y="1403"/>
                </a:cubicBezTo>
                <a:close/>
                <a:moveTo>
                  <a:pt x="962" y="1417"/>
                </a:moveTo>
                <a:cubicBezTo>
                  <a:pt x="957" y="1411"/>
                  <a:pt x="952" y="1407"/>
                  <a:pt x="946" y="1404"/>
                </a:cubicBezTo>
                <a:cubicBezTo>
                  <a:pt x="941" y="1401"/>
                  <a:pt x="935" y="1399"/>
                  <a:pt x="929" y="1399"/>
                </a:cubicBezTo>
                <a:cubicBezTo>
                  <a:pt x="924" y="1398"/>
                  <a:pt x="918" y="1399"/>
                  <a:pt x="912" y="1402"/>
                </a:cubicBezTo>
                <a:cubicBezTo>
                  <a:pt x="906" y="1404"/>
                  <a:pt x="900" y="1408"/>
                  <a:pt x="893" y="1415"/>
                </a:cubicBezTo>
                <a:lnTo>
                  <a:pt x="881" y="1427"/>
                </a:lnTo>
                <a:lnTo>
                  <a:pt x="953" y="1500"/>
                </a:lnTo>
                <a:lnTo>
                  <a:pt x="966" y="1487"/>
                </a:lnTo>
                <a:cubicBezTo>
                  <a:pt x="972" y="1481"/>
                  <a:pt x="976" y="1475"/>
                  <a:pt x="979" y="1470"/>
                </a:cubicBezTo>
                <a:cubicBezTo>
                  <a:pt x="981" y="1464"/>
                  <a:pt x="982" y="1458"/>
                  <a:pt x="982" y="1453"/>
                </a:cubicBezTo>
                <a:cubicBezTo>
                  <a:pt x="982" y="1447"/>
                  <a:pt x="980" y="1441"/>
                  <a:pt x="977" y="1435"/>
                </a:cubicBezTo>
                <a:cubicBezTo>
                  <a:pt x="973" y="1429"/>
                  <a:pt x="969" y="1423"/>
                  <a:pt x="962" y="1417"/>
                </a:cubicBezTo>
                <a:close/>
                <a:moveTo>
                  <a:pt x="1059" y="1341"/>
                </a:moveTo>
                <a:cubicBezTo>
                  <a:pt x="1060" y="1343"/>
                  <a:pt x="1061" y="1345"/>
                  <a:pt x="1061" y="1346"/>
                </a:cubicBezTo>
                <a:cubicBezTo>
                  <a:pt x="1061" y="1348"/>
                  <a:pt x="1060" y="1350"/>
                  <a:pt x="1059" y="1351"/>
                </a:cubicBezTo>
                <a:lnTo>
                  <a:pt x="1017" y="1393"/>
                </a:lnTo>
                <a:cubicBezTo>
                  <a:pt x="1020" y="1397"/>
                  <a:pt x="1024" y="1400"/>
                  <a:pt x="1027" y="1402"/>
                </a:cubicBezTo>
                <a:cubicBezTo>
                  <a:pt x="1031" y="1404"/>
                  <a:pt x="1035" y="1405"/>
                  <a:pt x="1038" y="1406"/>
                </a:cubicBezTo>
                <a:cubicBezTo>
                  <a:pt x="1042" y="1406"/>
                  <a:pt x="1046" y="1406"/>
                  <a:pt x="1050" y="1404"/>
                </a:cubicBezTo>
                <a:cubicBezTo>
                  <a:pt x="1053" y="1402"/>
                  <a:pt x="1057" y="1400"/>
                  <a:pt x="1061" y="1396"/>
                </a:cubicBezTo>
                <a:cubicBezTo>
                  <a:pt x="1064" y="1393"/>
                  <a:pt x="1067" y="1390"/>
                  <a:pt x="1069" y="1387"/>
                </a:cubicBezTo>
                <a:cubicBezTo>
                  <a:pt x="1071" y="1384"/>
                  <a:pt x="1072" y="1381"/>
                  <a:pt x="1073" y="1379"/>
                </a:cubicBezTo>
                <a:cubicBezTo>
                  <a:pt x="1074" y="1376"/>
                  <a:pt x="1075" y="1374"/>
                  <a:pt x="1076" y="1373"/>
                </a:cubicBezTo>
                <a:cubicBezTo>
                  <a:pt x="1077" y="1371"/>
                  <a:pt x="1077" y="1370"/>
                  <a:pt x="1078" y="1370"/>
                </a:cubicBezTo>
                <a:cubicBezTo>
                  <a:pt x="1078" y="1369"/>
                  <a:pt x="1078" y="1369"/>
                  <a:pt x="1079" y="1369"/>
                </a:cubicBezTo>
                <a:cubicBezTo>
                  <a:pt x="1079" y="1369"/>
                  <a:pt x="1080" y="1369"/>
                  <a:pt x="1080" y="1369"/>
                </a:cubicBezTo>
                <a:cubicBezTo>
                  <a:pt x="1081" y="1369"/>
                  <a:pt x="1081" y="1370"/>
                  <a:pt x="1082" y="1370"/>
                </a:cubicBezTo>
                <a:cubicBezTo>
                  <a:pt x="1083" y="1371"/>
                  <a:pt x="1083" y="1371"/>
                  <a:pt x="1084" y="1372"/>
                </a:cubicBezTo>
                <a:cubicBezTo>
                  <a:pt x="1085" y="1373"/>
                  <a:pt x="1085" y="1373"/>
                  <a:pt x="1086" y="1374"/>
                </a:cubicBezTo>
                <a:cubicBezTo>
                  <a:pt x="1086" y="1374"/>
                  <a:pt x="1087" y="1375"/>
                  <a:pt x="1087" y="1375"/>
                </a:cubicBezTo>
                <a:cubicBezTo>
                  <a:pt x="1087" y="1376"/>
                  <a:pt x="1087" y="1376"/>
                  <a:pt x="1087" y="1377"/>
                </a:cubicBezTo>
                <a:cubicBezTo>
                  <a:pt x="1088" y="1377"/>
                  <a:pt x="1088" y="1378"/>
                  <a:pt x="1088" y="1378"/>
                </a:cubicBezTo>
                <a:cubicBezTo>
                  <a:pt x="1088" y="1379"/>
                  <a:pt x="1087" y="1380"/>
                  <a:pt x="1087" y="1382"/>
                </a:cubicBezTo>
                <a:cubicBezTo>
                  <a:pt x="1086" y="1384"/>
                  <a:pt x="1085" y="1386"/>
                  <a:pt x="1083" y="1388"/>
                </a:cubicBezTo>
                <a:cubicBezTo>
                  <a:pt x="1082" y="1391"/>
                  <a:pt x="1080" y="1394"/>
                  <a:pt x="1078" y="1397"/>
                </a:cubicBezTo>
                <a:cubicBezTo>
                  <a:pt x="1075" y="1400"/>
                  <a:pt x="1073" y="1403"/>
                  <a:pt x="1070" y="1407"/>
                </a:cubicBezTo>
                <a:cubicBezTo>
                  <a:pt x="1064" y="1412"/>
                  <a:pt x="1059" y="1416"/>
                  <a:pt x="1054" y="1418"/>
                </a:cubicBezTo>
                <a:cubicBezTo>
                  <a:pt x="1048" y="1421"/>
                  <a:pt x="1042" y="1422"/>
                  <a:pt x="1037" y="1422"/>
                </a:cubicBezTo>
                <a:cubicBezTo>
                  <a:pt x="1031" y="1422"/>
                  <a:pt x="1025" y="1420"/>
                  <a:pt x="1020" y="1417"/>
                </a:cubicBezTo>
                <a:cubicBezTo>
                  <a:pt x="1014" y="1414"/>
                  <a:pt x="1008" y="1409"/>
                  <a:pt x="1002" y="1404"/>
                </a:cubicBezTo>
                <a:cubicBezTo>
                  <a:pt x="997" y="1398"/>
                  <a:pt x="992" y="1392"/>
                  <a:pt x="989" y="1387"/>
                </a:cubicBezTo>
                <a:cubicBezTo>
                  <a:pt x="986" y="1381"/>
                  <a:pt x="985" y="1375"/>
                  <a:pt x="984" y="1369"/>
                </a:cubicBezTo>
                <a:cubicBezTo>
                  <a:pt x="984" y="1363"/>
                  <a:pt x="985" y="1358"/>
                  <a:pt x="987" y="1352"/>
                </a:cubicBezTo>
                <a:cubicBezTo>
                  <a:pt x="989" y="1347"/>
                  <a:pt x="993" y="1342"/>
                  <a:pt x="997" y="1337"/>
                </a:cubicBezTo>
                <a:cubicBezTo>
                  <a:pt x="1002" y="1332"/>
                  <a:pt x="1008" y="1328"/>
                  <a:pt x="1013" y="1326"/>
                </a:cubicBezTo>
                <a:cubicBezTo>
                  <a:pt x="1018" y="1324"/>
                  <a:pt x="1023" y="1324"/>
                  <a:pt x="1028" y="1324"/>
                </a:cubicBezTo>
                <a:cubicBezTo>
                  <a:pt x="1033" y="1324"/>
                  <a:pt x="1038" y="1326"/>
                  <a:pt x="1043" y="1329"/>
                </a:cubicBezTo>
                <a:cubicBezTo>
                  <a:pt x="1048" y="1331"/>
                  <a:pt x="1052" y="1335"/>
                  <a:pt x="1056" y="1339"/>
                </a:cubicBezTo>
                <a:lnTo>
                  <a:pt x="1059" y="1341"/>
                </a:lnTo>
                <a:close/>
                <a:moveTo>
                  <a:pt x="1043" y="1349"/>
                </a:moveTo>
                <a:cubicBezTo>
                  <a:pt x="1037" y="1343"/>
                  <a:pt x="1031" y="1340"/>
                  <a:pt x="1024" y="1339"/>
                </a:cubicBezTo>
                <a:cubicBezTo>
                  <a:pt x="1018" y="1338"/>
                  <a:pt x="1012" y="1341"/>
                  <a:pt x="1006" y="1347"/>
                </a:cubicBezTo>
                <a:cubicBezTo>
                  <a:pt x="1003" y="1350"/>
                  <a:pt x="1001" y="1353"/>
                  <a:pt x="1000" y="1356"/>
                </a:cubicBezTo>
                <a:cubicBezTo>
                  <a:pt x="999" y="1359"/>
                  <a:pt x="998" y="1363"/>
                  <a:pt x="999" y="1366"/>
                </a:cubicBezTo>
                <a:cubicBezTo>
                  <a:pt x="999" y="1369"/>
                  <a:pt x="1000" y="1373"/>
                  <a:pt x="1002" y="1376"/>
                </a:cubicBezTo>
                <a:cubicBezTo>
                  <a:pt x="1003" y="1379"/>
                  <a:pt x="1005" y="1382"/>
                  <a:pt x="1008" y="1385"/>
                </a:cubicBezTo>
                <a:lnTo>
                  <a:pt x="1043" y="1349"/>
                </a:lnTo>
                <a:close/>
                <a:moveTo>
                  <a:pt x="1062" y="1226"/>
                </a:moveTo>
                <a:cubicBezTo>
                  <a:pt x="1063" y="1226"/>
                  <a:pt x="1064" y="1227"/>
                  <a:pt x="1064" y="1228"/>
                </a:cubicBezTo>
                <a:cubicBezTo>
                  <a:pt x="1064" y="1229"/>
                  <a:pt x="1065" y="1229"/>
                  <a:pt x="1065" y="1230"/>
                </a:cubicBezTo>
                <a:cubicBezTo>
                  <a:pt x="1065" y="1230"/>
                  <a:pt x="1065" y="1230"/>
                  <a:pt x="1065" y="1231"/>
                </a:cubicBezTo>
                <a:cubicBezTo>
                  <a:pt x="1065" y="1231"/>
                  <a:pt x="1065" y="1231"/>
                  <a:pt x="1065" y="1232"/>
                </a:cubicBezTo>
                <a:cubicBezTo>
                  <a:pt x="1064" y="1232"/>
                  <a:pt x="1064" y="1232"/>
                  <a:pt x="1063" y="1233"/>
                </a:cubicBezTo>
                <a:cubicBezTo>
                  <a:pt x="1062" y="1233"/>
                  <a:pt x="1062" y="1233"/>
                  <a:pt x="1061" y="1234"/>
                </a:cubicBezTo>
                <a:cubicBezTo>
                  <a:pt x="1060" y="1234"/>
                  <a:pt x="1058" y="1235"/>
                  <a:pt x="1057" y="1235"/>
                </a:cubicBezTo>
                <a:cubicBezTo>
                  <a:pt x="1056" y="1236"/>
                  <a:pt x="1055" y="1237"/>
                  <a:pt x="1054" y="1239"/>
                </a:cubicBezTo>
                <a:cubicBezTo>
                  <a:pt x="1052" y="1240"/>
                  <a:pt x="1051" y="1242"/>
                  <a:pt x="1050" y="1244"/>
                </a:cubicBezTo>
                <a:cubicBezTo>
                  <a:pt x="1049" y="1246"/>
                  <a:pt x="1049" y="1248"/>
                  <a:pt x="1050" y="1250"/>
                </a:cubicBezTo>
                <a:cubicBezTo>
                  <a:pt x="1050" y="1252"/>
                  <a:pt x="1051" y="1254"/>
                  <a:pt x="1053" y="1256"/>
                </a:cubicBezTo>
                <a:cubicBezTo>
                  <a:pt x="1054" y="1258"/>
                  <a:pt x="1056" y="1261"/>
                  <a:pt x="1059" y="1264"/>
                </a:cubicBezTo>
                <a:lnTo>
                  <a:pt x="1066" y="1271"/>
                </a:lnTo>
                <a:lnTo>
                  <a:pt x="1081" y="1256"/>
                </a:lnTo>
                <a:cubicBezTo>
                  <a:pt x="1081" y="1256"/>
                  <a:pt x="1081" y="1256"/>
                  <a:pt x="1082" y="1255"/>
                </a:cubicBezTo>
                <a:cubicBezTo>
                  <a:pt x="1082" y="1255"/>
                  <a:pt x="1083" y="1255"/>
                  <a:pt x="1084" y="1256"/>
                </a:cubicBezTo>
                <a:cubicBezTo>
                  <a:pt x="1084" y="1256"/>
                  <a:pt x="1085" y="1256"/>
                  <a:pt x="1086" y="1257"/>
                </a:cubicBezTo>
                <a:cubicBezTo>
                  <a:pt x="1086" y="1257"/>
                  <a:pt x="1087" y="1258"/>
                  <a:pt x="1088" y="1259"/>
                </a:cubicBezTo>
                <a:cubicBezTo>
                  <a:pt x="1090" y="1261"/>
                  <a:pt x="1091" y="1262"/>
                  <a:pt x="1091" y="1263"/>
                </a:cubicBezTo>
                <a:cubicBezTo>
                  <a:pt x="1091" y="1264"/>
                  <a:pt x="1091" y="1265"/>
                  <a:pt x="1091" y="1266"/>
                </a:cubicBezTo>
                <a:lnTo>
                  <a:pt x="1076" y="1280"/>
                </a:lnTo>
                <a:lnTo>
                  <a:pt x="1133" y="1337"/>
                </a:lnTo>
                <a:cubicBezTo>
                  <a:pt x="1133" y="1338"/>
                  <a:pt x="1133" y="1338"/>
                  <a:pt x="1133" y="1338"/>
                </a:cubicBezTo>
                <a:cubicBezTo>
                  <a:pt x="1134" y="1339"/>
                  <a:pt x="1133" y="1339"/>
                  <a:pt x="1133" y="1340"/>
                </a:cubicBezTo>
                <a:cubicBezTo>
                  <a:pt x="1133" y="1341"/>
                  <a:pt x="1132" y="1341"/>
                  <a:pt x="1132" y="1342"/>
                </a:cubicBezTo>
                <a:cubicBezTo>
                  <a:pt x="1131" y="1343"/>
                  <a:pt x="1130" y="1344"/>
                  <a:pt x="1129" y="1345"/>
                </a:cubicBezTo>
                <a:cubicBezTo>
                  <a:pt x="1128" y="1346"/>
                  <a:pt x="1127" y="1347"/>
                  <a:pt x="1126" y="1348"/>
                </a:cubicBezTo>
                <a:cubicBezTo>
                  <a:pt x="1125" y="1349"/>
                  <a:pt x="1124" y="1349"/>
                  <a:pt x="1124" y="1349"/>
                </a:cubicBezTo>
                <a:cubicBezTo>
                  <a:pt x="1123" y="1350"/>
                  <a:pt x="1123" y="1350"/>
                  <a:pt x="1122" y="1350"/>
                </a:cubicBezTo>
                <a:cubicBezTo>
                  <a:pt x="1122" y="1350"/>
                  <a:pt x="1121" y="1349"/>
                  <a:pt x="1121" y="1349"/>
                </a:cubicBezTo>
                <a:lnTo>
                  <a:pt x="1064" y="1292"/>
                </a:lnTo>
                <a:lnTo>
                  <a:pt x="1055" y="1302"/>
                </a:lnTo>
                <a:cubicBezTo>
                  <a:pt x="1054" y="1302"/>
                  <a:pt x="1053" y="1302"/>
                  <a:pt x="1052" y="1302"/>
                </a:cubicBezTo>
                <a:cubicBezTo>
                  <a:pt x="1051" y="1302"/>
                  <a:pt x="1050" y="1301"/>
                  <a:pt x="1048" y="1299"/>
                </a:cubicBezTo>
                <a:cubicBezTo>
                  <a:pt x="1047" y="1298"/>
                  <a:pt x="1046" y="1297"/>
                  <a:pt x="1046" y="1296"/>
                </a:cubicBezTo>
                <a:cubicBezTo>
                  <a:pt x="1045" y="1296"/>
                  <a:pt x="1045" y="1295"/>
                  <a:pt x="1045" y="1295"/>
                </a:cubicBezTo>
                <a:cubicBezTo>
                  <a:pt x="1044" y="1294"/>
                  <a:pt x="1044" y="1293"/>
                  <a:pt x="1044" y="1293"/>
                </a:cubicBezTo>
                <a:cubicBezTo>
                  <a:pt x="1045" y="1292"/>
                  <a:pt x="1045" y="1292"/>
                  <a:pt x="1045" y="1292"/>
                </a:cubicBezTo>
                <a:lnTo>
                  <a:pt x="1054" y="1283"/>
                </a:lnTo>
                <a:lnTo>
                  <a:pt x="1048" y="1276"/>
                </a:lnTo>
                <a:cubicBezTo>
                  <a:pt x="1043" y="1271"/>
                  <a:pt x="1040" y="1267"/>
                  <a:pt x="1037" y="1263"/>
                </a:cubicBezTo>
                <a:cubicBezTo>
                  <a:pt x="1035" y="1259"/>
                  <a:pt x="1034" y="1255"/>
                  <a:pt x="1033" y="1251"/>
                </a:cubicBezTo>
                <a:cubicBezTo>
                  <a:pt x="1033" y="1247"/>
                  <a:pt x="1034" y="1244"/>
                  <a:pt x="1035" y="1240"/>
                </a:cubicBezTo>
                <a:cubicBezTo>
                  <a:pt x="1037" y="1237"/>
                  <a:pt x="1039" y="1233"/>
                  <a:pt x="1043" y="1229"/>
                </a:cubicBezTo>
                <a:cubicBezTo>
                  <a:pt x="1045" y="1228"/>
                  <a:pt x="1046" y="1226"/>
                  <a:pt x="1048" y="1225"/>
                </a:cubicBezTo>
                <a:cubicBezTo>
                  <a:pt x="1050" y="1224"/>
                  <a:pt x="1052" y="1223"/>
                  <a:pt x="1053" y="1222"/>
                </a:cubicBezTo>
                <a:cubicBezTo>
                  <a:pt x="1054" y="1222"/>
                  <a:pt x="1055" y="1222"/>
                  <a:pt x="1056" y="1222"/>
                </a:cubicBezTo>
                <a:cubicBezTo>
                  <a:pt x="1056" y="1222"/>
                  <a:pt x="1057" y="1222"/>
                  <a:pt x="1057" y="1222"/>
                </a:cubicBezTo>
                <a:cubicBezTo>
                  <a:pt x="1058" y="1222"/>
                  <a:pt x="1059" y="1223"/>
                  <a:pt x="1060" y="1223"/>
                </a:cubicBezTo>
                <a:cubicBezTo>
                  <a:pt x="1060" y="1224"/>
                  <a:pt x="1061" y="1225"/>
                  <a:pt x="1062" y="1226"/>
                </a:cubicBezTo>
                <a:close/>
                <a:moveTo>
                  <a:pt x="1183" y="1217"/>
                </a:moveTo>
                <a:cubicBezTo>
                  <a:pt x="1185" y="1218"/>
                  <a:pt x="1186" y="1220"/>
                  <a:pt x="1186" y="1222"/>
                </a:cubicBezTo>
                <a:cubicBezTo>
                  <a:pt x="1185" y="1224"/>
                  <a:pt x="1185" y="1225"/>
                  <a:pt x="1184" y="1226"/>
                </a:cubicBezTo>
                <a:lnTo>
                  <a:pt x="1141" y="1269"/>
                </a:lnTo>
                <a:cubicBezTo>
                  <a:pt x="1145" y="1273"/>
                  <a:pt x="1148" y="1275"/>
                  <a:pt x="1152" y="1278"/>
                </a:cubicBezTo>
                <a:cubicBezTo>
                  <a:pt x="1155" y="1280"/>
                  <a:pt x="1159" y="1281"/>
                  <a:pt x="1163" y="1281"/>
                </a:cubicBezTo>
                <a:cubicBezTo>
                  <a:pt x="1167" y="1282"/>
                  <a:pt x="1170" y="1281"/>
                  <a:pt x="1174" y="1280"/>
                </a:cubicBezTo>
                <a:cubicBezTo>
                  <a:pt x="1178" y="1278"/>
                  <a:pt x="1182" y="1275"/>
                  <a:pt x="1186" y="1271"/>
                </a:cubicBezTo>
                <a:cubicBezTo>
                  <a:pt x="1189" y="1268"/>
                  <a:pt x="1191" y="1265"/>
                  <a:pt x="1193" y="1262"/>
                </a:cubicBezTo>
                <a:cubicBezTo>
                  <a:pt x="1195" y="1259"/>
                  <a:pt x="1197" y="1257"/>
                  <a:pt x="1198" y="1254"/>
                </a:cubicBezTo>
                <a:cubicBezTo>
                  <a:pt x="1199" y="1252"/>
                  <a:pt x="1200" y="1250"/>
                  <a:pt x="1200" y="1248"/>
                </a:cubicBezTo>
                <a:cubicBezTo>
                  <a:pt x="1201" y="1247"/>
                  <a:pt x="1202" y="1246"/>
                  <a:pt x="1202" y="1245"/>
                </a:cubicBezTo>
                <a:cubicBezTo>
                  <a:pt x="1202" y="1245"/>
                  <a:pt x="1203" y="1245"/>
                  <a:pt x="1203" y="1244"/>
                </a:cubicBezTo>
                <a:cubicBezTo>
                  <a:pt x="1204" y="1244"/>
                  <a:pt x="1204" y="1244"/>
                  <a:pt x="1205" y="1245"/>
                </a:cubicBezTo>
                <a:cubicBezTo>
                  <a:pt x="1205" y="1245"/>
                  <a:pt x="1206" y="1245"/>
                  <a:pt x="1206" y="1246"/>
                </a:cubicBezTo>
                <a:cubicBezTo>
                  <a:pt x="1207" y="1246"/>
                  <a:pt x="1208" y="1247"/>
                  <a:pt x="1209" y="1248"/>
                </a:cubicBezTo>
                <a:cubicBezTo>
                  <a:pt x="1209" y="1248"/>
                  <a:pt x="1210" y="1249"/>
                  <a:pt x="1210" y="1249"/>
                </a:cubicBezTo>
                <a:cubicBezTo>
                  <a:pt x="1211" y="1250"/>
                  <a:pt x="1211" y="1250"/>
                  <a:pt x="1211" y="1251"/>
                </a:cubicBezTo>
                <a:cubicBezTo>
                  <a:pt x="1212" y="1251"/>
                  <a:pt x="1212" y="1252"/>
                  <a:pt x="1212" y="1252"/>
                </a:cubicBezTo>
                <a:cubicBezTo>
                  <a:pt x="1212" y="1253"/>
                  <a:pt x="1212" y="1253"/>
                  <a:pt x="1212" y="1254"/>
                </a:cubicBezTo>
                <a:cubicBezTo>
                  <a:pt x="1212" y="1254"/>
                  <a:pt x="1212" y="1255"/>
                  <a:pt x="1211" y="1257"/>
                </a:cubicBezTo>
                <a:cubicBezTo>
                  <a:pt x="1210" y="1259"/>
                  <a:pt x="1209" y="1261"/>
                  <a:pt x="1208" y="1264"/>
                </a:cubicBezTo>
                <a:cubicBezTo>
                  <a:pt x="1206" y="1267"/>
                  <a:pt x="1204" y="1270"/>
                  <a:pt x="1202" y="1273"/>
                </a:cubicBezTo>
                <a:cubicBezTo>
                  <a:pt x="1200" y="1276"/>
                  <a:pt x="1197" y="1279"/>
                  <a:pt x="1194" y="1282"/>
                </a:cubicBezTo>
                <a:cubicBezTo>
                  <a:pt x="1189" y="1287"/>
                  <a:pt x="1183" y="1291"/>
                  <a:pt x="1178" y="1294"/>
                </a:cubicBezTo>
                <a:cubicBezTo>
                  <a:pt x="1173" y="1296"/>
                  <a:pt x="1167" y="1297"/>
                  <a:pt x="1161" y="1297"/>
                </a:cubicBezTo>
                <a:cubicBezTo>
                  <a:pt x="1156" y="1297"/>
                  <a:pt x="1150" y="1295"/>
                  <a:pt x="1144" y="1292"/>
                </a:cubicBezTo>
                <a:cubicBezTo>
                  <a:pt x="1138" y="1289"/>
                  <a:pt x="1133" y="1285"/>
                  <a:pt x="1127" y="1279"/>
                </a:cubicBezTo>
                <a:cubicBezTo>
                  <a:pt x="1121" y="1274"/>
                  <a:pt x="1117" y="1268"/>
                  <a:pt x="1114" y="1262"/>
                </a:cubicBezTo>
                <a:cubicBezTo>
                  <a:pt x="1111" y="1256"/>
                  <a:pt x="1109" y="1250"/>
                  <a:pt x="1109" y="1245"/>
                </a:cubicBezTo>
                <a:cubicBezTo>
                  <a:pt x="1108" y="1239"/>
                  <a:pt x="1109" y="1233"/>
                  <a:pt x="1111" y="1228"/>
                </a:cubicBezTo>
                <a:cubicBezTo>
                  <a:pt x="1114" y="1222"/>
                  <a:pt x="1117" y="1217"/>
                  <a:pt x="1122" y="1212"/>
                </a:cubicBezTo>
                <a:cubicBezTo>
                  <a:pt x="1127" y="1207"/>
                  <a:pt x="1132" y="1204"/>
                  <a:pt x="1137" y="1202"/>
                </a:cubicBezTo>
                <a:cubicBezTo>
                  <a:pt x="1142" y="1200"/>
                  <a:pt x="1148" y="1199"/>
                  <a:pt x="1153" y="1200"/>
                </a:cubicBezTo>
                <a:cubicBezTo>
                  <a:pt x="1158" y="1200"/>
                  <a:pt x="1163" y="1202"/>
                  <a:pt x="1167" y="1204"/>
                </a:cubicBezTo>
                <a:cubicBezTo>
                  <a:pt x="1172" y="1207"/>
                  <a:pt x="1177" y="1210"/>
                  <a:pt x="1181" y="1214"/>
                </a:cubicBezTo>
                <a:lnTo>
                  <a:pt x="1183" y="1217"/>
                </a:lnTo>
                <a:close/>
                <a:moveTo>
                  <a:pt x="1168" y="1225"/>
                </a:moveTo>
                <a:cubicBezTo>
                  <a:pt x="1162" y="1219"/>
                  <a:pt x="1155" y="1215"/>
                  <a:pt x="1149" y="1215"/>
                </a:cubicBezTo>
                <a:cubicBezTo>
                  <a:pt x="1142" y="1214"/>
                  <a:pt x="1136" y="1216"/>
                  <a:pt x="1131" y="1222"/>
                </a:cubicBezTo>
                <a:cubicBezTo>
                  <a:pt x="1128" y="1225"/>
                  <a:pt x="1126" y="1228"/>
                  <a:pt x="1124" y="1232"/>
                </a:cubicBezTo>
                <a:cubicBezTo>
                  <a:pt x="1123" y="1235"/>
                  <a:pt x="1123" y="1238"/>
                  <a:pt x="1123" y="1242"/>
                </a:cubicBezTo>
                <a:cubicBezTo>
                  <a:pt x="1124" y="1245"/>
                  <a:pt x="1125" y="1248"/>
                  <a:pt x="1126" y="1251"/>
                </a:cubicBezTo>
                <a:cubicBezTo>
                  <a:pt x="1128" y="1255"/>
                  <a:pt x="1130" y="1258"/>
                  <a:pt x="1132" y="1260"/>
                </a:cubicBezTo>
                <a:lnTo>
                  <a:pt x="1168" y="1225"/>
                </a:lnTo>
                <a:close/>
                <a:moveTo>
                  <a:pt x="1220" y="1130"/>
                </a:moveTo>
                <a:cubicBezTo>
                  <a:pt x="1221" y="1131"/>
                  <a:pt x="1222" y="1131"/>
                  <a:pt x="1222" y="1132"/>
                </a:cubicBezTo>
                <a:cubicBezTo>
                  <a:pt x="1223" y="1133"/>
                  <a:pt x="1223" y="1134"/>
                  <a:pt x="1224" y="1134"/>
                </a:cubicBezTo>
                <a:cubicBezTo>
                  <a:pt x="1224" y="1135"/>
                  <a:pt x="1224" y="1135"/>
                  <a:pt x="1224" y="1136"/>
                </a:cubicBezTo>
                <a:cubicBezTo>
                  <a:pt x="1224" y="1136"/>
                  <a:pt x="1224" y="1137"/>
                  <a:pt x="1223" y="1137"/>
                </a:cubicBezTo>
                <a:cubicBezTo>
                  <a:pt x="1223" y="1137"/>
                  <a:pt x="1222" y="1138"/>
                  <a:pt x="1222" y="1138"/>
                </a:cubicBezTo>
                <a:cubicBezTo>
                  <a:pt x="1221" y="1138"/>
                  <a:pt x="1220" y="1139"/>
                  <a:pt x="1219" y="1139"/>
                </a:cubicBezTo>
                <a:cubicBezTo>
                  <a:pt x="1218" y="1140"/>
                  <a:pt x="1217" y="1140"/>
                  <a:pt x="1216" y="1141"/>
                </a:cubicBezTo>
                <a:cubicBezTo>
                  <a:pt x="1215" y="1142"/>
                  <a:pt x="1214" y="1142"/>
                  <a:pt x="1213" y="1143"/>
                </a:cubicBezTo>
                <a:cubicBezTo>
                  <a:pt x="1212" y="1145"/>
                  <a:pt x="1211" y="1146"/>
                  <a:pt x="1210" y="1148"/>
                </a:cubicBezTo>
                <a:cubicBezTo>
                  <a:pt x="1210" y="1149"/>
                  <a:pt x="1209" y="1151"/>
                  <a:pt x="1209" y="1154"/>
                </a:cubicBezTo>
                <a:cubicBezTo>
                  <a:pt x="1209" y="1156"/>
                  <a:pt x="1209" y="1159"/>
                  <a:pt x="1209" y="1162"/>
                </a:cubicBezTo>
                <a:cubicBezTo>
                  <a:pt x="1210" y="1165"/>
                  <a:pt x="1211" y="1169"/>
                  <a:pt x="1212" y="1173"/>
                </a:cubicBezTo>
                <a:lnTo>
                  <a:pt x="1254" y="1216"/>
                </a:lnTo>
                <a:cubicBezTo>
                  <a:pt x="1254" y="1216"/>
                  <a:pt x="1255" y="1217"/>
                  <a:pt x="1255" y="1217"/>
                </a:cubicBezTo>
                <a:cubicBezTo>
                  <a:pt x="1255" y="1218"/>
                  <a:pt x="1255" y="1218"/>
                  <a:pt x="1254" y="1219"/>
                </a:cubicBezTo>
                <a:cubicBezTo>
                  <a:pt x="1254" y="1219"/>
                  <a:pt x="1254" y="1220"/>
                  <a:pt x="1253" y="1221"/>
                </a:cubicBezTo>
                <a:cubicBezTo>
                  <a:pt x="1252" y="1222"/>
                  <a:pt x="1252" y="1223"/>
                  <a:pt x="1250" y="1224"/>
                </a:cubicBezTo>
                <a:cubicBezTo>
                  <a:pt x="1249" y="1225"/>
                  <a:pt x="1248" y="1226"/>
                  <a:pt x="1247" y="1227"/>
                </a:cubicBezTo>
                <a:cubicBezTo>
                  <a:pt x="1246" y="1227"/>
                  <a:pt x="1246" y="1228"/>
                  <a:pt x="1245" y="1228"/>
                </a:cubicBezTo>
                <a:cubicBezTo>
                  <a:pt x="1244" y="1228"/>
                  <a:pt x="1244" y="1229"/>
                  <a:pt x="1243" y="1228"/>
                </a:cubicBezTo>
                <a:cubicBezTo>
                  <a:pt x="1243" y="1228"/>
                  <a:pt x="1243" y="1228"/>
                  <a:pt x="1242" y="1228"/>
                </a:cubicBezTo>
                <a:lnTo>
                  <a:pt x="1178" y="1163"/>
                </a:lnTo>
                <a:cubicBezTo>
                  <a:pt x="1177" y="1163"/>
                  <a:pt x="1177" y="1162"/>
                  <a:pt x="1177" y="1162"/>
                </a:cubicBezTo>
                <a:cubicBezTo>
                  <a:pt x="1177" y="1161"/>
                  <a:pt x="1177" y="1161"/>
                  <a:pt x="1177" y="1160"/>
                </a:cubicBezTo>
                <a:cubicBezTo>
                  <a:pt x="1177" y="1160"/>
                  <a:pt x="1178" y="1159"/>
                  <a:pt x="1178" y="1158"/>
                </a:cubicBezTo>
                <a:cubicBezTo>
                  <a:pt x="1179" y="1157"/>
                  <a:pt x="1180" y="1157"/>
                  <a:pt x="1181" y="1155"/>
                </a:cubicBezTo>
                <a:cubicBezTo>
                  <a:pt x="1182" y="1154"/>
                  <a:pt x="1183" y="1154"/>
                  <a:pt x="1183" y="1153"/>
                </a:cubicBezTo>
                <a:cubicBezTo>
                  <a:pt x="1184" y="1152"/>
                  <a:pt x="1185" y="1152"/>
                  <a:pt x="1186" y="1152"/>
                </a:cubicBezTo>
                <a:cubicBezTo>
                  <a:pt x="1186" y="1152"/>
                  <a:pt x="1187" y="1152"/>
                  <a:pt x="1187" y="1152"/>
                </a:cubicBezTo>
                <a:cubicBezTo>
                  <a:pt x="1187" y="1152"/>
                  <a:pt x="1188" y="1152"/>
                  <a:pt x="1188" y="1152"/>
                </a:cubicBezTo>
                <a:lnTo>
                  <a:pt x="1198" y="1162"/>
                </a:lnTo>
                <a:cubicBezTo>
                  <a:pt x="1197" y="1157"/>
                  <a:pt x="1196" y="1154"/>
                  <a:pt x="1196" y="1150"/>
                </a:cubicBezTo>
                <a:cubicBezTo>
                  <a:pt x="1196" y="1147"/>
                  <a:pt x="1196" y="1145"/>
                  <a:pt x="1197" y="1142"/>
                </a:cubicBezTo>
                <a:cubicBezTo>
                  <a:pt x="1197" y="1140"/>
                  <a:pt x="1198" y="1138"/>
                  <a:pt x="1199" y="1136"/>
                </a:cubicBezTo>
                <a:cubicBezTo>
                  <a:pt x="1200" y="1134"/>
                  <a:pt x="1201" y="1133"/>
                  <a:pt x="1203" y="1131"/>
                </a:cubicBezTo>
                <a:cubicBezTo>
                  <a:pt x="1203" y="1131"/>
                  <a:pt x="1204" y="1130"/>
                  <a:pt x="1205" y="1129"/>
                </a:cubicBezTo>
                <a:cubicBezTo>
                  <a:pt x="1206" y="1129"/>
                  <a:pt x="1207" y="1128"/>
                  <a:pt x="1208" y="1127"/>
                </a:cubicBezTo>
                <a:cubicBezTo>
                  <a:pt x="1209" y="1127"/>
                  <a:pt x="1210" y="1126"/>
                  <a:pt x="1211" y="1126"/>
                </a:cubicBezTo>
                <a:cubicBezTo>
                  <a:pt x="1212" y="1125"/>
                  <a:pt x="1212" y="1125"/>
                  <a:pt x="1213" y="1125"/>
                </a:cubicBezTo>
                <a:cubicBezTo>
                  <a:pt x="1214" y="1125"/>
                  <a:pt x="1214" y="1125"/>
                  <a:pt x="1214" y="1125"/>
                </a:cubicBezTo>
                <a:cubicBezTo>
                  <a:pt x="1215" y="1125"/>
                  <a:pt x="1215" y="1125"/>
                  <a:pt x="1215" y="1126"/>
                </a:cubicBezTo>
                <a:cubicBezTo>
                  <a:pt x="1216" y="1126"/>
                  <a:pt x="1216" y="1126"/>
                  <a:pt x="1217" y="1127"/>
                </a:cubicBezTo>
                <a:cubicBezTo>
                  <a:pt x="1218" y="1128"/>
                  <a:pt x="1218" y="1128"/>
                  <a:pt x="1220" y="1130"/>
                </a:cubicBezTo>
                <a:close/>
                <a:moveTo>
                  <a:pt x="1276" y="1073"/>
                </a:moveTo>
                <a:cubicBezTo>
                  <a:pt x="1277" y="1074"/>
                  <a:pt x="1278" y="1075"/>
                  <a:pt x="1279" y="1076"/>
                </a:cubicBezTo>
                <a:cubicBezTo>
                  <a:pt x="1279" y="1076"/>
                  <a:pt x="1280" y="1077"/>
                  <a:pt x="1280" y="1078"/>
                </a:cubicBezTo>
                <a:cubicBezTo>
                  <a:pt x="1280" y="1078"/>
                  <a:pt x="1281" y="1079"/>
                  <a:pt x="1281" y="1079"/>
                </a:cubicBezTo>
                <a:cubicBezTo>
                  <a:pt x="1281" y="1080"/>
                  <a:pt x="1280" y="1080"/>
                  <a:pt x="1280" y="1080"/>
                </a:cubicBezTo>
                <a:cubicBezTo>
                  <a:pt x="1280" y="1081"/>
                  <a:pt x="1279" y="1081"/>
                  <a:pt x="1278" y="1081"/>
                </a:cubicBezTo>
                <a:cubicBezTo>
                  <a:pt x="1277" y="1082"/>
                  <a:pt x="1277" y="1082"/>
                  <a:pt x="1276" y="1083"/>
                </a:cubicBezTo>
                <a:cubicBezTo>
                  <a:pt x="1275" y="1083"/>
                  <a:pt x="1274" y="1084"/>
                  <a:pt x="1273" y="1084"/>
                </a:cubicBezTo>
                <a:cubicBezTo>
                  <a:pt x="1272" y="1085"/>
                  <a:pt x="1271" y="1086"/>
                  <a:pt x="1270" y="1087"/>
                </a:cubicBezTo>
                <a:cubicBezTo>
                  <a:pt x="1268" y="1088"/>
                  <a:pt x="1268" y="1090"/>
                  <a:pt x="1267" y="1091"/>
                </a:cubicBezTo>
                <a:cubicBezTo>
                  <a:pt x="1266" y="1093"/>
                  <a:pt x="1266" y="1095"/>
                  <a:pt x="1266" y="1097"/>
                </a:cubicBezTo>
                <a:cubicBezTo>
                  <a:pt x="1265" y="1100"/>
                  <a:pt x="1266" y="1102"/>
                  <a:pt x="1266" y="1105"/>
                </a:cubicBezTo>
                <a:cubicBezTo>
                  <a:pt x="1266" y="1109"/>
                  <a:pt x="1267" y="1112"/>
                  <a:pt x="1268" y="1117"/>
                </a:cubicBezTo>
                <a:lnTo>
                  <a:pt x="1311" y="1159"/>
                </a:lnTo>
                <a:cubicBezTo>
                  <a:pt x="1311" y="1160"/>
                  <a:pt x="1311" y="1160"/>
                  <a:pt x="1311" y="1161"/>
                </a:cubicBezTo>
                <a:cubicBezTo>
                  <a:pt x="1311" y="1161"/>
                  <a:pt x="1311" y="1162"/>
                  <a:pt x="1311" y="1162"/>
                </a:cubicBezTo>
                <a:cubicBezTo>
                  <a:pt x="1311" y="1163"/>
                  <a:pt x="1310" y="1164"/>
                  <a:pt x="1310" y="1164"/>
                </a:cubicBezTo>
                <a:cubicBezTo>
                  <a:pt x="1309" y="1165"/>
                  <a:pt x="1308" y="1166"/>
                  <a:pt x="1307" y="1167"/>
                </a:cubicBezTo>
                <a:cubicBezTo>
                  <a:pt x="1306" y="1169"/>
                  <a:pt x="1305" y="1170"/>
                  <a:pt x="1304" y="1170"/>
                </a:cubicBezTo>
                <a:cubicBezTo>
                  <a:pt x="1303" y="1171"/>
                  <a:pt x="1302" y="1171"/>
                  <a:pt x="1302" y="1172"/>
                </a:cubicBezTo>
                <a:cubicBezTo>
                  <a:pt x="1301" y="1172"/>
                  <a:pt x="1300" y="1172"/>
                  <a:pt x="1300" y="1172"/>
                </a:cubicBezTo>
                <a:cubicBezTo>
                  <a:pt x="1300" y="1172"/>
                  <a:pt x="1299" y="1172"/>
                  <a:pt x="1299" y="1171"/>
                </a:cubicBezTo>
                <a:lnTo>
                  <a:pt x="1234" y="1107"/>
                </a:lnTo>
                <a:cubicBezTo>
                  <a:pt x="1234" y="1106"/>
                  <a:pt x="1234" y="1106"/>
                  <a:pt x="1233" y="1105"/>
                </a:cubicBezTo>
                <a:cubicBezTo>
                  <a:pt x="1233" y="1105"/>
                  <a:pt x="1233" y="1104"/>
                  <a:pt x="1234" y="1104"/>
                </a:cubicBezTo>
                <a:cubicBezTo>
                  <a:pt x="1234" y="1103"/>
                  <a:pt x="1234" y="1102"/>
                  <a:pt x="1235" y="1102"/>
                </a:cubicBezTo>
                <a:cubicBezTo>
                  <a:pt x="1235" y="1101"/>
                  <a:pt x="1236" y="1100"/>
                  <a:pt x="1237" y="1099"/>
                </a:cubicBezTo>
                <a:cubicBezTo>
                  <a:pt x="1238" y="1098"/>
                  <a:pt x="1239" y="1097"/>
                  <a:pt x="1240" y="1096"/>
                </a:cubicBezTo>
                <a:cubicBezTo>
                  <a:pt x="1241" y="1096"/>
                  <a:pt x="1241" y="1095"/>
                  <a:pt x="1242" y="1095"/>
                </a:cubicBezTo>
                <a:cubicBezTo>
                  <a:pt x="1243" y="1095"/>
                  <a:pt x="1243" y="1095"/>
                  <a:pt x="1244" y="1095"/>
                </a:cubicBezTo>
                <a:cubicBezTo>
                  <a:pt x="1244" y="1095"/>
                  <a:pt x="1244" y="1095"/>
                  <a:pt x="1245" y="1096"/>
                </a:cubicBezTo>
                <a:lnTo>
                  <a:pt x="1254" y="1105"/>
                </a:lnTo>
                <a:cubicBezTo>
                  <a:pt x="1253" y="1101"/>
                  <a:pt x="1253" y="1097"/>
                  <a:pt x="1253" y="1094"/>
                </a:cubicBezTo>
                <a:cubicBezTo>
                  <a:pt x="1253" y="1091"/>
                  <a:pt x="1253" y="1088"/>
                  <a:pt x="1253" y="1086"/>
                </a:cubicBezTo>
                <a:cubicBezTo>
                  <a:pt x="1254" y="1083"/>
                  <a:pt x="1255" y="1081"/>
                  <a:pt x="1256" y="1080"/>
                </a:cubicBezTo>
                <a:cubicBezTo>
                  <a:pt x="1257" y="1078"/>
                  <a:pt x="1258" y="1076"/>
                  <a:pt x="1259" y="1075"/>
                </a:cubicBezTo>
                <a:cubicBezTo>
                  <a:pt x="1260" y="1074"/>
                  <a:pt x="1261" y="1074"/>
                  <a:pt x="1262" y="1073"/>
                </a:cubicBezTo>
                <a:cubicBezTo>
                  <a:pt x="1262" y="1072"/>
                  <a:pt x="1263" y="1071"/>
                  <a:pt x="1264" y="1071"/>
                </a:cubicBezTo>
                <a:cubicBezTo>
                  <a:pt x="1265" y="1070"/>
                  <a:pt x="1266" y="1070"/>
                  <a:pt x="1267" y="1069"/>
                </a:cubicBezTo>
                <a:cubicBezTo>
                  <a:pt x="1268" y="1069"/>
                  <a:pt x="1269" y="1068"/>
                  <a:pt x="1270" y="1068"/>
                </a:cubicBezTo>
                <a:cubicBezTo>
                  <a:pt x="1270" y="1068"/>
                  <a:pt x="1270" y="1068"/>
                  <a:pt x="1271" y="1068"/>
                </a:cubicBezTo>
                <a:cubicBezTo>
                  <a:pt x="1271" y="1069"/>
                  <a:pt x="1271" y="1069"/>
                  <a:pt x="1272" y="1069"/>
                </a:cubicBezTo>
                <a:cubicBezTo>
                  <a:pt x="1272" y="1069"/>
                  <a:pt x="1273" y="1070"/>
                  <a:pt x="1273" y="1070"/>
                </a:cubicBezTo>
                <a:cubicBezTo>
                  <a:pt x="1274" y="1071"/>
                  <a:pt x="1275" y="1072"/>
                  <a:pt x="1276" y="1073"/>
                </a:cubicBezTo>
                <a:close/>
                <a:moveTo>
                  <a:pt x="1404" y="1066"/>
                </a:moveTo>
                <a:cubicBezTo>
                  <a:pt x="1405" y="1067"/>
                  <a:pt x="1405" y="1067"/>
                  <a:pt x="1405" y="1068"/>
                </a:cubicBezTo>
                <a:cubicBezTo>
                  <a:pt x="1405" y="1068"/>
                  <a:pt x="1404" y="1069"/>
                  <a:pt x="1404" y="1070"/>
                </a:cubicBezTo>
                <a:cubicBezTo>
                  <a:pt x="1403" y="1071"/>
                  <a:pt x="1402" y="1072"/>
                  <a:pt x="1401" y="1073"/>
                </a:cubicBezTo>
                <a:cubicBezTo>
                  <a:pt x="1400" y="1074"/>
                  <a:pt x="1399" y="1075"/>
                  <a:pt x="1398" y="1076"/>
                </a:cubicBezTo>
                <a:cubicBezTo>
                  <a:pt x="1397" y="1077"/>
                  <a:pt x="1396" y="1077"/>
                  <a:pt x="1396" y="1077"/>
                </a:cubicBezTo>
                <a:cubicBezTo>
                  <a:pt x="1395" y="1077"/>
                  <a:pt x="1394" y="1077"/>
                  <a:pt x="1394" y="1076"/>
                </a:cubicBezTo>
                <a:lnTo>
                  <a:pt x="1387" y="1070"/>
                </a:lnTo>
                <a:cubicBezTo>
                  <a:pt x="1388" y="1076"/>
                  <a:pt x="1387" y="1081"/>
                  <a:pt x="1385" y="1086"/>
                </a:cubicBezTo>
                <a:cubicBezTo>
                  <a:pt x="1383" y="1091"/>
                  <a:pt x="1380" y="1096"/>
                  <a:pt x="1377" y="1100"/>
                </a:cubicBezTo>
                <a:cubicBezTo>
                  <a:pt x="1373" y="1103"/>
                  <a:pt x="1370" y="1106"/>
                  <a:pt x="1366" y="1108"/>
                </a:cubicBezTo>
                <a:cubicBezTo>
                  <a:pt x="1362" y="1109"/>
                  <a:pt x="1359" y="1111"/>
                  <a:pt x="1355" y="1111"/>
                </a:cubicBezTo>
                <a:cubicBezTo>
                  <a:pt x="1351" y="1111"/>
                  <a:pt x="1348" y="1111"/>
                  <a:pt x="1344" y="1109"/>
                </a:cubicBezTo>
                <a:cubicBezTo>
                  <a:pt x="1341" y="1108"/>
                  <a:pt x="1338" y="1106"/>
                  <a:pt x="1334" y="1102"/>
                </a:cubicBezTo>
                <a:cubicBezTo>
                  <a:pt x="1331" y="1099"/>
                  <a:pt x="1328" y="1095"/>
                  <a:pt x="1327" y="1091"/>
                </a:cubicBezTo>
                <a:cubicBezTo>
                  <a:pt x="1326" y="1087"/>
                  <a:pt x="1326" y="1082"/>
                  <a:pt x="1327" y="1078"/>
                </a:cubicBezTo>
                <a:cubicBezTo>
                  <a:pt x="1328" y="1073"/>
                  <a:pt x="1330" y="1068"/>
                  <a:pt x="1333" y="1063"/>
                </a:cubicBezTo>
                <a:cubicBezTo>
                  <a:pt x="1336" y="1059"/>
                  <a:pt x="1340" y="1054"/>
                  <a:pt x="1345" y="1049"/>
                </a:cubicBezTo>
                <a:lnTo>
                  <a:pt x="1354" y="1040"/>
                </a:lnTo>
                <a:lnTo>
                  <a:pt x="1349" y="1035"/>
                </a:lnTo>
                <a:cubicBezTo>
                  <a:pt x="1347" y="1032"/>
                  <a:pt x="1344" y="1030"/>
                  <a:pt x="1342" y="1029"/>
                </a:cubicBezTo>
                <a:cubicBezTo>
                  <a:pt x="1339" y="1027"/>
                  <a:pt x="1337" y="1027"/>
                  <a:pt x="1335" y="1027"/>
                </a:cubicBezTo>
                <a:cubicBezTo>
                  <a:pt x="1332" y="1026"/>
                  <a:pt x="1330" y="1027"/>
                  <a:pt x="1327" y="1028"/>
                </a:cubicBezTo>
                <a:cubicBezTo>
                  <a:pt x="1325" y="1030"/>
                  <a:pt x="1322" y="1031"/>
                  <a:pt x="1319" y="1034"/>
                </a:cubicBezTo>
                <a:cubicBezTo>
                  <a:pt x="1316" y="1037"/>
                  <a:pt x="1314" y="1040"/>
                  <a:pt x="1312" y="1043"/>
                </a:cubicBezTo>
                <a:cubicBezTo>
                  <a:pt x="1311" y="1046"/>
                  <a:pt x="1310" y="1049"/>
                  <a:pt x="1309" y="1052"/>
                </a:cubicBezTo>
                <a:cubicBezTo>
                  <a:pt x="1308" y="1054"/>
                  <a:pt x="1307" y="1056"/>
                  <a:pt x="1307" y="1058"/>
                </a:cubicBezTo>
                <a:cubicBezTo>
                  <a:pt x="1306" y="1060"/>
                  <a:pt x="1306" y="1061"/>
                  <a:pt x="1305" y="1062"/>
                </a:cubicBezTo>
                <a:cubicBezTo>
                  <a:pt x="1305" y="1062"/>
                  <a:pt x="1304" y="1062"/>
                  <a:pt x="1304" y="1063"/>
                </a:cubicBezTo>
                <a:cubicBezTo>
                  <a:pt x="1303" y="1063"/>
                  <a:pt x="1303" y="1063"/>
                  <a:pt x="1302" y="1062"/>
                </a:cubicBezTo>
                <a:cubicBezTo>
                  <a:pt x="1301" y="1062"/>
                  <a:pt x="1301" y="1062"/>
                  <a:pt x="1300" y="1061"/>
                </a:cubicBezTo>
                <a:cubicBezTo>
                  <a:pt x="1299" y="1061"/>
                  <a:pt x="1299" y="1060"/>
                  <a:pt x="1298" y="1060"/>
                </a:cubicBezTo>
                <a:cubicBezTo>
                  <a:pt x="1297" y="1058"/>
                  <a:pt x="1296" y="1057"/>
                  <a:pt x="1295" y="1057"/>
                </a:cubicBezTo>
                <a:cubicBezTo>
                  <a:pt x="1295" y="1056"/>
                  <a:pt x="1295" y="1055"/>
                  <a:pt x="1295" y="1053"/>
                </a:cubicBezTo>
                <a:cubicBezTo>
                  <a:pt x="1295" y="1052"/>
                  <a:pt x="1295" y="1050"/>
                  <a:pt x="1296" y="1048"/>
                </a:cubicBezTo>
                <a:cubicBezTo>
                  <a:pt x="1297" y="1045"/>
                  <a:pt x="1298" y="1043"/>
                  <a:pt x="1299" y="1040"/>
                </a:cubicBezTo>
                <a:cubicBezTo>
                  <a:pt x="1300" y="1037"/>
                  <a:pt x="1302" y="1034"/>
                  <a:pt x="1304" y="1032"/>
                </a:cubicBezTo>
                <a:cubicBezTo>
                  <a:pt x="1306" y="1029"/>
                  <a:pt x="1308" y="1026"/>
                  <a:pt x="1311" y="1024"/>
                </a:cubicBezTo>
                <a:cubicBezTo>
                  <a:pt x="1315" y="1019"/>
                  <a:pt x="1320" y="1015"/>
                  <a:pt x="1324" y="1013"/>
                </a:cubicBezTo>
                <a:cubicBezTo>
                  <a:pt x="1328" y="1011"/>
                  <a:pt x="1333" y="1010"/>
                  <a:pt x="1337" y="1010"/>
                </a:cubicBezTo>
                <a:cubicBezTo>
                  <a:pt x="1341" y="1010"/>
                  <a:pt x="1345" y="1011"/>
                  <a:pt x="1349" y="1013"/>
                </a:cubicBezTo>
                <a:cubicBezTo>
                  <a:pt x="1353" y="1015"/>
                  <a:pt x="1356" y="1018"/>
                  <a:pt x="1361" y="1022"/>
                </a:cubicBezTo>
                <a:lnTo>
                  <a:pt x="1404" y="1066"/>
                </a:lnTo>
                <a:close/>
                <a:moveTo>
                  <a:pt x="1363" y="1048"/>
                </a:moveTo>
                <a:lnTo>
                  <a:pt x="1353" y="1058"/>
                </a:lnTo>
                <a:cubicBezTo>
                  <a:pt x="1349" y="1062"/>
                  <a:pt x="1347" y="1065"/>
                  <a:pt x="1345" y="1068"/>
                </a:cubicBezTo>
                <a:cubicBezTo>
                  <a:pt x="1343" y="1071"/>
                  <a:pt x="1342" y="1073"/>
                  <a:pt x="1342" y="1076"/>
                </a:cubicBezTo>
                <a:cubicBezTo>
                  <a:pt x="1341" y="1079"/>
                  <a:pt x="1341" y="1081"/>
                  <a:pt x="1342" y="1083"/>
                </a:cubicBezTo>
                <a:cubicBezTo>
                  <a:pt x="1343" y="1086"/>
                  <a:pt x="1344" y="1088"/>
                  <a:pt x="1346" y="1090"/>
                </a:cubicBezTo>
                <a:cubicBezTo>
                  <a:pt x="1349" y="1093"/>
                  <a:pt x="1353" y="1095"/>
                  <a:pt x="1357" y="1095"/>
                </a:cubicBezTo>
                <a:cubicBezTo>
                  <a:pt x="1361" y="1094"/>
                  <a:pt x="1365" y="1092"/>
                  <a:pt x="1369" y="1089"/>
                </a:cubicBezTo>
                <a:cubicBezTo>
                  <a:pt x="1372" y="1085"/>
                  <a:pt x="1374" y="1082"/>
                  <a:pt x="1375" y="1078"/>
                </a:cubicBezTo>
                <a:cubicBezTo>
                  <a:pt x="1376" y="1073"/>
                  <a:pt x="1377" y="1068"/>
                  <a:pt x="1377" y="1062"/>
                </a:cubicBezTo>
                <a:lnTo>
                  <a:pt x="1363" y="1048"/>
                </a:lnTo>
                <a:close/>
                <a:moveTo>
                  <a:pt x="1435" y="1035"/>
                </a:moveTo>
                <a:cubicBezTo>
                  <a:pt x="1435" y="1035"/>
                  <a:pt x="1436" y="1036"/>
                  <a:pt x="1436" y="1036"/>
                </a:cubicBezTo>
                <a:cubicBezTo>
                  <a:pt x="1436" y="1037"/>
                  <a:pt x="1436" y="1037"/>
                  <a:pt x="1436" y="1038"/>
                </a:cubicBezTo>
                <a:cubicBezTo>
                  <a:pt x="1435" y="1038"/>
                  <a:pt x="1435" y="1039"/>
                  <a:pt x="1434" y="1040"/>
                </a:cubicBezTo>
                <a:cubicBezTo>
                  <a:pt x="1433" y="1041"/>
                  <a:pt x="1433" y="1042"/>
                  <a:pt x="1431" y="1043"/>
                </a:cubicBezTo>
                <a:cubicBezTo>
                  <a:pt x="1430" y="1044"/>
                  <a:pt x="1429" y="1045"/>
                  <a:pt x="1428" y="1046"/>
                </a:cubicBezTo>
                <a:cubicBezTo>
                  <a:pt x="1427" y="1046"/>
                  <a:pt x="1427" y="1047"/>
                  <a:pt x="1426" y="1047"/>
                </a:cubicBezTo>
                <a:cubicBezTo>
                  <a:pt x="1425" y="1047"/>
                  <a:pt x="1425" y="1048"/>
                  <a:pt x="1424" y="1047"/>
                </a:cubicBezTo>
                <a:cubicBezTo>
                  <a:pt x="1424" y="1047"/>
                  <a:pt x="1424" y="1047"/>
                  <a:pt x="1423" y="1047"/>
                </a:cubicBezTo>
                <a:lnTo>
                  <a:pt x="1327" y="951"/>
                </a:lnTo>
                <a:cubicBezTo>
                  <a:pt x="1327" y="950"/>
                  <a:pt x="1327" y="950"/>
                  <a:pt x="1327" y="949"/>
                </a:cubicBezTo>
                <a:cubicBezTo>
                  <a:pt x="1326" y="949"/>
                  <a:pt x="1326" y="948"/>
                  <a:pt x="1327" y="948"/>
                </a:cubicBezTo>
                <a:cubicBezTo>
                  <a:pt x="1327" y="947"/>
                  <a:pt x="1327" y="946"/>
                  <a:pt x="1328" y="946"/>
                </a:cubicBezTo>
                <a:cubicBezTo>
                  <a:pt x="1329" y="945"/>
                  <a:pt x="1330" y="944"/>
                  <a:pt x="1331" y="943"/>
                </a:cubicBezTo>
                <a:cubicBezTo>
                  <a:pt x="1332" y="941"/>
                  <a:pt x="1333" y="940"/>
                  <a:pt x="1334" y="940"/>
                </a:cubicBezTo>
                <a:cubicBezTo>
                  <a:pt x="1335" y="939"/>
                  <a:pt x="1336" y="939"/>
                  <a:pt x="1336" y="938"/>
                </a:cubicBezTo>
                <a:cubicBezTo>
                  <a:pt x="1337" y="938"/>
                  <a:pt x="1337" y="938"/>
                  <a:pt x="1338" y="938"/>
                </a:cubicBezTo>
                <a:cubicBezTo>
                  <a:pt x="1338" y="938"/>
                  <a:pt x="1339" y="939"/>
                  <a:pt x="1339" y="939"/>
                </a:cubicBezTo>
                <a:lnTo>
                  <a:pt x="1435" y="1035"/>
                </a:lnTo>
                <a:close/>
                <a:moveTo>
                  <a:pt x="1499" y="874"/>
                </a:moveTo>
                <a:cubicBezTo>
                  <a:pt x="1503" y="878"/>
                  <a:pt x="1507" y="883"/>
                  <a:pt x="1510" y="887"/>
                </a:cubicBezTo>
                <a:cubicBezTo>
                  <a:pt x="1514" y="892"/>
                  <a:pt x="1517" y="897"/>
                  <a:pt x="1520" y="902"/>
                </a:cubicBezTo>
                <a:cubicBezTo>
                  <a:pt x="1522" y="907"/>
                  <a:pt x="1524" y="912"/>
                  <a:pt x="1526" y="917"/>
                </a:cubicBezTo>
                <a:cubicBezTo>
                  <a:pt x="1527" y="922"/>
                  <a:pt x="1528" y="928"/>
                  <a:pt x="1527" y="933"/>
                </a:cubicBezTo>
                <a:cubicBezTo>
                  <a:pt x="1527" y="938"/>
                  <a:pt x="1525" y="944"/>
                  <a:pt x="1523" y="949"/>
                </a:cubicBezTo>
                <a:cubicBezTo>
                  <a:pt x="1520" y="955"/>
                  <a:pt x="1516" y="960"/>
                  <a:pt x="1511" y="966"/>
                </a:cubicBezTo>
                <a:cubicBezTo>
                  <a:pt x="1509" y="968"/>
                  <a:pt x="1506" y="970"/>
                  <a:pt x="1504" y="971"/>
                </a:cubicBezTo>
                <a:cubicBezTo>
                  <a:pt x="1502" y="973"/>
                  <a:pt x="1500" y="974"/>
                  <a:pt x="1498" y="975"/>
                </a:cubicBezTo>
                <a:cubicBezTo>
                  <a:pt x="1496" y="977"/>
                  <a:pt x="1494" y="978"/>
                  <a:pt x="1493" y="978"/>
                </a:cubicBezTo>
                <a:cubicBezTo>
                  <a:pt x="1491" y="979"/>
                  <a:pt x="1490" y="979"/>
                  <a:pt x="1489" y="979"/>
                </a:cubicBezTo>
                <a:cubicBezTo>
                  <a:pt x="1488" y="979"/>
                  <a:pt x="1487" y="979"/>
                  <a:pt x="1487" y="978"/>
                </a:cubicBezTo>
                <a:cubicBezTo>
                  <a:pt x="1486" y="978"/>
                  <a:pt x="1484" y="977"/>
                  <a:pt x="1483" y="976"/>
                </a:cubicBezTo>
                <a:cubicBezTo>
                  <a:pt x="1482" y="975"/>
                  <a:pt x="1481" y="974"/>
                  <a:pt x="1481" y="973"/>
                </a:cubicBezTo>
                <a:cubicBezTo>
                  <a:pt x="1480" y="972"/>
                  <a:pt x="1480" y="972"/>
                  <a:pt x="1480" y="971"/>
                </a:cubicBezTo>
                <a:cubicBezTo>
                  <a:pt x="1479" y="971"/>
                  <a:pt x="1479" y="970"/>
                  <a:pt x="1480" y="970"/>
                </a:cubicBezTo>
                <a:cubicBezTo>
                  <a:pt x="1480" y="970"/>
                  <a:pt x="1480" y="969"/>
                  <a:pt x="1480" y="969"/>
                </a:cubicBezTo>
                <a:cubicBezTo>
                  <a:pt x="1481" y="968"/>
                  <a:pt x="1482" y="968"/>
                  <a:pt x="1483" y="967"/>
                </a:cubicBezTo>
                <a:cubicBezTo>
                  <a:pt x="1484" y="967"/>
                  <a:pt x="1486" y="966"/>
                  <a:pt x="1488" y="965"/>
                </a:cubicBezTo>
                <a:cubicBezTo>
                  <a:pt x="1490" y="964"/>
                  <a:pt x="1492" y="962"/>
                  <a:pt x="1494" y="961"/>
                </a:cubicBezTo>
                <a:cubicBezTo>
                  <a:pt x="1497" y="959"/>
                  <a:pt x="1499" y="957"/>
                  <a:pt x="1501" y="955"/>
                </a:cubicBezTo>
                <a:cubicBezTo>
                  <a:pt x="1506" y="950"/>
                  <a:pt x="1509" y="945"/>
                  <a:pt x="1511" y="940"/>
                </a:cubicBezTo>
                <a:cubicBezTo>
                  <a:pt x="1512" y="935"/>
                  <a:pt x="1513" y="930"/>
                  <a:pt x="1512" y="925"/>
                </a:cubicBezTo>
                <a:cubicBezTo>
                  <a:pt x="1511" y="920"/>
                  <a:pt x="1509" y="915"/>
                  <a:pt x="1506" y="910"/>
                </a:cubicBezTo>
                <a:cubicBezTo>
                  <a:pt x="1503" y="905"/>
                  <a:pt x="1499" y="900"/>
                  <a:pt x="1495" y="895"/>
                </a:cubicBezTo>
                <a:cubicBezTo>
                  <a:pt x="1494" y="899"/>
                  <a:pt x="1492" y="904"/>
                  <a:pt x="1490" y="908"/>
                </a:cubicBezTo>
                <a:cubicBezTo>
                  <a:pt x="1487" y="913"/>
                  <a:pt x="1484" y="918"/>
                  <a:pt x="1479" y="922"/>
                </a:cubicBezTo>
                <a:cubicBezTo>
                  <a:pt x="1474" y="927"/>
                  <a:pt x="1469" y="931"/>
                  <a:pt x="1464" y="933"/>
                </a:cubicBezTo>
                <a:cubicBezTo>
                  <a:pt x="1459" y="935"/>
                  <a:pt x="1455" y="936"/>
                  <a:pt x="1450" y="936"/>
                </a:cubicBezTo>
                <a:cubicBezTo>
                  <a:pt x="1445" y="936"/>
                  <a:pt x="1441" y="934"/>
                  <a:pt x="1437" y="932"/>
                </a:cubicBezTo>
                <a:cubicBezTo>
                  <a:pt x="1432" y="929"/>
                  <a:pt x="1428" y="926"/>
                  <a:pt x="1424" y="922"/>
                </a:cubicBezTo>
                <a:cubicBezTo>
                  <a:pt x="1420" y="918"/>
                  <a:pt x="1417" y="914"/>
                  <a:pt x="1414" y="909"/>
                </a:cubicBezTo>
                <a:cubicBezTo>
                  <a:pt x="1412" y="904"/>
                  <a:pt x="1410" y="899"/>
                  <a:pt x="1410" y="893"/>
                </a:cubicBezTo>
                <a:cubicBezTo>
                  <a:pt x="1410" y="888"/>
                  <a:pt x="1411" y="882"/>
                  <a:pt x="1413" y="877"/>
                </a:cubicBezTo>
                <a:cubicBezTo>
                  <a:pt x="1415" y="871"/>
                  <a:pt x="1419" y="866"/>
                  <a:pt x="1425" y="860"/>
                </a:cubicBezTo>
                <a:cubicBezTo>
                  <a:pt x="1429" y="856"/>
                  <a:pt x="1432" y="853"/>
                  <a:pt x="1436" y="851"/>
                </a:cubicBezTo>
                <a:cubicBezTo>
                  <a:pt x="1440" y="849"/>
                  <a:pt x="1444" y="848"/>
                  <a:pt x="1448" y="848"/>
                </a:cubicBezTo>
                <a:cubicBezTo>
                  <a:pt x="1453" y="847"/>
                  <a:pt x="1457" y="848"/>
                  <a:pt x="1461" y="849"/>
                </a:cubicBezTo>
                <a:cubicBezTo>
                  <a:pt x="1465" y="850"/>
                  <a:pt x="1469" y="852"/>
                  <a:pt x="1473" y="854"/>
                </a:cubicBezTo>
                <a:cubicBezTo>
                  <a:pt x="1478" y="856"/>
                  <a:pt x="1482" y="859"/>
                  <a:pt x="1486" y="863"/>
                </a:cubicBezTo>
                <a:cubicBezTo>
                  <a:pt x="1490" y="866"/>
                  <a:pt x="1495" y="870"/>
                  <a:pt x="1499" y="874"/>
                </a:cubicBezTo>
                <a:close/>
                <a:moveTo>
                  <a:pt x="1485" y="886"/>
                </a:moveTo>
                <a:cubicBezTo>
                  <a:pt x="1479" y="879"/>
                  <a:pt x="1473" y="875"/>
                  <a:pt x="1468" y="871"/>
                </a:cubicBezTo>
                <a:cubicBezTo>
                  <a:pt x="1463" y="868"/>
                  <a:pt x="1459" y="866"/>
                  <a:pt x="1454" y="865"/>
                </a:cubicBezTo>
                <a:cubicBezTo>
                  <a:pt x="1450" y="864"/>
                  <a:pt x="1447" y="864"/>
                  <a:pt x="1443" y="865"/>
                </a:cubicBezTo>
                <a:cubicBezTo>
                  <a:pt x="1440" y="866"/>
                  <a:pt x="1436" y="868"/>
                  <a:pt x="1433" y="871"/>
                </a:cubicBezTo>
                <a:cubicBezTo>
                  <a:pt x="1430" y="874"/>
                  <a:pt x="1428" y="878"/>
                  <a:pt x="1427" y="881"/>
                </a:cubicBezTo>
                <a:cubicBezTo>
                  <a:pt x="1426" y="884"/>
                  <a:pt x="1426" y="888"/>
                  <a:pt x="1426" y="891"/>
                </a:cubicBezTo>
                <a:cubicBezTo>
                  <a:pt x="1427" y="894"/>
                  <a:pt x="1428" y="897"/>
                  <a:pt x="1429" y="900"/>
                </a:cubicBezTo>
                <a:cubicBezTo>
                  <a:pt x="1431" y="903"/>
                  <a:pt x="1433" y="906"/>
                  <a:pt x="1436" y="909"/>
                </a:cubicBezTo>
                <a:cubicBezTo>
                  <a:pt x="1439" y="912"/>
                  <a:pt x="1442" y="914"/>
                  <a:pt x="1445" y="916"/>
                </a:cubicBezTo>
                <a:cubicBezTo>
                  <a:pt x="1447" y="917"/>
                  <a:pt x="1450" y="918"/>
                  <a:pt x="1453" y="919"/>
                </a:cubicBezTo>
                <a:cubicBezTo>
                  <a:pt x="1456" y="919"/>
                  <a:pt x="1459" y="918"/>
                  <a:pt x="1462" y="917"/>
                </a:cubicBezTo>
                <a:cubicBezTo>
                  <a:pt x="1465" y="916"/>
                  <a:pt x="1469" y="914"/>
                  <a:pt x="1472" y="911"/>
                </a:cubicBezTo>
                <a:cubicBezTo>
                  <a:pt x="1475" y="907"/>
                  <a:pt x="1478" y="903"/>
                  <a:pt x="1481" y="899"/>
                </a:cubicBezTo>
                <a:cubicBezTo>
                  <a:pt x="1483" y="894"/>
                  <a:pt x="1484" y="890"/>
                  <a:pt x="1485" y="886"/>
                </a:cubicBezTo>
                <a:close/>
                <a:moveTo>
                  <a:pt x="1584" y="796"/>
                </a:moveTo>
                <a:cubicBezTo>
                  <a:pt x="1591" y="803"/>
                  <a:pt x="1597" y="810"/>
                  <a:pt x="1602" y="817"/>
                </a:cubicBezTo>
                <a:cubicBezTo>
                  <a:pt x="1606" y="825"/>
                  <a:pt x="1610" y="831"/>
                  <a:pt x="1611" y="838"/>
                </a:cubicBezTo>
                <a:cubicBezTo>
                  <a:pt x="1613" y="845"/>
                  <a:pt x="1613" y="852"/>
                  <a:pt x="1611" y="858"/>
                </a:cubicBezTo>
                <a:cubicBezTo>
                  <a:pt x="1609" y="865"/>
                  <a:pt x="1605" y="871"/>
                  <a:pt x="1599" y="877"/>
                </a:cubicBezTo>
                <a:cubicBezTo>
                  <a:pt x="1593" y="883"/>
                  <a:pt x="1587" y="887"/>
                  <a:pt x="1581" y="889"/>
                </a:cubicBezTo>
                <a:cubicBezTo>
                  <a:pt x="1575" y="891"/>
                  <a:pt x="1569" y="891"/>
                  <a:pt x="1562" y="890"/>
                </a:cubicBezTo>
                <a:cubicBezTo>
                  <a:pt x="1556" y="888"/>
                  <a:pt x="1549" y="885"/>
                  <a:pt x="1542" y="880"/>
                </a:cubicBezTo>
                <a:cubicBezTo>
                  <a:pt x="1535" y="875"/>
                  <a:pt x="1528" y="869"/>
                  <a:pt x="1520" y="861"/>
                </a:cubicBezTo>
                <a:cubicBezTo>
                  <a:pt x="1513" y="854"/>
                  <a:pt x="1507" y="847"/>
                  <a:pt x="1502" y="840"/>
                </a:cubicBezTo>
                <a:cubicBezTo>
                  <a:pt x="1497" y="833"/>
                  <a:pt x="1494" y="826"/>
                  <a:pt x="1493" y="819"/>
                </a:cubicBezTo>
                <a:cubicBezTo>
                  <a:pt x="1491" y="812"/>
                  <a:pt x="1491" y="805"/>
                  <a:pt x="1493" y="799"/>
                </a:cubicBezTo>
                <a:cubicBezTo>
                  <a:pt x="1495" y="792"/>
                  <a:pt x="1499" y="786"/>
                  <a:pt x="1505" y="780"/>
                </a:cubicBezTo>
                <a:cubicBezTo>
                  <a:pt x="1511" y="774"/>
                  <a:pt x="1517" y="770"/>
                  <a:pt x="1523" y="768"/>
                </a:cubicBezTo>
                <a:cubicBezTo>
                  <a:pt x="1529" y="766"/>
                  <a:pt x="1535" y="766"/>
                  <a:pt x="1542" y="768"/>
                </a:cubicBezTo>
                <a:cubicBezTo>
                  <a:pt x="1548" y="769"/>
                  <a:pt x="1555" y="773"/>
                  <a:pt x="1562" y="777"/>
                </a:cubicBezTo>
                <a:cubicBezTo>
                  <a:pt x="1569" y="782"/>
                  <a:pt x="1576" y="789"/>
                  <a:pt x="1584" y="796"/>
                </a:cubicBezTo>
                <a:close/>
                <a:moveTo>
                  <a:pt x="1572" y="810"/>
                </a:moveTo>
                <a:cubicBezTo>
                  <a:pt x="1567" y="805"/>
                  <a:pt x="1563" y="801"/>
                  <a:pt x="1559" y="798"/>
                </a:cubicBezTo>
                <a:cubicBezTo>
                  <a:pt x="1555" y="794"/>
                  <a:pt x="1551" y="792"/>
                  <a:pt x="1548" y="789"/>
                </a:cubicBezTo>
                <a:cubicBezTo>
                  <a:pt x="1544" y="787"/>
                  <a:pt x="1541" y="786"/>
                  <a:pt x="1538" y="785"/>
                </a:cubicBezTo>
                <a:cubicBezTo>
                  <a:pt x="1535" y="784"/>
                  <a:pt x="1532" y="783"/>
                  <a:pt x="1529" y="783"/>
                </a:cubicBezTo>
                <a:cubicBezTo>
                  <a:pt x="1527" y="783"/>
                  <a:pt x="1524" y="784"/>
                  <a:pt x="1522" y="785"/>
                </a:cubicBezTo>
                <a:cubicBezTo>
                  <a:pt x="1519" y="787"/>
                  <a:pt x="1517" y="788"/>
                  <a:pt x="1514" y="791"/>
                </a:cubicBezTo>
                <a:cubicBezTo>
                  <a:pt x="1510" y="795"/>
                  <a:pt x="1508" y="799"/>
                  <a:pt x="1507" y="804"/>
                </a:cubicBezTo>
                <a:cubicBezTo>
                  <a:pt x="1507" y="808"/>
                  <a:pt x="1507" y="813"/>
                  <a:pt x="1509" y="817"/>
                </a:cubicBezTo>
                <a:cubicBezTo>
                  <a:pt x="1511" y="822"/>
                  <a:pt x="1514" y="827"/>
                  <a:pt x="1518" y="832"/>
                </a:cubicBezTo>
                <a:cubicBezTo>
                  <a:pt x="1522" y="837"/>
                  <a:pt x="1527" y="842"/>
                  <a:pt x="1532" y="847"/>
                </a:cubicBezTo>
                <a:cubicBezTo>
                  <a:pt x="1539" y="854"/>
                  <a:pt x="1545" y="860"/>
                  <a:pt x="1551" y="864"/>
                </a:cubicBezTo>
                <a:cubicBezTo>
                  <a:pt x="1556" y="868"/>
                  <a:pt x="1561" y="871"/>
                  <a:pt x="1566" y="873"/>
                </a:cubicBezTo>
                <a:cubicBezTo>
                  <a:pt x="1571" y="874"/>
                  <a:pt x="1575" y="874"/>
                  <a:pt x="1579" y="873"/>
                </a:cubicBezTo>
                <a:cubicBezTo>
                  <a:pt x="1582" y="872"/>
                  <a:pt x="1586" y="870"/>
                  <a:pt x="1589" y="867"/>
                </a:cubicBezTo>
                <a:cubicBezTo>
                  <a:pt x="1592" y="864"/>
                  <a:pt x="1594" y="861"/>
                  <a:pt x="1595" y="858"/>
                </a:cubicBezTo>
                <a:cubicBezTo>
                  <a:pt x="1596" y="855"/>
                  <a:pt x="1597" y="852"/>
                  <a:pt x="1597" y="849"/>
                </a:cubicBezTo>
                <a:cubicBezTo>
                  <a:pt x="1597" y="846"/>
                  <a:pt x="1596" y="843"/>
                  <a:pt x="1595" y="840"/>
                </a:cubicBezTo>
                <a:cubicBezTo>
                  <a:pt x="1593" y="837"/>
                  <a:pt x="1592" y="833"/>
                  <a:pt x="1589" y="830"/>
                </a:cubicBezTo>
                <a:cubicBezTo>
                  <a:pt x="1587" y="827"/>
                  <a:pt x="1585" y="823"/>
                  <a:pt x="1582" y="820"/>
                </a:cubicBezTo>
                <a:cubicBezTo>
                  <a:pt x="1579" y="817"/>
                  <a:pt x="1576" y="813"/>
                  <a:pt x="1572" y="810"/>
                </a:cubicBezTo>
                <a:close/>
                <a:moveTo>
                  <a:pt x="1678" y="782"/>
                </a:moveTo>
                <a:cubicBezTo>
                  <a:pt x="1680" y="783"/>
                  <a:pt x="1681" y="785"/>
                  <a:pt x="1681" y="786"/>
                </a:cubicBezTo>
                <a:cubicBezTo>
                  <a:pt x="1682" y="787"/>
                  <a:pt x="1682" y="788"/>
                  <a:pt x="1682" y="788"/>
                </a:cubicBezTo>
                <a:cubicBezTo>
                  <a:pt x="1682" y="789"/>
                  <a:pt x="1682" y="790"/>
                  <a:pt x="1682" y="791"/>
                </a:cubicBezTo>
                <a:cubicBezTo>
                  <a:pt x="1681" y="792"/>
                  <a:pt x="1681" y="793"/>
                  <a:pt x="1680" y="795"/>
                </a:cubicBezTo>
                <a:cubicBezTo>
                  <a:pt x="1679" y="796"/>
                  <a:pt x="1678" y="797"/>
                  <a:pt x="1677" y="798"/>
                </a:cubicBezTo>
                <a:cubicBezTo>
                  <a:pt x="1676" y="799"/>
                  <a:pt x="1675" y="801"/>
                  <a:pt x="1674" y="802"/>
                </a:cubicBezTo>
                <a:cubicBezTo>
                  <a:pt x="1671" y="805"/>
                  <a:pt x="1668" y="808"/>
                  <a:pt x="1664" y="809"/>
                </a:cubicBezTo>
                <a:cubicBezTo>
                  <a:pt x="1661" y="811"/>
                  <a:pt x="1658" y="811"/>
                  <a:pt x="1654" y="811"/>
                </a:cubicBezTo>
                <a:cubicBezTo>
                  <a:pt x="1651" y="811"/>
                  <a:pt x="1648" y="809"/>
                  <a:pt x="1644" y="807"/>
                </a:cubicBezTo>
                <a:cubicBezTo>
                  <a:pt x="1641" y="805"/>
                  <a:pt x="1637" y="802"/>
                  <a:pt x="1633" y="799"/>
                </a:cubicBezTo>
                <a:lnTo>
                  <a:pt x="1596" y="761"/>
                </a:lnTo>
                <a:lnTo>
                  <a:pt x="1587" y="770"/>
                </a:lnTo>
                <a:cubicBezTo>
                  <a:pt x="1586" y="771"/>
                  <a:pt x="1585" y="771"/>
                  <a:pt x="1584" y="771"/>
                </a:cubicBezTo>
                <a:cubicBezTo>
                  <a:pt x="1583" y="770"/>
                  <a:pt x="1581" y="769"/>
                  <a:pt x="1579" y="767"/>
                </a:cubicBezTo>
                <a:cubicBezTo>
                  <a:pt x="1578" y="767"/>
                  <a:pt x="1578" y="766"/>
                  <a:pt x="1577" y="765"/>
                </a:cubicBezTo>
                <a:cubicBezTo>
                  <a:pt x="1577" y="764"/>
                  <a:pt x="1576" y="764"/>
                  <a:pt x="1576" y="763"/>
                </a:cubicBezTo>
                <a:cubicBezTo>
                  <a:pt x="1576" y="762"/>
                  <a:pt x="1576" y="762"/>
                  <a:pt x="1576" y="761"/>
                </a:cubicBezTo>
                <a:cubicBezTo>
                  <a:pt x="1576" y="761"/>
                  <a:pt x="1576" y="760"/>
                  <a:pt x="1577" y="760"/>
                </a:cubicBezTo>
                <a:lnTo>
                  <a:pt x="1586" y="751"/>
                </a:lnTo>
                <a:lnTo>
                  <a:pt x="1570" y="736"/>
                </a:lnTo>
                <a:cubicBezTo>
                  <a:pt x="1570" y="735"/>
                  <a:pt x="1570" y="735"/>
                  <a:pt x="1570" y="735"/>
                </a:cubicBezTo>
                <a:cubicBezTo>
                  <a:pt x="1570" y="734"/>
                  <a:pt x="1570" y="734"/>
                  <a:pt x="1570" y="733"/>
                </a:cubicBezTo>
                <a:cubicBezTo>
                  <a:pt x="1570" y="732"/>
                  <a:pt x="1571" y="731"/>
                  <a:pt x="1571" y="731"/>
                </a:cubicBezTo>
                <a:cubicBezTo>
                  <a:pt x="1572" y="730"/>
                  <a:pt x="1573" y="729"/>
                  <a:pt x="1574" y="728"/>
                </a:cubicBezTo>
                <a:cubicBezTo>
                  <a:pt x="1575" y="726"/>
                  <a:pt x="1576" y="725"/>
                  <a:pt x="1577" y="725"/>
                </a:cubicBezTo>
                <a:cubicBezTo>
                  <a:pt x="1578" y="724"/>
                  <a:pt x="1579" y="724"/>
                  <a:pt x="1579" y="723"/>
                </a:cubicBezTo>
                <a:cubicBezTo>
                  <a:pt x="1580" y="723"/>
                  <a:pt x="1581" y="723"/>
                  <a:pt x="1581" y="723"/>
                </a:cubicBezTo>
                <a:cubicBezTo>
                  <a:pt x="1582" y="723"/>
                  <a:pt x="1582" y="724"/>
                  <a:pt x="1582" y="724"/>
                </a:cubicBezTo>
                <a:lnTo>
                  <a:pt x="1598" y="739"/>
                </a:lnTo>
                <a:lnTo>
                  <a:pt x="1614" y="723"/>
                </a:lnTo>
                <a:cubicBezTo>
                  <a:pt x="1615" y="722"/>
                  <a:pt x="1615" y="722"/>
                  <a:pt x="1615" y="722"/>
                </a:cubicBezTo>
                <a:cubicBezTo>
                  <a:pt x="1616" y="722"/>
                  <a:pt x="1616" y="722"/>
                  <a:pt x="1617" y="722"/>
                </a:cubicBezTo>
                <a:cubicBezTo>
                  <a:pt x="1618" y="722"/>
                  <a:pt x="1618" y="723"/>
                  <a:pt x="1619" y="723"/>
                </a:cubicBezTo>
                <a:cubicBezTo>
                  <a:pt x="1620" y="724"/>
                  <a:pt x="1621" y="724"/>
                  <a:pt x="1622" y="725"/>
                </a:cubicBezTo>
                <a:cubicBezTo>
                  <a:pt x="1623" y="727"/>
                  <a:pt x="1624" y="728"/>
                  <a:pt x="1625" y="730"/>
                </a:cubicBezTo>
                <a:cubicBezTo>
                  <a:pt x="1625" y="731"/>
                  <a:pt x="1625" y="732"/>
                  <a:pt x="1624" y="733"/>
                </a:cubicBezTo>
                <a:lnTo>
                  <a:pt x="1607" y="749"/>
                </a:lnTo>
                <a:lnTo>
                  <a:pt x="1644" y="785"/>
                </a:lnTo>
                <a:cubicBezTo>
                  <a:pt x="1648" y="790"/>
                  <a:pt x="1652" y="792"/>
                  <a:pt x="1656" y="793"/>
                </a:cubicBezTo>
                <a:cubicBezTo>
                  <a:pt x="1659" y="794"/>
                  <a:pt x="1663" y="793"/>
                  <a:pt x="1666" y="790"/>
                </a:cubicBezTo>
                <a:cubicBezTo>
                  <a:pt x="1667" y="789"/>
                  <a:pt x="1668" y="787"/>
                  <a:pt x="1669" y="786"/>
                </a:cubicBezTo>
                <a:cubicBezTo>
                  <a:pt x="1669" y="785"/>
                  <a:pt x="1670" y="784"/>
                  <a:pt x="1670" y="783"/>
                </a:cubicBezTo>
                <a:cubicBezTo>
                  <a:pt x="1671" y="782"/>
                  <a:pt x="1671" y="782"/>
                  <a:pt x="1671" y="781"/>
                </a:cubicBezTo>
                <a:cubicBezTo>
                  <a:pt x="1672" y="780"/>
                  <a:pt x="1672" y="780"/>
                  <a:pt x="1672" y="779"/>
                </a:cubicBezTo>
                <a:cubicBezTo>
                  <a:pt x="1673" y="779"/>
                  <a:pt x="1673" y="779"/>
                  <a:pt x="1673" y="779"/>
                </a:cubicBezTo>
                <a:cubicBezTo>
                  <a:pt x="1674" y="779"/>
                  <a:pt x="1674" y="779"/>
                  <a:pt x="1674" y="779"/>
                </a:cubicBezTo>
                <a:cubicBezTo>
                  <a:pt x="1675" y="779"/>
                  <a:pt x="1675" y="780"/>
                  <a:pt x="1676" y="780"/>
                </a:cubicBezTo>
                <a:cubicBezTo>
                  <a:pt x="1677" y="781"/>
                  <a:pt x="1678" y="781"/>
                  <a:pt x="1678" y="782"/>
                </a:cubicBezTo>
                <a:close/>
                <a:moveTo>
                  <a:pt x="1750" y="720"/>
                </a:moveTo>
                <a:cubicBezTo>
                  <a:pt x="1751" y="720"/>
                  <a:pt x="1751" y="720"/>
                  <a:pt x="1751" y="721"/>
                </a:cubicBezTo>
                <a:cubicBezTo>
                  <a:pt x="1751" y="721"/>
                  <a:pt x="1751" y="722"/>
                  <a:pt x="1751" y="722"/>
                </a:cubicBezTo>
                <a:cubicBezTo>
                  <a:pt x="1751" y="723"/>
                  <a:pt x="1750" y="724"/>
                  <a:pt x="1749" y="725"/>
                </a:cubicBezTo>
                <a:cubicBezTo>
                  <a:pt x="1749" y="725"/>
                  <a:pt x="1748" y="726"/>
                  <a:pt x="1747" y="728"/>
                </a:cubicBezTo>
                <a:cubicBezTo>
                  <a:pt x="1746" y="729"/>
                  <a:pt x="1745" y="730"/>
                  <a:pt x="1744" y="730"/>
                </a:cubicBezTo>
                <a:cubicBezTo>
                  <a:pt x="1743" y="731"/>
                  <a:pt x="1742" y="732"/>
                  <a:pt x="1741" y="732"/>
                </a:cubicBezTo>
                <a:cubicBezTo>
                  <a:pt x="1741" y="732"/>
                  <a:pt x="1740" y="732"/>
                  <a:pt x="1740" y="732"/>
                </a:cubicBezTo>
                <a:cubicBezTo>
                  <a:pt x="1739" y="732"/>
                  <a:pt x="1739" y="732"/>
                  <a:pt x="1739" y="731"/>
                </a:cubicBezTo>
                <a:lnTo>
                  <a:pt x="1701" y="694"/>
                </a:lnTo>
                <a:cubicBezTo>
                  <a:pt x="1697" y="690"/>
                  <a:pt x="1694" y="687"/>
                  <a:pt x="1691" y="685"/>
                </a:cubicBezTo>
                <a:cubicBezTo>
                  <a:pt x="1688" y="684"/>
                  <a:pt x="1685" y="683"/>
                  <a:pt x="1683" y="682"/>
                </a:cubicBezTo>
                <a:cubicBezTo>
                  <a:pt x="1680" y="682"/>
                  <a:pt x="1677" y="682"/>
                  <a:pt x="1675" y="683"/>
                </a:cubicBezTo>
                <a:cubicBezTo>
                  <a:pt x="1672" y="684"/>
                  <a:pt x="1670" y="685"/>
                  <a:pt x="1667" y="687"/>
                </a:cubicBezTo>
                <a:cubicBezTo>
                  <a:pt x="1664" y="690"/>
                  <a:pt x="1662" y="694"/>
                  <a:pt x="1662" y="700"/>
                </a:cubicBezTo>
                <a:cubicBezTo>
                  <a:pt x="1661" y="705"/>
                  <a:pt x="1661" y="711"/>
                  <a:pt x="1661" y="718"/>
                </a:cubicBezTo>
                <a:lnTo>
                  <a:pt x="1707" y="763"/>
                </a:lnTo>
                <a:cubicBezTo>
                  <a:pt x="1707" y="764"/>
                  <a:pt x="1707" y="764"/>
                  <a:pt x="1707" y="765"/>
                </a:cubicBezTo>
                <a:cubicBezTo>
                  <a:pt x="1707" y="765"/>
                  <a:pt x="1707" y="766"/>
                  <a:pt x="1707" y="766"/>
                </a:cubicBezTo>
                <a:cubicBezTo>
                  <a:pt x="1707" y="767"/>
                  <a:pt x="1706" y="768"/>
                  <a:pt x="1706" y="768"/>
                </a:cubicBezTo>
                <a:cubicBezTo>
                  <a:pt x="1705" y="769"/>
                  <a:pt x="1704" y="770"/>
                  <a:pt x="1703" y="771"/>
                </a:cubicBezTo>
                <a:cubicBezTo>
                  <a:pt x="1702" y="773"/>
                  <a:pt x="1701" y="774"/>
                  <a:pt x="1700" y="774"/>
                </a:cubicBezTo>
                <a:cubicBezTo>
                  <a:pt x="1699" y="775"/>
                  <a:pt x="1698" y="775"/>
                  <a:pt x="1698" y="776"/>
                </a:cubicBezTo>
                <a:cubicBezTo>
                  <a:pt x="1697" y="776"/>
                  <a:pt x="1696" y="776"/>
                  <a:pt x="1696" y="776"/>
                </a:cubicBezTo>
                <a:cubicBezTo>
                  <a:pt x="1696" y="776"/>
                  <a:pt x="1695" y="776"/>
                  <a:pt x="1695" y="775"/>
                </a:cubicBezTo>
                <a:lnTo>
                  <a:pt x="1599" y="679"/>
                </a:lnTo>
                <a:cubicBezTo>
                  <a:pt x="1598" y="679"/>
                  <a:pt x="1598" y="678"/>
                  <a:pt x="1598" y="678"/>
                </a:cubicBezTo>
                <a:cubicBezTo>
                  <a:pt x="1598" y="678"/>
                  <a:pt x="1598" y="677"/>
                  <a:pt x="1598" y="676"/>
                </a:cubicBezTo>
                <a:cubicBezTo>
                  <a:pt x="1599" y="676"/>
                  <a:pt x="1599" y="675"/>
                  <a:pt x="1600" y="674"/>
                </a:cubicBezTo>
                <a:cubicBezTo>
                  <a:pt x="1600" y="673"/>
                  <a:pt x="1601" y="672"/>
                  <a:pt x="1602" y="671"/>
                </a:cubicBezTo>
                <a:cubicBezTo>
                  <a:pt x="1604" y="670"/>
                  <a:pt x="1605" y="669"/>
                  <a:pt x="1605" y="668"/>
                </a:cubicBezTo>
                <a:cubicBezTo>
                  <a:pt x="1606" y="668"/>
                  <a:pt x="1607" y="667"/>
                  <a:pt x="1608" y="667"/>
                </a:cubicBezTo>
                <a:cubicBezTo>
                  <a:pt x="1608" y="667"/>
                  <a:pt x="1609" y="667"/>
                  <a:pt x="1609" y="667"/>
                </a:cubicBezTo>
                <a:cubicBezTo>
                  <a:pt x="1610" y="667"/>
                  <a:pt x="1610" y="667"/>
                  <a:pt x="1611" y="667"/>
                </a:cubicBezTo>
                <a:lnTo>
                  <a:pt x="1649" y="706"/>
                </a:lnTo>
                <a:cubicBezTo>
                  <a:pt x="1649" y="699"/>
                  <a:pt x="1650" y="693"/>
                  <a:pt x="1652" y="688"/>
                </a:cubicBezTo>
                <a:cubicBezTo>
                  <a:pt x="1653" y="683"/>
                  <a:pt x="1656" y="678"/>
                  <a:pt x="1659" y="675"/>
                </a:cubicBezTo>
                <a:cubicBezTo>
                  <a:pt x="1664" y="670"/>
                  <a:pt x="1668" y="668"/>
                  <a:pt x="1672" y="666"/>
                </a:cubicBezTo>
                <a:cubicBezTo>
                  <a:pt x="1677" y="665"/>
                  <a:pt x="1681" y="664"/>
                  <a:pt x="1685" y="665"/>
                </a:cubicBezTo>
                <a:cubicBezTo>
                  <a:pt x="1690" y="665"/>
                  <a:pt x="1694" y="667"/>
                  <a:pt x="1698" y="669"/>
                </a:cubicBezTo>
                <a:cubicBezTo>
                  <a:pt x="1702" y="672"/>
                  <a:pt x="1706" y="676"/>
                  <a:pt x="1711" y="680"/>
                </a:cubicBezTo>
                <a:lnTo>
                  <a:pt x="1750" y="720"/>
                </a:lnTo>
                <a:close/>
                <a:moveTo>
                  <a:pt x="1802" y="540"/>
                </a:moveTo>
                <a:cubicBezTo>
                  <a:pt x="1807" y="544"/>
                  <a:pt x="1811" y="549"/>
                  <a:pt x="1813" y="555"/>
                </a:cubicBezTo>
                <a:cubicBezTo>
                  <a:pt x="1815" y="560"/>
                  <a:pt x="1816" y="565"/>
                  <a:pt x="1816" y="571"/>
                </a:cubicBezTo>
                <a:cubicBezTo>
                  <a:pt x="1815" y="576"/>
                  <a:pt x="1814" y="582"/>
                  <a:pt x="1811" y="587"/>
                </a:cubicBezTo>
                <a:cubicBezTo>
                  <a:pt x="1809" y="593"/>
                  <a:pt x="1804" y="598"/>
                  <a:pt x="1799" y="604"/>
                </a:cubicBezTo>
                <a:lnTo>
                  <a:pt x="1788" y="615"/>
                </a:lnTo>
                <a:lnTo>
                  <a:pt x="1822" y="648"/>
                </a:lnTo>
                <a:cubicBezTo>
                  <a:pt x="1822" y="649"/>
                  <a:pt x="1822" y="649"/>
                  <a:pt x="1822" y="650"/>
                </a:cubicBezTo>
                <a:cubicBezTo>
                  <a:pt x="1822" y="650"/>
                  <a:pt x="1822" y="651"/>
                  <a:pt x="1822" y="651"/>
                </a:cubicBezTo>
                <a:cubicBezTo>
                  <a:pt x="1822" y="652"/>
                  <a:pt x="1821" y="653"/>
                  <a:pt x="1820" y="654"/>
                </a:cubicBezTo>
                <a:cubicBezTo>
                  <a:pt x="1820" y="654"/>
                  <a:pt x="1819" y="656"/>
                  <a:pt x="1818" y="657"/>
                </a:cubicBezTo>
                <a:cubicBezTo>
                  <a:pt x="1816" y="658"/>
                  <a:pt x="1815" y="659"/>
                  <a:pt x="1815" y="660"/>
                </a:cubicBezTo>
                <a:cubicBezTo>
                  <a:pt x="1814" y="660"/>
                  <a:pt x="1813" y="661"/>
                  <a:pt x="1812" y="661"/>
                </a:cubicBezTo>
                <a:cubicBezTo>
                  <a:pt x="1812" y="661"/>
                  <a:pt x="1811" y="661"/>
                  <a:pt x="1810" y="661"/>
                </a:cubicBezTo>
                <a:cubicBezTo>
                  <a:pt x="1810" y="661"/>
                  <a:pt x="1810" y="661"/>
                  <a:pt x="1809" y="661"/>
                </a:cubicBezTo>
                <a:lnTo>
                  <a:pt x="1723" y="575"/>
                </a:lnTo>
                <a:cubicBezTo>
                  <a:pt x="1722" y="573"/>
                  <a:pt x="1721" y="571"/>
                  <a:pt x="1721" y="569"/>
                </a:cubicBezTo>
                <a:cubicBezTo>
                  <a:pt x="1721" y="567"/>
                  <a:pt x="1722" y="566"/>
                  <a:pt x="1723" y="565"/>
                </a:cubicBezTo>
                <a:lnTo>
                  <a:pt x="1743" y="545"/>
                </a:lnTo>
                <a:cubicBezTo>
                  <a:pt x="1745" y="543"/>
                  <a:pt x="1747" y="541"/>
                  <a:pt x="1749" y="539"/>
                </a:cubicBezTo>
                <a:cubicBezTo>
                  <a:pt x="1751" y="538"/>
                  <a:pt x="1753" y="536"/>
                  <a:pt x="1757" y="534"/>
                </a:cubicBezTo>
                <a:cubicBezTo>
                  <a:pt x="1760" y="532"/>
                  <a:pt x="1763" y="530"/>
                  <a:pt x="1767" y="529"/>
                </a:cubicBezTo>
                <a:cubicBezTo>
                  <a:pt x="1771" y="528"/>
                  <a:pt x="1776" y="528"/>
                  <a:pt x="1780" y="528"/>
                </a:cubicBezTo>
                <a:cubicBezTo>
                  <a:pt x="1784" y="528"/>
                  <a:pt x="1787" y="530"/>
                  <a:pt x="1791" y="532"/>
                </a:cubicBezTo>
                <a:cubicBezTo>
                  <a:pt x="1795" y="533"/>
                  <a:pt x="1799" y="536"/>
                  <a:pt x="1802" y="540"/>
                </a:cubicBezTo>
                <a:close/>
                <a:moveTo>
                  <a:pt x="1790" y="554"/>
                </a:moveTo>
                <a:cubicBezTo>
                  <a:pt x="1787" y="550"/>
                  <a:pt x="1783" y="547"/>
                  <a:pt x="1779" y="546"/>
                </a:cubicBezTo>
                <a:cubicBezTo>
                  <a:pt x="1775" y="545"/>
                  <a:pt x="1771" y="545"/>
                  <a:pt x="1768" y="546"/>
                </a:cubicBezTo>
                <a:cubicBezTo>
                  <a:pt x="1765" y="547"/>
                  <a:pt x="1762" y="548"/>
                  <a:pt x="1759" y="550"/>
                </a:cubicBezTo>
                <a:cubicBezTo>
                  <a:pt x="1757" y="552"/>
                  <a:pt x="1754" y="554"/>
                  <a:pt x="1752" y="556"/>
                </a:cubicBezTo>
                <a:lnTo>
                  <a:pt x="1741" y="567"/>
                </a:lnTo>
                <a:lnTo>
                  <a:pt x="1778" y="605"/>
                </a:lnTo>
                <a:lnTo>
                  <a:pt x="1789" y="594"/>
                </a:lnTo>
                <a:cubicBezTo>
                  <a:pt x="1793" y="590"/>
                  <a:pt x="1795" y="586"/>
                  <a:pt x="1797" y="583"/>
                </a:cubicBezTo>
                <a:cubicBezTo>
                  <a:pt x="1798" y="579"/>
                  <a:pt x="1799" y="576"/>
                  <a:pt x="1799" y="573"/>
                </a:cubicBezTo>
                <a:cubicBezTo>
                  <a:pt x="1799" y="569"/>
                  <a:pt x="1798" y="566"/>
                  <a:pt x="1797" y="563"/>
                </a:cubicBezTo>
                <a:cubicBezTo>
                  <a:pt x="1795" y="559"/>
                  <a:pt x="1793" y="556"/>
                  <a:pt x="1790" y="554"/>
                </a:cubicBezTo>
                <a:close/>
                <a:moveTo>
                  <a:pt x="1907" y="493"/>
                </a:moveTo>
                <a:cubicBezTo>
                  <a:pt x="1909" y="494"/>
                  <a:pt x="1910" y="496"/>
                  <a:pt x="1910" y="498"/>
                </a:cubicBezTo>
                <a:cubicBezTo>
                  <a:pt x="1910" y="500"/>
                  <a:pt x="1909" y="501"/>
                  <a:pt x="1908" y="502"/>
                </a:cubicBezTo>
                <a:lnTo>
                  <a:pt x="1865" y="545"/>
                </a:lnTo>
                <a:cubicBezTo>
                  <a:pt x="1869" y="548"/>
                  <a:pt x="1872" y="551"/>
                  <a:pt x="1876" y="554"/>
                </a:cubicBezTo>
                <a:cubicBezTo>
                  <a:pt x="1879" y="556"/>
                  <a:pt x="1883" y="557"/>
                  <a:pt x="1887" y="557"/>
                </a:cubicBezTo>
                <a:cubicBezTo>
                  <a:pt x="1891" y="558"/>
                  <a:pt x="1894" y="557"/>
                  <a:pt x="1898" y="555"/>
                </a:cubicBezTo>
                <a:cubicBezTo>
                  <a:pt x="1902" y="554"/>
                  <a:pt x="1906" y="551"/>
                  <a:pt x="1910" y="547"/>
                </a:cubicBezTo>
                <a:cubicBezTo>
                  <a:pt x="1913" y="544"/>
                  <a:pt x="1915" y="541"/>
                  <a:pt x="1917" y="538"/>
                </a:cubicBezTo>
                <a:cubicBezTo>
                  <a:pt x="1919" y="535"/>
                  <a:pt x="1921" y="533"/>
                  <a:pt x="1922" y="530"/>
                </a:cubicBezTo>
                <a:cubicBezTo>
                  <a:pt x="1923" y="528"/>
                  <a:pt x="1924" y="526"/>
                  <a:pt x="1924" y="524"/>
                </a:cubicBezTo>
                <a:cubicBezTo>
                  <a:pt x="1925" y="523"/>
                  <a:pt x="1926" y="522"/>
                  <a:pt x="1926" y="521"/>
                </a:cubicBezTo>
                <a:cubicBezTo>
                  <a:pt x="1927" y="521"/>
                  <a:pt x="1927" y="520"/>
                  <a:pt x="1927" y="520"/>
                </a:cubicBezTo>
                <a:cubicBezTo>
                  <a:pt x="1928" y="520"/>
                  <a:pt x="1928" y="520"/>
                  <a:pt x="1929" y="520"/>
                </a:cubicBezTo>
                <a:cubicBezTo>
                  <a:pt x="1929" y="521"/>
                  <a:pt x="1930" y="521"/>
                  <a:pt x="1930" y="522"/>
                </a:cubicBezTo>
                <a:cubicBezTo>
                  <a:pt x="1931" y="522"/>
                  <a:pt x="1932" y="523"/>
                  <a:pt x="1933" y="524"/>
                </a:cubicBezTo>
                <a:cubicBezTo>
                  <a:pt x="1933" y="524"/>
                  <a:pt x="1934" y="525"/>
                  <a:pt x="1934" y="525"/>
                </a:cubicBezTo>
                <a:cubicBezTo>
                  <a:pt x="1935" y="526"/>
                  <a:pt x="1935" y="526"/>
                  <a:pt x="1935" y="527"/>
                </a:cubicBezTo>
                <a:cubicBezTo>
                  <a:pt x="1936" y="527"/>
                  <a:pt x="1936" y="528"/>
                  <a:pt x="1936" y="528"/>
                </a:cubicBezTo>
                <a:cubicBezTo>
                  <a:pt x="1936" y="529"/>
                  <a:pt x="1936" y="529"/>
                  <a:pt x="1936" y="530"/>
                </a:cubicBezTo>
                <a:cubicBezTo>
                  <a:pt x="1936" y="530"/>
                  <a:pt x="1936" y="531"/>
                  <a:pt x="1935" y="533"/>
                </a:cubicBezTo>
                <a:cubicBezTo>
                  <a:pt x="1934" y="535"/>
                  <a:pt x="1933" y="537"/>
                  <a:pt x="1932" y="540"/>
                </a:cubicBezTo>
                <a:cubicBezTo>
                  <a:pt x="1930" y="543"/>
                  <a:pt x="1928" y="545"/>
                  <a:pt x="1926" y="549"/>
                </a:cubicBezTo>
                <a:cubicBezTo>
                  <a:pt x="1924" y="552"/>
                  <a:pt x="1921" y="555"/>
                  <a:pt x="1918" y="558"/>
                </a:cubicBezTo>
                <a:cubicBezTo>
                  <a:pt x="1913" y="563"/>
                  <a:pt x="1908" y="567"/>
                  <a:pt x="1902" y="570"/>
                </a:cubicBezTo>
                <a:cubicBezTo>
                  <a:pt x="1897" y="572"/>
                  <a:pt x="1891" y="573"/>
                  <a:pt x="1885" y="573"/>
                </a:cubicBezTo>
                <a:cubicBezTo>
                  <a:pt x="1880" y="573"/>
                  <a:pt x="1874" y="571"/>
                  <a:pt x="1868" y="568"/>
                </a:cubicBezTo>
                <a:cubicBezTo>
                  <a:pt x="1862" y="565"/>
                  <a:pt x="1857" y="561"/>
                  <a:pt x="1851" y="555"/>
                </a:cubicBezTo>
                <a:cubicBezTo>
                  <a:pt x="1845" y="550"/>
                  <a:pt x="1841" y="544"/>
                  <a:pt x="1838" y="538"/>
                </a:cubicBezTo>
                <a:cubicBezTo>
                  <a:pt x="1835" y="532"/>
                  <a:pt x="1833" y="526"/>
                  <a:pt x="1833" y="520"/>
                </a:cubicBezTo>
                <a:cubicBezTo>
                  <a:pt x="1832" y="515"/>
                  <a:pt x="1833" y="509"/>
                  <a:pt x="1836" y="504"/>
                </a:cubicBezTo>
                <a:cubicBezTo>
                  <a:pt x="1838" y="498"/>
                  <a:pt x="1841" y="493"/>
                  <a:pt x="1846" y="488"/>
                </a:cubicBezTo>
                <a:cubicBezTo>
                  <a:pt x="1851" y="483"/>
                  <a:pt x="1856" y="480"/>
                  <a:pt x="1861" y="478"/>
                </a:cubicBezTo>
                <a:cubicBezTo>
                  <a:pt x="1867" y="476"/>
                  <a:pt x="1872" y="475"/>
                  <a:pt x="1877" y="475"/>
                </a:cubicBezTo>
                <a:cubicBezTo>
                  <a:pt x="1882" y="476"/>
                  <a:pt x="1887" y="477"/>
                  <a:pt x="1891" y="480"/>
                </a:cubicBezTo>
                <a:cubicBezTo>
                  <a:pt x="1896" y="483"/>
                  <a:pt x="1901" y="486"/>
                  <a:pt x="1905" y="490"/>
                </a:cubicBezTo>
                <a:lnTo>
                  <a:pt x="1907" y="493"/>
                </a:lnTo>
                <a:close/>
                <a:moveTo>
                  <a:pt x="1892" y="501"/>
                </a:moveTo>
                <a:cubicBezTo>
                  <a:pt x="1886" y="495"/>
                  <a:pt x="1879" y="491"/>
                  <a:pt x="1873" y="490"/>
                </a:cubicBezTo>
                <a:cubicBezTo>
                  <a:pt x="1866" y="490"/>
                  <a:pt x="1860" y="492"/>
                  <a:pt x="1855" y="498"/>
                </a:cubicBezTo>
                <a:cubicBezTo>
                  <a:pt x="1852" y="501"/>
                  <a:pt x="1850" y="504"/>
                  <a:pt x="1849" y="507"/>
                </a:cubicBezTo>
                <a:cubicBezTo>
                  <a:pt x="1847" y="511"/>
                  <a:pt x="1847" y="514"/>
                  <a:pt x="1847" y="517"/>
                </a:cubicBezTo>
                <a:cubicBezTo>
                  <a:pt x="1848" y="521"/>
                  <a:pt x="1849" y="524"/>
                  <a:pt x="1850" y="527"/>
                </a:cubicBezTo>
                <a:cubicBezTo>
                  <a:pt x="1852" y="531"/>
                  <a:pt x="1854" y="533"/>
                  <a:pt x="1856" y="536"/>
                </a:cubicBezTo>
                <a:lnTo>
                  <a:pt x="1892" y="501"/>
                </a:lnTo>
                <a:close/>
                <a:moveTo>
                  <a:pt x="1944" y="405"/>
                </a:moveTo>
                <a:cubicBezTo>
                  <a:pt x="1945" y="407"/>
                  <a:pt x="1946" y="407"/>
                  <a:pt x="1946" y="408"/>
                </a:cubicBezTo>
                <a:cubicBezTo>
                  <a:pt x="1947" y="409"/>
                  <a:pt x="1947" y="410"/>
                  <a:pt x="1948" y="410"/>
                </a:cubicBezTo>
                <a:cubicBezTo>
                  <a:pt x="1948" y="411"/>
                  <a:pt x="1948" y="411"/>
                  <a:pt x="1948" y="412"/>
                </a:cubicBezTo>
                <a:cubicBezTo>
                  <a:pt x="1948" y="412"/>
                  <a:pt x="1948" y="412"/>
                  <a:pt x="1947" y="413"/>
                </a:cubicBezTo>
                <a:cubicBezTo>
                  <a:pt x="1947" y="413"/>
                  <a:pt x="1947" y="414"/>
                  <a:pt x="1946" y="414"/>
                </a:cubicBezTo>
                <a:cubicBezTo>
                  <a:pt x="1945" y="414"/>
                  <a:pt x="1944" y="415"/>
                  <a:pt x="1943" y="415"/>
                </a:cubicBezTo>
                <a:cubicBezTo>
                  <a:pt x="1942" y="416"/>
                  <a:pt x="1941" y="416"/>
                  <a:pt x="1940" y="417"/>
                </a:cubicBezTo>
                <a:cubicBezTo>
                  <a:pt x="1939" y="418"/>
                  <a:pt x="1938" y="418"/>
                  <a:pt x="1937" y="419"/>
                </a:cubicBezTo>
                <a:cubicBezTo>
                  <a:pt x="1936" y="421"/>
                  <a:pt x="1935" y="422"/>
                  <a:pt x="1934" y="424"/>
                </a:cubicBezTo>
                <a:cubicBezTo>
                  <a:pt x="1934" y="425"/>
                  <a:pt x="1933" y="427"/>
                  <a:pt x="1933" y="430"/>
                </a:cubicBezTo>
                <a:cubicBezTo>
                  <a:pt x="1933" y="432"/>
                  <a:pt x="1933" y="435"/>
                  <a:pt x="1934" y="438"/>
                </a:cubicBezTo>
                <a:cubicBezTo>
                  <a:pt x="1934" y="441"/>
                  <a:pt x="1935" y="445"/>
                  <a:pt x="1936" y="449"/>
                </a:cubicBezTo>
                <a:lnTo>
                  <a:pt x="1978" y="492"/>
                </a:lnTo>
                <a:cubicBezTo>
                  <a:pt x="1979" y="492"/>
                  <a:pt x="1979" y="493"/>
                  <a:pt x="1979" y="493"/>
                </a:cubicBezTo>
                <a:cubicBezTo>
                  <a:pt x="1979" y="493"/>
                  <a:pt x="1979" y="494"/>
                  <a:pt x="1979" y="495"/>
                </a:cubicBezTo>
                <a:cubicBezTo>
                  <a:pt x="1978" y="495"/>
                  <a:pt x="1978" y="496"/>
                  <a:pt x="1977" y="497"/>
                </a:cubicBezTo>
                <a:cubicBezTo>
                  <a:pt x="1977" y="498"/>
                  <a:pt x="1976" y="499"/>
                  <a:pt x="1974" y="500"/>
                </a:cubicBezTo>
                <a:cubicBezTo>
                  <a:pt x="1973" y="501"/>
                  <a:pt x="1972" y="502"/>
                  <a:pt x="1971" y="503"/>
                </a:cubicBezTo>
                <a:cubicBezTo>
                  <a:pt x="1971" y="503"/>
                  <a:pt x="1970" y="504"/>
                  <a:pt x="1969" y="504"/>
                </a:cubicBezTo>
                <a:cubicBezTo>
                  <a:pt x="1968" y="504"/>
                  <a:pt x="1968" y="504"/>
                  <a:pt x="1968" y="504"/>
                </a:cubicBezTo>
                <a:cubicBezTo>
                  <a:pt x="1967" y="504"/>
                  <a:pt x="1967" y="504"/>
                  <a:pt x="1966" y="504"/>
                </a:cubicBezTo>
                <a:lnTo>
                  <a:pt x="1902" y="439"/>
                </a:lnTo>
                <a:cubicBezTo>
                  <a:pt x="1901" y="439"/>
                  <a:pt x="1901" y="438"/>
                  <a:pt x="1901" y="438"/>
                </a:cubicBezTo>
                <a:cubicBezTo>
                  <a:pt x="1901" y="437"/>
                  <a:pt x="1901" y="437"/>
                  <a:pt x="1901" y="436"/>
                </a:cubicBezTo>
                <a:cubicBezTo>
                  <a:pt x="1901" y="436"/>
                  <a:pt x="1902" y="435"/>
                  <a:pt x="1902" y="434"/>
                </a:cubicBezTo>
                <a:cubicBezTo>
                  <a:pt x="1903" y="433"/>
                  <a:pt x="1904" y="432"/>
                  <a:pt x="1905" y="431"/>
                </a:cubicBezTo>
                <a:cubicBezTo>
                  <a:pt x="1906" y="430"/>
                  <a:pt x="1907" y="429"/>
                  <a:pt x="1908" y="429"/>
                </a:cubicBezTo>
                <a:cubicBezTo>
                  <a:pt x="1908" y="428"/>
                  <a:pt x="1909" y="428"/>
                  <a:pt x="1910" y="428"/>
                </a:cubicBezTo>
                <a:cubicBezTo>
                  <a:pt x="1910" y="428"/>
                  <a:pt x="1911" y="427"/>
                  <a:pt x="1911" y="428"/>
                </a:cubicBezTo>
                <a:cubicBezTo>
                  <a:pt x="1912" y="428"/>
                  <a:pt x="1912" y="428"/>
                  <a:pt x="1912" y="428"/>
                </a:cubicBezTo>
                <a:lnTo>
                  <a:pt x="1922" y="438"/>
                </a:lnTo>
                <a:cubicBezTo>
                  <a:pt x="1921" y="433"/>
                  <a:pt x="1921" y="430"/>
                  <a:pt x="1920" y="426"/>
                </a:cubicBezTo>
                <a:cubicBezTo>
                  <a:pt x="1920" y="423"/>
                  <a:pt x="1921" y="420"/>
                  <a:pt x="1921" y="418"/>
                </a:cubicBezTo>
                <a:cubicBezTo>
                  <a:pt x="1921" y="416"/>
                  <a:pt x="1922" y="414"/>
                  <a:pt x="1923" y="412"/>
                </a:cubicBezTo>
                <a:cubicBezTo>
                  <a:pt x="1924" y="410"/>
                  <a:pt x="1925" y="409"/>
                  <a:pt x="1927" y="407"/>
                </a:cubicBezTo>
                <a:cubicBezTo>
                  <a:pt x="1927" y="407"/>
                  <a:pt x="1928" y="406"/>
                  <a:pt x="1929" y="405"/>
                </a:cubicBezTo>
                <a:cubicBezTo>
                  <a:pt x="1930" y="405"/>
                  <a:pt x="1931" y="404"/>
                  <a:pt x="1932" y="403"/>
                </a:cubicBezTo>
                <a:cubicBezTo>
                  <a:pt x="1933" y="403"/>
                  <a:pt x="1934" y="402"/>
                  <a:pt x="1935" y="402"/>
                </a:cubicBezTo>
                <a:cubicBezTo>
                  <a:pt x="1936" y="401"/>
                  <a:pt x="1937" y="401"/>
                  <a:pt x="1937" y="401"/>
                </a:cubicBezTo>
                <a:cubicBezTo>
                  <a:pt x="1938" y="401"/>
                  <a:pt x="1938" y="401"/>
                  <a:pt x="1938" y="401"/>
                </a:cubicBezTo>
                <a:cubicBezTo>
                  <a:pt x="1939" y="401"/>
                  <a:pt x="1939" y="401"/>
                  <a:pt x="1939" y="402"/>
                </a:cubicBezTo>
                <a:cubicBezTo>
                  <a:pt x="1940" y="402"/>
                  <a:pt x="1940" y="402"/>
                  <a:pt x="1941" y="403"/>
                </a:cubicBezTo>
                <a:cubicBezTo>
                  <a:pt x="1942" y="403"/>
                  <a:pt x="1943" y="404"/>
                  <a:pt x="1944" y="405"/>
                </a:cubicBezTo>
                <a:close/>
                <a:moveTo>
                  <a:pt x="2059" y="391"/>
                </a:moveTo>
                <a:cubicBezTo>
                  <a:pt x="2060" y="392"/>
                  <a:pt x="2061" y="392"/>
                  <a:pt x="2062" y="393"/>
                </a:cubicBezTo>
                <a:cubicBezTo>
                  <a:pt x="2062" y="394"/>
                  <a:pt x="2062" y="394"/>
                  <a:pt x="2063" y="395"/>
                </a:cubicBezTo>
                <a:cubicBezTo>
                  <a:pt x="2063" y="395"/>
                  <a:pt x="2063" y="396"/>
                  <a:pt x="2063" y="396"/>
                </a:cubicBezTo>
                <a:cubicBezTo>
                  <a:pt x="2064" y="397"/>
                  <a:pt x="2064" y="398"/>
                  <a:pt x="2064" y="399"/>
                </a:cubicBezTo>
                <a:cubicBezTo>
                  <a:pt x="2064" y="400"/>
                  <a:pt x="2063" y="402"/>
                  <a:pt x="2063" y="404"/>
                </a:cubicBezTo>
                <a:cubicBezTo>
                  <a:pt x="2062" y="406"/>
                  <a:pt x="2061" y="409"/>
                  <a:pt x="2060" y="411"/>
                </a:cubicBezTo>
                <a:cubicBezTo>
                  <a:pt x="2059" y="414"/>
                  <a:pt x="2058" y="416"/>
                  <a:pt x="2056" y="419"/>
                </a:cubicBezTo>
                <a:cubicBezTo>
                  <a:pt x="2055" y="421"/>
                  <a:pt x="2053" y="424"/>
                  <a:pt x="2050" y="426"/>
                </a:cubicBezTo>
                <a:cubicBezTo>
                  <a:pt x="2046" y="431"/>
                  <a:pt x="2041" y="434"/>
                  <a:pt x="2036" y="436"/>
                </a:cubicBezTo>
                <a:cubicBezTo>
                  <a:pt x="2031" y="438"/>
                  <a:pt x="2025" y="439"/>
                  <a:pt x="2020" y="438"/>
                </a:cubicBezTo>
                <a:cubicBezTo>
                  <a:pt x="2015" y="438"/>
                  <a:pt x="2009" y="436"/>
                  <a:pt x="2004" y="433"/>
                </a:cubicBezTo>
                <a:cubicBezTo>
                  <a:pt x="1998" y="430"/>
                  <a:pt x="1992" y="426"/>
                  <a:pt x="1987" y="420"/>
                </a:cubicBezTo>
                <a:cubicBezTo>
                  <a:pt x="1980" y="414"/>
                  <a:pt x="1976" y="407"/>
                  <a:pt x="1973" y="401"/>
                </a:cubicBezTo>
                <a:cubicBezTo>
                  <a:pt x="1970" y="395"/>
                  <a:pt x="1968" y="389"/>
                  <a:pt x="1968" y="384"/>
                </a:cubicBezTo>
                <a:cubicBezTo>
                  <a:pt x="1968" y="378"/>
                  <a:pt x="1969" y="373"/>
                  <a:pt x="1971" y="368"/>
                </a:cubicBezTo>
                <a:cubicBezTo>
                  <a:pt x="1973" y="363"/>
                  <a:pt x="1976" y="358"/>
                  <a:pt x="1981" y="354"/>
                </a:cubicBezTo>
                <a:cubicBezTo>
                  <a:pt x="1983" y="352"/>
                  <a:pt x="1985" y="350"/>
                  <a:pt x="1987" y="348"/>
                </a:cubicBezTo>
                <a:cubicBezTo>
                  <a:pt x="1990" y="347"/>
                  <a:pt x="1992" y="345"/>
                  <a:pt x="1994" y="344"/>
                </a:cubicBezTo>
                <a:cubicBezTo>
                  <a:pt x="1996" y="343"/>
                  <a:pt x="1999" y="343"/>
                  <a:pt x="2001" y="342"/>
                </a:cubicBezTo>
                <a:cubicBezTo>
                  <a:pt x="2003" y="342"/>
                  <a:pt x="2004" y="341"/>
                  <a:pt x="2005" y="341"/>
                </a:cubicBezTo>
                <a:cubicBezTo>
                  <a:pt x="2007" y="341"/>
                  <a:pt x="2007" y="342"/>
                  <a:pt x="2008" y="342"/>
                </a:cubicBezTo>
                <a:cubicBezTo>
                  <a:pt x="2009" y="342"/>
                  <a:pt x="2009" y="342"/>
                  <a:pt x="2010" y="342"/>
                </a:cubicBezTo>
                <a:cubicBezTo>
                  <a:pt x="2010" y="343"/>
                  <a:pt x="2011" y="343"/>
                  <a:pt x="2012" y="344"/>
                </a:cubicBezTo>
                <a:cubicBezTo>
                  <a:pt x="2012" y="344"/>
                  <a:pt x="2013" y="345"/>
                  <a:pt x="2014" y="346"/>
                </a:cubicBezTo>
                <a:cubicBezTo>
                  <a:pt x="2016" y="348"/>
                  <a:pt x="2017" y="349"/>
                  <a:pt x="2017" y="350"/>
                </a:cubicBezTo>
                <a:cubicBezTo>
                  <a:pt x="2017" y="351"/>
                  <a:pt x="2017" y="352"/>
                  <a:pt x="2017" y="353"/>
                </a:cubicBezTo>
                <a:cubicBezTo>
                  <a:pt x="2016" y="354"/>
                  <a:pt x="2015" y="354"/>
                  <a:pt x="2013" y="354"/>
                </a:cubicBezTo>
                <a:cubicBezTo>
                  <a:pt x="2011" y="354"/>
                  <a:pt x="2009" y="355"/>
                  <a:pt x="2007" y="355"/>
                </a:cubicBezTo>
                <a:cubicBezTo>
                  <a:pt x="2004" y="356"/>
                  <a:pt x="2002" y="356"/>
                  <a:pt x="1999" y="358"/>
                </a:cubicBezTo>
                <a:cubicBezTo>
                  <a:pt x="1996" y="359"/>
                  <a:pt x="1993" y="361"/>
                  <a:pt x="1991" y="364"/>
                </a:cubicBezTo>
                <a:cubicBezTo>
                  <a:pt x="1985" y="369"/>
                  <a:pt x="1983" y="376"/>
                  <a:pt x="1984" y="383"/>
                </a:cubicBezTo>
                <a:cubicBezTo>
                  <a:pt x="1985" y="391"/>
                  <a:pt x="1990" y="399"/>
                  <a:pt x="1999" y="407"/>
                </a:cubicBezTo>
                <a:cubicBezTo>
                  <a:pt x="2003" y="411"/>
                  <a:pt x="2007" y="414"/>
                  <a:pt x="2011" y="417"/>
                </a:cubicBezTo>
                <a:cubicBezTo>
                  <a:pt x="2015" y="419"/>
                  <a:pt x="2018" y="421"/>
                  <a:pt x="2022" y="421"/>
                </a:cubicBezTo>
                <a:cubicBezTo>
                  <a:pt x="2026" y="422"/>
                  <a:pt x="2029" y="421"/>
                  <a:pt x="2032" y="420"/>
                </a:cubicBezTo>
                <a:cubicBezTo>
                  <a:pt x="2036" y="419"/>
                  <a:pt x="2039" y="417"/>
                  <a:pt x="2042" y="414"/>
                </a:cubicBezTo>
                <a:cubicBezTo>
                  <a:pt x="2044" y="411"/>
                  <a:pt x="2046" y="409"/>
                  <a:pt x="2047" y="406"/>
                </a:cubicBezTo>
                <a:cubicBezTo>
                  <a:pt x="2049" y="403"/>
                  <a:pt x="2049" y="400"/>
                  <a:pt x="2050" y="398"/>
                </a:cubicBezTo>
                <a:cubicBezTo>
                  <a:pt x="2050" y="395"/>
                  <a:pt x="2051" y="393"/>
                  <a:pt x="2051" y="391"/>
                </a:cubicBezTo>
                <a:cubicBezTo>
                  <a:pt x="2051" y="389"/>
                  <a:pt x="2052" y="388"/>
                  <a:pt x="2052" y="387"/>
                </a:cubicBezTo>
                <a:cubicBezTo>
                  <a:pt x="2052" y="387"/>
                  <a:pt x="2053" y="387"/>
                  <a:pt x="2053" y="387"/>
                </a:cubicBezTo>
                <a:cubicBezTo>
                  <a:pt x="2054" y="387"/>
                  <a:pt x="2054" y="387"/>
                  <a:pt x="2055" y="387"/>
                </a:cubicBezTo>
                <a:cubicBezTo>
                  <a:pt x="2055" y="387"/>
                  <a:pt x="2056" y="388"/>
                  <a:pt x="2057" y="388"/>
                </a:cubicBezTo>
                <a:cubicBezTo>
                  <a:pt x="2058" y="389"/>
                  <a:pt x="2059" y="390"/>
                  <a:pt x="2059" y="391"/>
                </a:cubicBezTo>
                <a:close/>
                <a:moveTo>
                  <a:pt x="2111" y="289"/>
                </a:moveTo>
                <a:cubicBezTo>
                  <a:pt x="2113" y="291"/>
                  <a:pt x="2113" y="293"/>
                  <a:pt x="2113" y="294"/>
                </a:cubicBezTo>
                <a:cubicBezTo>
                  <a:pt x="2113" y="296"/>
                  <a:pt x="2113" y="297"/>
                  <a:pt x="2111" y="299"/>
                </a:cubicBezTo>
                <a:lnTo>
                  <a:pt x="2069" y="341"/>
                </a:lnTo>
                <a:cubicBezTo>
                  <a:pt x="2072" y="345"/>
                  <a:pt x="2076" y="348"/>
                  <a:pt x="2080" y="350"/>
                </a:cubicBezTo>
                <a:cubicBezTo>
                  <a:pt x="2083" y="352"/>
                  <a:pt x="2087" y="353"/>
                  <a:pt x="2091" y="354"/>
                </a:cubicBezTo>
                <a:cubicBezTo>
                  <a:pt x="2094" y="354"/>
                  <a:pt x="2098" y="353"/>
                  <a:pt x="2102" y="352"/>
                </a:cubicBezTo>
                <a:cubicBezTo>
                  <a:pt x="2106" y="350"/>
                  <a:pt x="2109" y="347"/>
                  <a:pt x="2113" y="344"/>
                </a:cubicBezTo>
                <a:cubicBezTo>
                  <a:pt x="2116" y="341"/>
                  <a:pt x="2119" y="338"/>
                  <a:pt x="2121" y="335"/>
                </a:cubicBezTo>
                <a:cubicBezTo>
                  <a:pt x="2123" y="332"/>
                  <a:pt x="2124" y="329"/>
                  <a:pt x="2125" y="327"/>
                </a:cubicBezTo>
                <a:cubicBezTo>
                  <a:pt x="2127" y="324"/>
                  <a:pt x="2127" y="322"/>
                  <a:pt x="2128" y="321"/>
                </a:cubicBezTo>
                <a:cubicBezTo>
                  <a:pt x="2129" y="319"/>
                  <a:pt x="2129" y="318"/>
                  <a:pt x="2130" y="317"/>
                </a:cubicBezTo>
                <a:cubicBezTo>
                  <a:pt x="2130" y="317"/>
                  <a:pt x="2131" y="317"/>
                  <a:pt x="2131" y="317"/>
                </a:cubicBezTo>
                <a:cubicBezTo>
                  <a:pt x="2131" y="317"/>
                  <a:pt x="2132" y="317"/>
                  <a:pt x="2132" y="317"/>
                </a:cubicBezTo>
                <a:cubicBezTo>
                  <a:pt x="2133" y="317"/>
                  <a:pt x="2133" y="317"/>
                  <a:pt x="2134" y="318"/>
                </a:cubicBezTo>
                <a:cubicBezTo>
                  <a:pt x="2135" y="318"/>
                  <a:pt x="2136" y="319"/>
                  <a:pt x="2136" y="320"/>
                </a:cubicBezTo>
                <a:cubicBezTo>
                  <a:pt x="2137" y="321"/>
                  <a:pt x="2138" y="321"/>
                  <a:pt x="2138" y="322"/>
                </a:cubicBezTo>
                <a:cubicBezTo>
                  <a:pt x="2138" y="322"/>
                  <a:pt x="2139" y="323"/>
                  <a:pt x="2139" y="323"/>
                </a:cubicBezTo>
                <a:cubicBezTo>
                  <a:pt x="2139" y="324"/>
                  <a:pt x="2139" y="324"/>
                  <a:pt x="2140" y="324"/>
                </a:cubicBezTo>
                <a:cubicBezTo>
                  <a:pt x="2140" y="325"/>
                  <a:pt x="2140" y="325"/>
                  <a:pt x="2140" y="326"/>
                </a:cubicBezTo>
                <a:cubicBezTo>
                  <a:pt x="2140" y="326"/>
                  <a:pt x="2139" y="328"/>
                  <a:pt x="2139" y="330"/>
                </a:cubicBezTo>
                <a:cubicBezTo>
                  <a:pt x="2138" y="331"/>
                  <a:pt x="2137" y="334"/>
                  <a:pt x="2135" y="336"/>
                </a:cubicBezTo>
                <a:cubicBezTo>
                  <a:pt x="2134" y="339"/>
                  <a:pt x="2132" y="342"/>
                  <a:pt x="2130" y="345"/>
                </a:cubicBezTo>
                <a:cubicBezTo>
                  <a:pt x="2128" y="348"/>
                  <a:pt x="2125" y="351"/>
                  <a:pt x="2122" y="354"/>
                </a:cubicBezTo>
                <a:cubicBezTo>
                  <a:pt x="2117" y="360"/>
                  <a:pt x="2111" y="364"/>
                  <a:pt x="2106" y="366"/>
                </a:cubicBezTo>
                <a:cubicBezTo>
                  <a:pt x="2100" y="369"/>
                  <a:pt x="2095" y="370"/>
                  <a:pt x="2089" y="370"/>
                </a:cubicBezTo>
                <a:cubicBezTo>
                  <a:pt x="2083" y="369"/>
                  <a:pt x="2078" y="368"/>
                  <a:pt x="2072" y="365"/>
                </a:cubicBezTo>
                <a:cubicBezTo>
                  <a:pt x="2066" y="362"/>
                  <a:pt x="2060" y="357"/>
                  <a:pt x="2054" y="351"/>
                </a:cubicBezTo>
                <a:cubicBezTo>
                  <a:pt x="2049" y="346"/>
                  <a:pt x="2045" y="340"/>
                  <a:pt x="2042" y="334"/>
                </a:cubicBezTo>
                <a:cubicBezTo>
                  <a:pt x="2039" y="328"/>
                  <a:pt x="2037" y="323"/>
                  <a:pt x="2037" y="317"/>
                </a:cubicBezTo>
                <a:cubicBezTo>
                  <a:pt x="2036" y="311"/>
                  <a:pt x="2037" y="305"/>
                  <a:pt x="2039" y="300"/>
                </a:cubicBezTo>
                <a:cubicBezTo>
                  <a:pt x="2041" y="294"/>
                  <a:pt x="2045" y="289"/>
                  <a:pt x="2050" y="285"/>
                </a:cubicBezTo>
                <a:cubicBezTo>
                  <a:pt x="2055" y="280"/>
                  <a:pt x="2060" y="276"/>
                  <a:pt x="2065" y="274"/>
                </a:cubicBezTo>
                <a:cubicBezTo>
                  <a:pt x="2070" y="272"/>
                  <a:pt x="2075" y="271"/>
                  <a:pt x="2080" y="272"/>
                </a:cubicBezTo>
                <a:cubicBezTo>
                  <a:pt x="2085" y="272"/>
                  <a:pt x="2090" y="274"/>
                  <a:pt x="2095" y="276"/>
                </a:cubicBezTo>
                <a:cubicBezTo>
                  <a:pt x="2100" y="279"/>
                  <a:pt x="2104" y="283"/>
                  <a:pt x="2109" y="287"/>
                </a:cubicBezTo>
                <a:lnTo>
                  <a:pt x="2111" y="289"/>
                </a:lnTo>
                <a:close/>
                <a:moveTo>
                  <a:pt x="2095" y="297"/>
                </a:moveTo>
                <a:cubicBezTo>
                  <a:pt x="2089" y="291"/>
                  <a:pt x="2083" y="287"/>
                  <a:pt x="2077" y="287"/>
                </a:cubicBezTo>
                <a:cubicBezTo>
                  <a:pt x="2070" y="286"/>
                  <a:pt x="2064" y="289"/>
                  <a:pt x="2058" y="294"/>
                </a:cubicBezTo>
                <a:cubicBezTo>
                  <a:pt x="2055" y="297"/>
                  <a:pt x="2053" y="301"/>
                  <a:pt x="2052" y="304"/>
                </a:cubicBezTo>
                <a:cubicBezTo>
                  <a:pt x="2051" y="307"/>
                  <a:pt x="2051" y="310"/>
                  <a:pt x="2051" y="314"/>
                </a:cubicBezTo>
                <a:cubicBezTo>
                  <a:pt x="2051" y="317"/>
                  <a:pt x="2052" y="320"/>
                  <a:pt x="2054" y="324"/>
                </a:cubicBezTo>
                <a:cubicBezTo>
                  <a:pt x="2055" y="327"/>
                  <a:pt x="2058" y="330"/>
                  <a:pt x="2060" y="333"/>
                </a:cubicBezTo>
                <a:lnTo>
                  <a:pt x="2095" y="297"/>
                </a:lnTo>
                <a:close/>
                <a:moveTo>
                  <a:pt x="2226" y="244"/>
                </a:moveTo>
                <a:cubicBezTo>
                  <a:pt x="2226" y="245"/>
                  <a:pt x="2226" y="245"/>
                  <a:pt x="2226" y="246"/>
                </a:cubicBezTo>
                <a:cubicBezTo>
                  <a:pt x="2226" y="246"/>
                  <a:pt x="2226" y="247"/>
                  <a:pt x="2226" y="247"/>
                </a:cubicBezTo>
                <a:cubicBezTo>
                  <a:pt x="2226" y="248"/>
                  <a:pt x="2225" y="249"/>
                  <a:pt x="2225" y="249"/>
                </a:cubicBezTo>
                <a:cubicBezTo>
                  <a:pt x="2224" y="250"/>
                  <a:pt x="2223" y="251"/>
                  <a:pt x="2222" y="252"/>
                </a:cubicBezTo>
                <a:cubicBezTo>
                  <a:pt x="2221" y="254"/>
                  <a:pt x="2220" y="255"/>
                  <a:pt x="2219" y="255"/>
                </a:cubicBezTo>
                <a:cubicBezTo>
                  <a:pt x="2218" y="256"/>
                  <a:pt x="2217" y="256"/>
                  <a:pt x="2217" y="257"/>
                </a:cubicBezTo>
                <a:cubicBezTo>
                  <a:pt x="2216" y="257"/>
                  <a:pt x="2215" y="257"/>
                  <a:pt x="2215" y="257"/>
                </a:cubicBezTo>
                <a:cubicBezTo>
                  <a:pt x="2215" y="257"/>
                  <a:pt x="2214" y="257"/>
                  <a:pt x="2214" y="256"/>
                </a:cubicBezTo>
                <a:lnTo>
                  <a:pt x="2176" y="218"/>
                </a:lnTo>
                <a:cubicBezTo>
                  <a:pt x="2172" y="215"/>
                  <a:pt x="2169" y="212"/>
                  <a:pt x="2166" y="210"/>
                </a:cubicBezTo>
                <a:cubicBezTo>
                  <a:pt x="2163" y="209"/>
                  <a:pt x="2161" y="208"/>
                  <a:pt x="2158" y="207"/>
                </a:cubicBezTo>
                <a:cubicBezTo>
                  <a:pt x="2155" y="206"/>
                  <a:pt x="2152" y="207"/>
                  <a:pt x="2150" y="208"/>
                </a:cubicBezTo>
                <a:cubicBezTo>
                  <a:pt x="2147" y="208"/>
                  <a:pt x="2145" y="210"/>
                  <a:pt x="2142" y="212"/>
                </a:cubicBezTo>
                <a:cubicBezTo>
                  <a:pt x="2139" y="215"/>
                  <a:pt x="2138" y="219"/>
                  <a:pt x="2137" y="224"/>
                </a:cubicBezTo>
                <a:cubicBezTo>
                  <a:pt x="2136" y="229"/>
                  <a:pt x="2136" y="236"/>
                  <a:pt x="2137" y="243"/>
                </a:cubicBezTo>
                <a:lnTo>
                  <a:pt x="2182" y="288"/>
                </a:lnTo>
                <a:cubicBezTo>
                  <a:pt x="2182" y="289"/>
                  <a:pt x="2182" y="289"/>
                  <a:pt x="2182" y="289"/>
                </a:cubicBezTo>
                <a:cubicBezTo>
                  <a:pt x="2183" y="290"/>
                  <a:pt x="2182" y="290"/>
                  <a:pt x="2182" y="291"/>
                </a:cubicBezTo>
                <a:cubicBezTo>
                  <a:pt x="2182" y="292"/>
                  <a:pt x="2182" y="292"/>
                  <a:pt x="2181" y="293"/>
                </a:cubicBezTo>
                <a:cubicBezTo>
                  <a:pt x="2180" y="294"/>
                  <a:pt x="2179" y="295"/>
                  <a:pt x="2178" y="296"/>
                </a:cubicBezTo>
                <a:cubicBezTo>
                  <a:pt x="2177" y="297"/>
                  <a:pt x="2176" y="298"/>
                  <a:pt x="2175" y="299"/>
                </a:cubicBezTo>
                <a:cubicBezTo>
                  <a:pt x="2174" y="300"/>
                  <a:pt x="2173" y="300"/>
                  <a:pt x="2173" y="300"/>
                </a:cubicBezTo>
                <a:cubicBezTo>
                  <a:pt x="2172" y="301"/>
                  <a:pt x="2172" y="301"/>
                  <a:pt x="2171" y="301"/>
                </a:cubicBezTo>
                <a:cubicBezTo>
                  <a:pt x="2171" y="301"/>
                  <a:pt x="2170" y="300"/>
                  <a:pt x="2170" y="300"/>
                </a:cubicBezTo>
                <a:lnTo>
                  <a:pt x="2105" y="235"/>
                </a:lnTo>
                <a:cubicBezTo>
                  <a:pt x="2105" y="235"/>
                  <a:pt x="2105" y="235"/>
                  <a:pt x="2105" y="234"/>
                </a:cubicBezTo>
                <a:cubicBezTo>
                  <a:pt x="2104" y="234"/>
                  <a:pt x="2104" y="233"/>
                  <a:pt x="2105" y="233"/>
                </a:cubicBezTo>
                <a:cubicBezTo>
                  <a:pt x="2105" y="232"/>
                  <a:pt x="2105" y="231"/>
                  <a:pt x="2106" y="231"/>
                </a:cubicBezTo>
                <a:cubicBezTo>
                  <a:pt x="2107" y="230"/>
                  <a:pt x="2107" y="229"/>
                  <a:pt x="2108" y="228"/>
                </a:cubicBezTo>
                <a:cubicBezTo>
                  <a:pt x="2110" y="227"/>
                  <a:pt x="2110" y="226"/>
                  <a:pt x="2111" y="225"/>
                </a:cubicBezTo>
                <a:cubicBezTo>
                  <a:pt x="2112" y="225"/>
                  <a:pt x="2113" y="224"/>
                  <a:pt x="2113" y="224"/>
                </a:cubicBezTo>
                <a:cubicBezTo>
                  <a:pt x="2114" y="224"/>
                  <a:pt x="2114" y="224"/>
                  <a:pt x="2115" y="224"/>
                </a:cubicBezTo>
                <a:cubicBezTo>
                  <a:pt x="2115" y="224"/>
                  <a:pt x="2116" y="224"/>
                  <a:pt x="2116" y="225"/>
                </a:cubicBezTo>
                <a:lnTo>
                  <a:pt x="2125" y="233"/>
                </a:lnTo>
                <a:cubicBezTo>
                  <a:pt x="2124" y="225"/>
                  <a:pt x="2125" y="219"/>
                  <a:pt x="2126" y="213"/>
                </a:cubicBezTo>
                <a:cubicBezTo>
                  <a:pt x="2128" y="208"/>
                  <a:pt x="2131" y="203"/>
                  <a:pt x="2135" y="200"/>
                </a:cubicBezTo>
                <a:cubicBezTo>
                  <a:pt x="2139" y="195"/>
                  <a:pt x="2143" y="192"/>
                  <a:pt x="2148" y="191"/>
                </a:cubicBezTo>
                <a:cubicBezTo>
                  <a:pt x="2152" y="189"/>
                  <a:pt x="2156" y="189"/>
                  <a:pt x="2161" y="190"/>
                </a:cubicBezTo>
                <a:cubicBezTo>
                  <a:pt x="2165" y="190"/>
                  <a:pt x="2169" y="192"/>
                  <a:pt x="2173" y="194"/>
                </a:cubicBezTo>
                <a:cubicBezTo>
                  <a:pt x="2177" y="197"/>
                  <a:pt x="2182" y="200"/>
                  <a:pt x="2186" y="205"/>
                </a:cubicBezTo>
                <a:lnTo>
                  <a:pt x="2226" y="244"/>
                </a:lnTo>
                <a:close/>
                <a:moveTo>
                  <a:pt x="2278" y="182"/>
                </a:moveTo>
                <a:cubicBezTo>
                  <a:pt x="2279" y="184"/>
                  <a:pt x="2280" y="185"/>
                  <a:pt x="2281" y="186"/>
                </a:cubicBezTo>
                <a:cubicBezTo>
                  <a:pt x="2282" y="187"/>
                  <a:pt x="2282" y="188"/>
                  <a:pt x="2282" y="189"/>
                </a:cubicBezTo>
                <a:cubicBezTo>
                  <a:pt x="2282" y="189"/>
                  <a:pt x="2282" y="190"/>
                  <a:pt x="2281" y="191"/>
                </a:cubicBezTo>
                <a:cubicBezTo>
                  <a:pt x="2281" y="193"/>
                  <a:pt x="2280" y="194"/>
                  <a:pt x="2280" y="195"/>
                </a:cubicBezTo>
                <a:cubicBezTo>
                  <a:pt x="2279" y="196"/>
                  <a:pt x="2278" y="197"/>
                  <a:pt x="2277" y="199"/>
                </a:cubicBezTo>
                <a:cubicBezTo>
                  <a:pt x="2276" y="200"/>
                  <a:pt x="2275" y="201"/>
                  <a:pt x="2274" y="202"/>
                </a:cubicBezTo>
                <a:cubicBezTo>
                  <a:pt x="2270" y="205"/>
                  <a:pt x="2267" y="208"/>
                  <a:pt x="2264" y="209"/>
                </a:cubicBezTo>
                <a:cubicBezTo>
                  <a:pt x="2261" y="211"/>
                  <a:pt x="2257" y="212"/>
                  <a:pt x="2254" y="211"/>
                </a:cubicBezTo>
                <a:cubicBezTo>
                  <a:pt x="2251" y="211"/>
                  <a:pt x="2247" y="210"/>
                  <a:pt x="2244" y="208"/>
                </a:cubicBezTo>
                <a:cubicBezTo>
                  <a:pt x="2240" y="206"/>
                  <a:pt x="2237" y="203"/>
                  <a:pt x="2233" y="199"/>
                </a:cubicBezTo>
                <a:lnTo>
                  <a:pt x="2195" y="161"/>
                </a:lnTo>
                <a:lnTo>
                  <a:pt x="2186" y="170"/>
                </a:lnTo>
                <a:cubicBezTo>
                  <a:pt x="2185" y="171"/>
                  <a:pt x="2185" y="171"/>
                  <a:pt x="2183" y="171"/>
                </a:cubicBezTo>
                <a:cubicBezTo>
                  <a:pt x="2182" y="171"/>
                  <a:pt x="2181" y="170"/>
                  <a:pt x="2179" y="168"/>
                </a:cubicBezTo>
                <a:cubicBezTo>
                  <a:pt x="2178" y="167"/>
                  <a:pt x="2177" y="166"/>
                  <a:pt x="2177" y="165"/>
                </a:cubicBezTo>
                <a:cubicBezTo>
                  <a:pt x="2176" y="165"/>
                  <a:pt x="2176" y="164"/>
                  <a:pt x="2176" y="163"/>
                </a:cubicBezTo>
                <a:cubicBezTo>
                  <a:pt x="2176" y="163"/>
                  <a:pt x="2176" y="162"/>
                  <a:pt x="2176" y="162"/>
                </a:cubicBezTo>
                <a:cubicBezTo>
                  <a:pt x="2176" y="161"/>
                  <a:pt x="2176" y="161"/>
                  <a:pt x="2176" y="160"/>
                </a:cubicBezTo>
                <a:lnTo>
                  <a:pt x="2185" y="151"/>
                </a:lnTo>
                <a:lnTo>
                  <a:pt x="2170" y="136"/>
                </a:lnTo>
                <a:cubicBezTo>
                  <a:pt x="2170" y="136"/>
                  <a:pt x="2169" y="135"/>
                  <a:pt x="2169" y="135"/>
                </a:cubicBezTo>
                <a:cubicBezTo>
                  <a:pt x="2169" y="134"/>
                  <a:pt x="2169" y="134"/>
                  <a:pt x="2170" y="133"/>
                </a:cubicBezTo>
                <a:cubicBezTo>
                  <a:pt x="2170" y="133"/>
                  <a:pt x="2170" y="132"/>
                  <a:pt x="2171" y="131"/>
                </a:cubicBezTo>
                <a:cubicBezTo>
                  <a:pt x="2172" y="130"/>
                  <a:pt x="2173" y="129"/>
                  <a:pt x="2174" y="128"/>
                </a:cubicBezTo>
                <a:cubicBezTo>
                  <a:pt x="2175" y="127"/>
                  <a:pt x="2176" y="126"/>
                  <a:pt x="2177" y="125"/>
                </a:cubicBezTo>
                <a:cubicBezTo>
                  <a:pt x="2178" y="124"/>
                  <a:pt x="2178" y="124"/>
                  <a:pt x="2179" y="124"/>
                </a:cubicBezTo>
                <a:cubicBezTo>
                  <a:pt x="2180" y="124"/>
                  <a:pt x="2180" y="124"/>
                  <a:pt x="2181" y="124"/>
                </a:cubicBezTo>
                <a:cubicBezTo>
                  <a:pt x="2181" y="124"/>
                  <a:pt x="2182" y="124"/>
                  <a:pt x="2182" y="124"/>
                </a:cubicBezTo>
                <a:lnTo>
                  <a:pt x="2197" y="140"/>
                </a:lnTo>
                <a:lnTo>
                  <a:pt x="2214" y="123"/>
                </a:lnTo>
                <a:cubicBezTo>
                  <a:pt x="2214" y="123"/>
                  <a:pt x="2215" y="122"/>
                  <a:pt x="2215" y="122"/>
                </a:cubicBezTo>
                <a:cubicBezTo>
                  <a:pt x="2216" y="122"/>
                  <a:pt x="2216" y="122"/>
                  <a:pt x="2217" y="122"/>
                </a:cubicBezTo>
                <a:cubicBezTo>
                  <a:pt x="2217" y="123"/>
                  <a:pt x="2218" y="123"/>
                  <a:pt x="2219" y="123"/>
                </a:cubicBezTo>
                <a:cubicBezTo>
                  <a:pt x="2219" y="124"/>
                  <a:pt x="2220" y="125"/>
                  <a:pt x="2221" y="126"/>
                </a:cubicBezTo>
                <a:cubicBezTo>
                  <a:pt x="2223" y="127"/>
                  <a:pt x="2224" y="129"/>
                  <a:pt x="2224" y="130"/>
                </a:cubicBezTo>
                <a:cubicBezTo>
                  <a:pt x="2225" y="131"/>
                  <a:pt x="2224" y="132"/>
                  <a:pt x="2224" y="133"/>
                </a:cubicBezTo>
                <a:lnTo>
                  <a:pt x="2207" y="149"/>
                </a:lnTo>
                <a:lnTo>
                  <a:pt x="2243" y="186"/>
                </a:lnTo>
                <a:cubicBezTo>
                  <a:pt x="2248" y="190"/>
                  <a:pt x="2252" y="193"/>
                  <a:pt x="2255" y="194"/>
                </a:cubicBezTo>
                <a:cubicBezTo>
                  <a:pt x="2259" y="195"/>
                  <a:pt x="2262" y="193"/>
                  <a:pt x="2266" y="190"/>
                </a:cubicBezTo>
                <a:cubicBezTo>
                  <a:pt x="2267" y="189"/>
                  <a:pt x="2268" y="188"/>
                  <a:pt x="2268" y="187"/>
                </a:cubicBezTo>
                <a:cubicBezTo>
                  <a:pt x="2269" y="186"/>
                  <a:pt x="2270" y="185"/>
                  <a:pt x="2270" y="184"/>
                </a:cubicBezTo>
                <a:cubicBezTo>
                  <a:pt x="2270" y="183"/>
                  <a:pt x="2271" y="182"/>
                  <a:pt x="2271" y="181"/>
                </a:cubicBezTo>
                <a:cubicBezTo>
                  <a:pt x="2271" y="181"/>
                  <a:pt x="2272" y="180"/>
                  <a:pt x="2272" y="180"/>
                </a:cubicBezTo>
                <a:cubicBezTo>
                  <a:pt x="2272" y="179"/>
                  <a:pt x="2272" y="179"/>
                  <a:pt x="2273" y="179"/>
                </a:cubicBezTo>
                <a:cubicBezTo>
                  <a:pt x="2273" y="179"/>
                  <a:pt x="2274" y="179"/>
                  <a:pt x="2274" y="179"/>
                </a:cubicBezTo>
                <a:cubicBezTo>
                  <a:pt x="2274" y="180"/>
                  <a:pt x="2275" y="180"/>
                  <a:pt x="2276" y="180"/>
                </a:cubicBezTo>
                <a:cubicBezTo>
                  <a:pt x="2276" y="181"/>
                  <a:pt x="2277" y="182"/>
                  <a:pt x="2278" y="182"/>
                </a:cubicBezTo>
                <a:close/>
                <a:moveTo>
                  <a:pt x="2306" y="164"/>
                </a:moveTo>
                <a:cubicBezTo>
                  <a:pt x="2307" y="164"/>
                  <a:pt x="2307" y="164"/>
                  <a:pt x="2307" y="165"/>
                </a:cubicBezTo>
                <a:cubicBezTo>
                  <a:pt x="2307" y="165"/>
                  <a:pt x="2307" y="166"/>
                  <a:pt x="2307" y="167"/>
                </a:cubicBezTo>
                <a:cubicBezTo>
                  <a:pt x="2306" y="167"/>
                  <a:pt x="2306" y="168"/>
                  <a:pt x="2305" y="169"/>
                </a:cubicBezTo>
                <a:cubicBezTo>
                  <a:pt x="2305" y="170"/>
                  <a:pt x="2304" y="171"/>
                  <a:pt x="2302" y="172"/>
                </a:cubicBezTo>
                <a:cubicBezTo>
                  <a:pt x="2301" y="173"/>
                  <a:pt x="2300" y="174"/>
                  <a:pt x="2299" y="175"/>
                </a:cubicBezTo>
                <a:cubicBezTo>
                  <a:pt x="2299" y="175"/>
                  <a:pt x="2298" y="176"/>
                  <a:pt x="2297" y="176"/>
                </a:cubicBezTo>
                <a:cubicBezTo>
                  <a:pt x="2297" y="176"/>
                  <a:pt x="2296" y="176"/>
                  <a:pt x="2296" y="176"/>
                </a:cubicBezTo>
                <a:cubicBezTo>
                  <a:pt x="2295" y="176"/>
                  <a:pt x="2295" y="176"/>
                  <a:pt x="2294" y="176"/>
                </a:cubicBezTo>
                <a:lnTo>
                  <a:pt x="2230" y="111"/>
                </a:lnTo>
                <a:cubicBezTo>
                  <a:pt x="2229" y="111"/>
                  <a:pt x="2229" y="110"/>
                  <a:pt x="2229" y="110"/>
                </a:cubicBezTo>
                <a:cubicBezTo>
                  <a:pt x="2229" y="109"/>
                  <a:pt x="2229" y="109"/>
                  <a:pt x="2229" y="108"/>
                </a:cubicBezTo>
                <a:cubicBezTo>
                  <a:pt x="2230" y="107"/>
                  <a:pt x="2230" y="107"/>
                  <a:pt x="2231" y="106"/>
                </a:cubicBezTo>
                <a:cubicBezTo>
                  <a:pt x="2231" y="105"/>
                  <a:pt x="2232" y="104"/>
                  <a:pt x="2233" y="103"/>
                </a:cubicBezTo>
                <a:cubicBezTo>
                  <a:pt x="2235" y="102"/>
                  <a:pt x="2236" y="101"/>
                  <a:pt x="2236" y="100"/>
                </a:cubicBezTo>
                <a:cubicBezTo>
                  <a:pt x="2237" y="99"/>
                  <a:pt x="2238" y="99"/>
                  <a:pt x="2239" y="99"/>
                </a:cubicBezTo>
                <a:cubicBezTo>
                  <a:pt x="2239" y="98"/>
                  <a:pt x="2240" y="98"/>
                  <a:pt x="2240" y="98"/>
                </a:cubicBezTo>
                <a:cubicBezTo>
                  <a:pt x="2241" y="98"/>
                  <a:pt x="2241" y="99"/>
                  <a:pt x="2242" y="99"/>
                </a:cubicBezTo>
                <a:lnTo>
                  <a:pt x="2306" y="164"/>
                </a:lnTo>
                <a:close/>
                <a:moveTo>
                  <a:pt x="2221" y="76"/>
                </a:moveTo>
                <a:cubicBezTo>
                  <a:pt x="2224" y="79"/>
                  <a:pt x="2225" y="81"/>
                  <a:pt x="2225" y="83"/>
                </a:cubicBezTo>
                <a:cubicBezTo>
                  <a:pt x="2225" y="85"/>
                  <a:pt x="2224" y="88"/>
                  <a:pt x="2221" y="90"/>
                </a:cubicBezTo>
                <a:cubicBezTo>
                  <a:pt x="2218" y="93"/>
                  <a:pt x="2216" y="95"/>
                  <a:pt x="2214" y="95"/>
                </a:cubicBezTo>
                <a:cubicBezTo>
                  <a:pt x="2212" y="95"/>
                  <a:pt x="2209" y="93"/>
                  <a:pt x="2207" y="91"/>
                </a:cubicBezTo>
                <a:cubicBezTo>
                  <a:pt x="2204" y="88"/>
                  <a:pt x="2202" y="85"/>
                  <a:pt x="2203" y="83"/>
                </a:cubicBezTo>
                <a:cubicBezTo>
                  <a:pt x="2203" y="81"/>
                  <a:pt x="2204" y="79"/>
                  <a:pt x="2207" y="76"/>
                </a:cubicBezTo>
                <a:cubicBezTo>
                  <a:pt x="2210" y="73"/>
                  <a:pt x="2212" y="72"/>
                  <a:pt x="2214" y="72"/>
                </a:cubicBezTo>
                <a:cubicBezTo>
                  <a:pt x="2216" y="72"/>
                  <a:pt x="2218" y="73"/>
                  <a:pt x="2221" y="76"/>
                </a:cubicBezTo>
                <a:close/>
                <a:moveTo>
                  <a:pt x="2340" y="130"/>
                </a:moveTo>
                <a:cubicBezTo>
                  <a:pt x="2341" y="130"/>
                  <a:pt x="2341" y="131"/>
                  <a:pt x="2341" y="131"/>
                </a:cubicBezTo>
                <a:cubicBezTo>
                  <a:pt x="2341" y="131"/>
                  <a:pt x="2341" y="132"/>
                  <a:pt x="2341" y="133"/>
                </a:cubicBezTo>
                <a:cubicBezTo>
                  <a:pt x="2340" y="133"/>
                  <a:pt x="2340" y="134"/>
                  <a:pt x="2339" y="135"/>
                </a:cubicBezTo>
                <a:cubicBezTo>
                  <a:pt x="2339" y="136"/>
                  <a:pt x="2338" y="137"/>
                  <a:pt x="2336" y="138"/>
                </a:cubicBezTo>
                <a:cubicBezTo>
                  <a:pt x="2335" y="139"/>
                  <a:pt x="2334" y="140"/>
                  <a:pt x="2333" y="141"/>
                </a:cubicBezTo>
                <a:cubicBezTo>
                  <a:pt x="2333" y="141"/>
                  <a:pt x="2332" y="142"/>
                  <a:pt x="2331" y="142"/>
                </a:cubicBezTo>
                <a:cubicBezTo>
                  <a:pt x="2331" y="142"/>
                  <a:pt x="2330" y="142"/>
                  <a:pt x="2330" y="142"/>
                </a:cubicBezTo>
                <a:cubicBezTo>
                  <a:pt x="2329" y="142"/>
                  <a:pt x="2329" y="142"/>
                  <a:pt x="2328" y="142"/>
                </a:cubicBezTo>
                <a:lnTo>
                  <a:pt x="2232" y="46"/>
                </a:lnTo>
                <a:cubicBezTo>
                  <a:pt x="2232" y="45"/>
                  <a:pt x="2232" y="45"/>
                  <a:pt x="2232" y="44"/>
                </a:cubicBezTo>
                <a:cubicBezTo>
                  <a:pt x="2232" y="44"/>
                  <a:pt x="2232" y="43"/>
                  <a:pt x="2232" y="43"/>
                </a:cubicBezTo>
                <a:cubicBezTo>
                  <a:pt x="2232" y="42"/>
                  <a:pt x="2233" y="41"/>
                  <a:pt x="2233" y="40"/>
                </a:cubicBezTo>
                <a:cubicBezTo>
                  <a:pt x="2234" y="40"/>
                  <a:pt x="2235" y="39"/>
                  <a:pt x="2236" y="37"/>
                </a:cubicBezTo>
                <a:cubicBezTo>
                  <a:pt x="2237" y="36"/>
                  <a:pt x="2238" y="35"/>
                  <a:pt x="2239" y="35"/>
                </a:cubicBezTo>
                <a:cubicBezTo>
                  <a:pt x="2240" y="34"/>
                  <a:pt x="2241" y="34"/>
                  <a:pt x="2241" y="33"/>
                </a:cubicBezTo>
                <a:cubicBezTo>
                  <a:pt x="2242" y="33"/>
                  <a:pt x="2242" y="33"/>
                  <a:pt x="2243" y="33"/>
                </a:cubicBezTo>
                <a:cubicBezTo>
                  <a:pt x="2243" y="33"/>
                  <a:pt x="2244" y="33"/>
                  <a:pt x="2244" y="34"/>
                </a:cubicBezTo>
                <a:lnTo>
                  <a:pt x="2340" y="130"/>
                </a:lnTo>
                <a:close/>
                <a:moveTo>
                  <a:pt x="2382" y="17"/>
                </a:moveTo>
                <a:cubicBezTo>
                  <a:pt x="2384" y="19"/>
                  <a:pt x="2385" y="21"/>
                  <a:pt x="2385" y="23"/>
                </a:cubicBezTo>
                <a:cubicBezTo>
                  <a:pt x="2385" y="24"/>
                  <a:pt x="2384" y="26"/>
                  <a:pt x="2383" y="27"/>
                </a:cubicBezTo>
                <a:lnTo>
                  <a:pt x="2340" y="70"/>
                </a:lnTo>
                <a:cubicBezTo>
                  <a:pt x="2344" y="73"/>
                  <a:pt x="2347" y="76"/>
                  <a:pt x="2351" y="78"/>
                </a:cubicBezTo>
                <a:cubicBezTo>
                  <a:pt x="2355" y="80"/>
                  <a:pt x="2358" y="82"/>
                  <a:pt x="2362" y="82"/>
                </a:cubicBezTo>
                <a:cubicBezTo>
                  <a:pt x="2366" y="83"/>
                  <a:pt x="2370" y="82"/>
                  <a:pt x="2373" y="80"/>
                </a:cubicBezTo>
                <a:cubicBezTo>
                  <a:pt x="2377" y="79"/>
                  <a:pt x="2381" y="76"/>
                  <a:pt x="2385" y="72"/>
                </a:cubicBezTo>
                <a:cubicBezTo>
                  <a:pt x="2388" y="69"/>
                  <a:pt x="2390" y="66"/>
                  <a:pt x="2392" y="63"/>
                </a:cubicBezTo>
                <a:cubicBezTo>
                  <a:pt x="2394" y="60"/>
                  <a:pt x="2396" y="58"/>
                  <a:pt x="2397" y="55"/>
                </a:cubicBezTo>
                <a:cubicBezTo>
                  <a:pt x="2398" y="53"/>
                  <a:pt x="2399" y="51"/>
                  <a:pt x="2400" y="49"/>
                </a:cubicBezTo>
                <a:cubicBezTo>
                  <a:pt x="2400" y="48"/>
                  <a:pt x="2401" y="46"/>
                  <a:pt x="2401" y="46"/>
                </a:cubicBezTo>
                <a:cubicBezTo>
                  <a:pt x="2402" y="45"/>
                  <a:pt x="2402" y="45"/>
                  <a:pt x="2403" y="45"/>
                </a:cubicBezTo>
                <a:cubicBezTo>
                  <a:pt x="2403" y="45"/>
                  <a:pt x="2403" y="45"/>
                  <a:pt x="2404" y="45"/>
                </a:cubicBezTo>
                <a:cubicBezTo>
                  <a:pt x="2404" y="46"/>
                  <a:pt x="2405" y="46"/>
                  <a:pt x="2406" y="46"/>
                </a:cubicBezTo>
                <a:cubicBezTo>
                  <a:pt x="2406" y="47"/>
                  <a:pt x="2407" y="48"/>
                  <a:pt x="2408" y="48"/>
                </a:cubicBezTo>
                <a:cubicBezTo>
                  <a:pt x="2409" y="49"/>
                  <a:pt x="2409" y="50"/>
                  <a:pt x="2409" y="50"/>
                </a:cubicBezTo>
                <a:cubicBezTo>
                  <a:pt x="2410" y="51"/>
                  <a:pt x="2410" y="51"/>
                  <a:pt x="2411" y="52"/>
                </a:cubicBezTo>
                <a:cubicBezTo>
                  <a:pt x="2411" y="52"/>
                  <a:pt x="2411" y="52"/>
                  <a:pt x="2411" y="53"/>
                </a:cubicBezTo>
                <a:cubicBezTo>
                  <a:pt x="2411" y="53"/>
                  <a:pt x="2411" y="54"/>
                  <a:pt x="2411" y="54"/>
                </a:cubicBezTo>
                <a:cubicBezTo>
                  <a:pt x="2411" y="55"/>
                  <a:pt x="2411" y="56"/>
                  <a:pt x="2410" y="58"/>
                </a:cubicBezTo>
                <a:cubicBezTo>
                  <a:pt x="2410" y="60"/>
                  <a:pt x="2408" y="62"/>
                  <a:pt x="2407" y="65"/>
                </a:cubicBezTo>
                <a:cubicBezTo>
                  <a:pt x="2406" y="67"/>
                  <a:pt x="2404" y="70"/>
                  <a:pt x="2401" y="73"/>
                </a:cubicBezTo>
                <a:cubicBezTo>
                  <a:pt x="2399" y="77"/>
                  <a:pt x="2396" y="80"/>
                  <a:pt x="2393" y="83"/>
                </a:cubicBezTo>
                <a:cubicBezTo>
                  <a:pt x="2388" y="88"/>
                  <a:pt x="2383" y="92"/>
                  <a:pt x="2377" y="95"/>
                </a:cubicBezTo>
                <a:cubicBezTo>
                  <a:pt x="2372" y="97"/>
                  <a:pt x="2366" y="98"/>
                  <a:pt x="2361" y="98"/>
                </a:cubicBezTo>
                <a:cubicBezTo>
                  <a:pt x="2355" y="98"/>
                  <a:pt x="2349" y="96"/>
                  <a:pt x="2343" y="93"/>
                </a:cubicBezTo>
                <a:cubicBezTo>
                  <a:pt x="2338" y="90"/>
                  <a:pt x="2332" y="86"/>
                  <a:pt x="2326" y="80"/>
                </a:cubicBezTo>
                <a:cubicBezTo>
                  <a:pt x="2320" y="74"/>
                  <a:pt x="2316" y="69"/>
                  <a:pt x="2313" y="63"/>
                </a:cubicBezTo>
                <a:cubicBezTo>
                  <a:pt x="2310" y="57"/>
                  <a:pt x="2308" y="51"/>
                  <a:pt x="2308" y="45"/>
                </a:cubicBezTo>
                <a:cubicBezTo>
                  <a:pt x="2308" y="40"/>
                  <a:pt x="2309" y="34"/>
                  <a:pt x="2311" y="28"/>
                </a:cubicBezTo>
                <a:cubicBezTo>
                  <a:pt x="2313" y="23"/>
                  <a:pt x="2316" y="18"/>
                  <a:pt x="2321" y="13"/>
                </a:cubicBezTo>
                <a:cubicBezTo>
                  <a:pt x="2326" y="8"/>
                  <a:pt x="2331" y="4"/>
                  <a:pt x="2337" y="3"/>
                </a:cubicBezTo>
                <a:cubicBezTo>
                  <a:pt x="2342" y="1"/>
                  <a:pt x="2347" y="0"/>
                  <a:pt x="2352" y="0"/>
                </a:cubicBezTo>
                <a:cubicBezTo>
                  <a:pt x="2357" y="1"/>
                  <a:pt x="2362" y="2"/>
                  <a:pt x="2367" y="5"/>
                </a:cubicBezTo>
                <a:cubicBezTo>
                  <a:pt x="2371" y="8"/>
                  <a:pt x="2376" y="11"/>
                  <a:pt x="2380" y="15"/>
                </a:cubicBezTo>
                <a:lnTo>
                  <a:pt x="2382" y="17"/>
                </a:lnTo>
                <a:close/>
                <a:moveTo>
                  <a:pt x="2367" y="26"/>
                </a:moveTo>
                <a:cubicBezTo>
                  <a:pt x="2361" y="19"/>
                  <a:pt x="2355" y="16"/>
                  <a:pt x="2348" y="15"/>
                </a:cubicBezTo>
                <a:cubicBezTo>
                  <a:pt x="2342" y="15"/>
                  <a:pt x="2336" y="17"/>
                  <a:pt x="2330" y="23"/>
                </a:cubicBezTo>
                <a:cubicBezTo>
                  <a:pt x="2327" y="26"/>
                  <a:pt x="2325" y="29"/>
                  <a:pt x="2324" y="32"/>
                </a:cubicBezTo>
                <a:cubicBezTo>
                  <a:pt x="2323" y="36"/>
                  <a:pt x="2322" y="39"/>
                  <a:pt x="2323" y="42"/>
                </a:cubicBezTo>
                <a:cubicBezTo>
                  <a:pt x="2323" y="46"/>
                  <a:pt x="2324" y="49"/>
                  <a:pt x="2325" y="52"/>
                </a:cubicBezTo>
                <a:cubicBezTo>
                  <a:pt x="2327" y="55"/>
                  <a:pt x="2329" y="58"/>
                  <a:pt x="2332" y="61"/>
                </a:cubicBezTo>
                <a:lnTo>
                  <a:pt x="2367" y="26"/>
                </a:lnTo>
                <a:close/>
              </a:path>
            </a:pathLst>
          </a:custGeom>
          <a:solidFill>
            <a:srgbClr val="000000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105" name="Freeform 49"/>
          <p:cNvSpPr>
            <a:spLocks noEditPoints="1"/>
          </p:cNvSpPr>
          <p:nvPr/>
        </p:nvSpPr>
        <p:spPr bwMode="auto">
          <a:xfrm>
            <a:off x="5265997" y="3987093"/>
            <a:ext cx="1508125" cy="1474788"/>
          </a:xfrm>
          <a:custGeom>
            <a:avLst/>
            <a:gdLst/>
            <a:ahLst/>
            <a:cxnLst>
              <a:cxn ang="0">
                <a:pos x="1" y="2283"/>
              </a:cxn>
              <a:cxn ang="0">
                <a:pos x="106" y="2221"/>
              </a:cxn>
              <a:cxn ang="0">
                <a:pos x="286" y="2176"/>
              </a:cxn>
              <a:cxn ang="0">
                <a:pos x="172" y="2173"/>
              </a:cxn>
              <a:cxn ang="0">
                <a:pos x="157" y="2173"/>
              </a:cxn>
              <a:cxn ang="0">
                <a:pos x="337" y="2111"/>
              </a:cxn>
              <a:cxn ang="0">
                <a:pos x="260" y="2084"/>
              </a:cxn>
              <a:cxn ang="0">
                <a:pos x="424" y="2024"/>
              </a:cxn>
              <a:cxn ang="0">
                <a:pos x="436" y="2006"/>
              </a:cxn>
              <a:cxn ang="0">
                <a:pos x="472" y="1857"/>
              </a:cxn>
              <a:cxn ang="0">
                <a:pos x="434" y="1893"/>
              </a:cxn>
              <a:cxn ang="0">
                <a:pos x="498" y="1784"/>
              </a:cxn>
              <a:cxn ang="0">
                <a:pos x="559" y="1718"/>
              </a:cxn>
              <a:cxn ang="0">
                <a:pos x="670" y="1772"/>
              </a:cxn>
              <a:cxn ang="0">
                <a:pos x="648" y="1685"/>
              </a:cxn>
              <a:cxn ang="0">
                <a:pos x="682" y="1719"/>
              </a:cxn>
              <a:cxn ang="0">
                <a:pos x="782" y="1674"/>
              </a:cxn>
              <a:cxn ang="0">
                <a:pos x="693" y="1662"/>
              </a:cxn>
              <a:cxn ang="0">
                <a:pos x="816" y="1482"/>
              </a:cxn>
              <a:cxn ang="0">
                <a:pos x="970" y="1494"/>
              </a:cxn>
              <a:cxn ang="0">
                <a:pos x="914" y="1547"/>
              </a:cxn>
              <a:cxn ang="0">
                <a:pos x="982" y="1438"/>
              </a:cxn>
              <a:cxn ang="0">
                <a:pos x="974" y="1453"/>
              </a:cxn>
              <a:cxn ang="0">
                <a:pos x="1054" y="1296"/>
              </a:cxn>
              <a:cxn ang="0">
                <a:pos x="1008" y="1319"/>
              </a:cxn>
              <a:cxn ang="0">
                <a:pos x="1114" y="1232"/>
              </a:cxn>
              <a:cxn ang="0">
                <a:pos x="1164" y="1350"/>
              </a:cxn>
              <a:cxn ang="0">
                <a:pos x="1121" y="1216"/>
              </a:cxn>
              <a:cxn ang="0">
                <a:pos x="1154" y="1339"/>
              </a:cxn>
              <a:cxn ang="0">
                <a:pos x="1130" y="1196"/>
              </a:cxn>
              <a:cxn ang="0">
                <a:pos x="1357" y="1108"/>
              </a:cxn>
              <a:cxn ang="0">
                <a:pos x="1294" y="1019"/>
              </a:cxn>
              <a:cxn ang="0">
                <a:pos x="1434" y="1013"/>
              </a:cxn>
              <a:cxn ang="0">
                <a:pos x="1355" y="1020"/>
              </a:cxn>
              <a:cxn ang="0">
                <a:pos x="1452" y="985"/>
              </a:cxn>
              <a:cxn ang="0">
                <a:pos x="1420" y="904"/>
              </a:cxn>
              <a:cxn ang="0">
                <a:pos x="1440" y="938"/>
              </a:cxn>
              <a:cxn ang="0">
                <a:pos x="1452" y="880"/>
              </a:cxn>
              <a:cxn ang="0">
                <a:pos x="1483" y="864"/>
              </a:cxn>
              <a:cxn ang="0">
                <a:pos x="1613" y="686"/>
              </a:cxn>
              <a:cxn ang="0">
                <a:pos x="1517" y="764"/>
              </a:cxn>
              <a:cxn ang="0">
                <a:pos x="1777" y="688"/>
              </a:cxn>
              <a:cxn ang="0">
                <a:pos x="1685" y="661"/>
              </a:cxn>
              <a:cxn ang="0">
                <a:pos x="1714" y="694"/>
              </a:cxn>
              <a:cxn ang="0">
                <a:pos x="1763" y="589"/>
              </a:cxn>
              <a:cxn ang="0">
                <a:pos x="1761" y="564"/>
              </a:cxn>
              <a:cxn ang="0">
                <a:pos x="1853" y="534"/>
              </a:cxn>
              <a:cxn ang="0">
                <a:pos x="1844" y="484"/>
              </a:cxn>
              <a:cxn ang="0">
                <a:pos x="1953" y="437"/>
              </a:cxn>
              <a:cxn ang="0">
                <a:pos x="1947" y="535"/>
              </a:cxn>
              <a:cxn ang="0">
                <a:pos x="1906" y="437"/>
              </a:cxn>
              <a:cxn ang="0">
                <a:pos x="1996" y="495"/>
              </a:cxn>
              <a:cxn ang="0">
                <a:pos x="2060" y="396"/>
              </a:cxn>
              <a:cxn ang="0">
                <a:pos x="1971" y="384"/>
              </a:cxn>
              <a:cxn ang="0">
                <a:pos x="2145" y="319"/>
              </a:cxn>
              <a:cxn ang="0">
                <a:pos x="2090" y="370"/>
              </a:cxn>
              <a:cxn ang="0">
                <a:pos x="2121" y="219"/>
              </a:cxn>
              <a:cxn ang="0">
                <a:pos x="2252" y="202"/>
              </a:cxn>
              <a:cxn ang="0">
                <a:pos x="2165" y="182"/>
              </a:cxn>
              <a:cxn ang="0">
                <a:pos x="2295" y="167"/>
              </a:cxn>
              <a:cxn ang="0">
                <a:pos x="2286" y="72"/>
              </a:cxn>
              <a:cxn ang="0">
                <a:pos x="2298" y="29"/>
              </a:cxn>
              <a:cxn ang="0">
                <a:pos x="2381" y="64"/>
              </a:cxn>
            </a:cxnLst>
            <a:rect l="0" t="0" r="r" b="b"/>
            <a:pathLst>
              <a:path w="2395" h="2343">
                <a:moveTo>
                  <a:pt x="73" y="2216"/>
                </a:moveTo>
                <a:cubicBezTo>
                  <a:pt x="74" y="2217"/>
                  <a:pt x="75" y="2218"/>
                  <a:pt x="75" y="2218"/>
                </a:cubicBezTo>
                <a:cubicBezTo>
                  <a:pt x="76" y="2219"/>
                  <a:pt x="76" y="2220"/>
                  <a:pt x="76" y="2220"/>
                </a:cubicBezTo>
                <a:cubicBezTo>
                  <a:pt x="76" y="2221"/>
                  <a:pt x="76" y="2222"/>
                  <a:pt x="76" y="2222"/>
                </a:cubicBezTo>
                <a:cubicBezTo>
                  <a:pt x="76" y="2223"/>
                  <a:pt x="76" y="2223"/>
                  <a:pt x="76" y="2223"/>
                </a:cubicBezTo>
                <a:lnTo>
                  <a:pt x="49" y="2250"/>
                </a:lnTo>
                <a:lnTo>
                  <a:pt x="130" y="2330"/>
                </a:lnTo>
                <a:cubicBezTo>
                  <a:pt x="130" y="2330"/>
                  <a:pt x="131" y="2331"/>
                  <a:pt x="131" y="2331"/>
                </a:cubicBezTo>
                <a:cubicBezTo>
                  <a:pt x="131" y="2332"/>
                  <a:pt x="131" y="2332"/>
                  <a:pt x="130" y="2333"/>
                </a:cubicBezTo>
                <a:cubicBezTo>
                  <a:pt x="130" y="2334"/>
                  <a:pt x="130" y="2335"/>
                  <a:pt x="129" y="2335"/>
                </a:cubicBezTo>
                <a:cubicBezTo>
                  <a:pt x="128" y="2336"/>
                  <a:pt x="127" y="2337"/>
                  <a:pt x="126" y="2339"/>
                </a:cubicBezTo>
                <a:cubicBezTo>
                  <a:pt x="125" y="2340"/>
                  <a:pt x="124" y="2341"/>
                  <a:pt x="123" y="2341"/>
                </a:cubicBezTo>
                <a:cubicBezTo>
                  <a:pt x="122" y="2342"/>
                  <a:pt x="121" y="2343"/>
                  <a:pt x="121" y="2343"/>
                </a:cubicBezTo>
                <a:cubicBezTo>
                  <a:pt x="120" y="2343"/>
                  <a:pt x="119" y="2343"/>
                  <a:pt x="119" y="2343"/>
                </a:cubicBezTo>
                <a:cubicBezTo>
                  <a:pt x="118" y="2343"/>
                  <a:pt x="118" y="2343"/>
                  <a:pt x="118" y="2342"/>
                </a:cubicBezTo>
                <a:lnTo>
                  <a:pt x="37" y="2262"/>
                </a:lnTo>
                <a:lnTo>
                  <a:pt x="11" y="2288"/>
                </a:lnTo>
                <a:cubicBezTo>
                  <a:pt x="11" y="2288"/>
                  <a:pt x="10" y="2289"/>
                  <a:pt x="10" y="2289"/>
                </a:cubicBezTo>
                <a:cubicBezTo>
                  <a:pt x="9" y="2289"/>
                  <a:pt x="9" y="2289"/>
                  <a:pt x="8" y="2289"/>
                </a:cubicBezTo>
                <a:cubicBezTo>
                  <a:pt x="7" y="2288"/>
                  <a:pt x="7" y="2288"/>
                  <a:pt x="6" y="2287"/>
                </a:cubicBezTo>
                <a:cubicBezTo>
                  <a:pt x="5" y="2287"/>
                  <a:pt x="4" y="2286"/>
                  <a:pt x="3" y="2285"/>
                </a:cubicBezTo>
                <a:cubicBezTo>
                  <a:pt x="2" y="2284"/>
                  <a:pt x="2" y="2284"/>
                  <a:pt x="1" y="2283"/>
                </a:cubicBezTo>
                <a:cubicBezTo>
                  <a:pt x="1" y="2282"/>
                  <a:pt x="0" y="2281"/>
                  <a:pt x="0" y="2281"/>
                </a:cubicBezTo>
                <a:cubicBezTo>
                  <a:pt x="0" y="2280"/>
                  <a:pt x="0" y="2279"/>
                  <a:pt x="0" y="2279"/>
                </a:cubicBezTo>
                <a:cubicBezTo>
                  <a:pt x="0" y="2278"/>
                  <a:pt x="0" y="2278"/>
                  <a:pt x="0" y="2278"/>
                </a:cubicBezTo>
                <a:lnTo>
                  <a:pt x="65" y="2213"/>
                </a:lnTo>
                <a:cubicBezTo>
                  <a:pt x="65" y="2213"/>
                  <a:pt x="66" y="2212"/>
                  <a:pt x="66" y="2212"/>
                </a:cubicBezTo>
                <a:cubicBezTo>
                  <a:pt x="67" y="2212"/>
                  <a:pt x="68" y="2212"/>
                  <a:pt x="68" y="2212"/>
                </a:cubicBezTo>
                <a:cubicBezTo>
                  <a:pt x="69" y="2213"/>
                  <a:pt x="70" y="2213"/>
                  <a:pt x="70" y="2214"/>
                </a:cubicBezTo>
                <a:cubicBezTo>
                  <a:pt x="71" y="2214"/>
                  <a:pt x="72" y="2215"/>
                  <a:pt x="73" y="2216"/>
                </a:cubicBezTo>
                <a:close/>
                <a:moveTo>
                  <a:pt x="179" y="2281"/>
                </a:moveTo>
                <a:cubicBezTo>
                  <a:pt x="179" y="2282"/>
                  <a:pt x="179" y="2282"/>
                  <a:pt x="179" y="2283"/>
                </a:cubicBezTo>
                <a:cubicBezTo>
                  <a:pt x="180" y="2283"/>
                  <a:pt x="179" y="2284"/>
                  <a:pt x="179" y="2284"/>
                </a:cubicBezTo>
                <a:cubicBezTo>
                  <a:pt x="179" y="2285"/>
                  <a:pt x="179" y="2286"/>
                  <a:pt x="178" y="2287"/>
                </a:cubicBezTo>
                <a:cubicBezTo>
                  <a:pt x="177" y="2287"/>
                  <a:pt x="176" y="2288"/>
                  <a:pt x="175" y="2290"/>
                </a:cubicBezTo>
                <a:cubicBezTo>
                  <a:pt x="174" y="2291"/>
                  <a:pt x="173" y="2292"/>
                  <a:pt x="172" y="2292"/>
                </a:cubicBezTo>
                <a:cubicBezTo>
                  <a:pt x="171" y="2293"/>
                  <a:pt x="170" y="2294"/>
                  <a:pt x="170" y="2294"/>
                </a:cubicBezTo>
                <a:cubicBezTo>
                  <a:pt x="169" y="2294"/>
                  <a:pt x="169" y="2294"/>
                  <a:pt x="168" y="2294"/>
                </a:cubicBezTo>
                <a:cubicBezTo>
                  <a:pt x="168" y="2294"/>
                  <a:pt x="167" y="2294"/>
                  <a:pt x="167" y="2293"/>
                </a:cubicBezTo>
                <a:lnTo>
                  <a:pt x="102" y="2229"/>
                </a:lnTo>
                <a:cubicBezTo>
                  <a:pt x="102" y="2228"/>
                  <a:pt x="102" y="2228"/>
                  <a:pt x="102" y="2228"/>
                </a:cubicBezTo>
                <a:cubicBezTo>
                  <a:pt x="102" y="2227"/>
                  <a:pt x="102" y="2226"/>
                  <a:pt x="102" y="2226"/>
                </a:cubicBezTo>
                <a:cubicBezTo>
                  <a:pt x="102" y="2225"/>
                  <a:pt x="103" y="2224"/>
                  <a:pt x="103" y="2224"/>
                </a:cubicBezTo>
                <a:cubicBezTo>
                  <a:pt x="104" y="2223"/>
                  <a:pt x="105" y="2222"/>
                  <a:pt x="106" y="2221"/>
                </a:cubicBezTo>
                <a:cubicBezTo>
                  <a:pt x="107" y="2219"/>
                  <a:pt x="108" y="2218"/>
                  <a:pt x="109" y="2218"/>
                </a:cubicBezTo>
                <a:cubicBezTo>
                  <a:pt x="110" y="2217"/>
                  <a:pt x="111" y="2217"/>
                  <a:pt x="111" y="2216"/>
                </a:cubicBezTo>
                <a:cubicBezTo>
                  <a:pt x="112" y="2216"/>
                  <a:pt x="112" y="2216"/>
                  <a:pt x="113" y="2216"/>
                </a:cubicBezTo>
                <a:cubicBezTo>
                  <a:pt x="113" y="2216"/>
                  <a:pt x="114" y="2217"/>
                  <a:pt x="114" y="2217"/>
                </a:cubicBezTo>
                <a:lnTo>
                  <a:pt x="179" y="2281"/>
                </a:lnTo>
                <a:close/>
                <a:moveTo>
                  <a:pt x="94" y="2194"/>
                </a:moveTo>
                <a:cubicBezTo>
                  <a:pt x="96" y="2196"/>
                  <a:pt x="98" y="2199"/>
                  <a:pt x="98" y="2201"/>
                </a:cubicBezTo>
                <a:cubicBezTo>
                  <a:pt x="98" y="2203"/>
                  <a:pt x="96" y="2205"/>
                  <a:pt x="93" y="2208"/>
                </a:cubicBezTo>
                <a:cubicBezTo>
                  <a:pt x="91" y="2211"/>
                  <a:pt x="88" y="2212"/>
                  <a:pt x="86" y="2212"/>
                </a:cubicBezTo>
                <a:cubicBezTo>
                  <a:pt x="84" y="2213"/>
                  <a:pt x="82" y="2211"/>
                  <a:pt x="79" y="2208"/>
                </a:cubicBezTo>
                <a:cubicBezTo>
                  <a:pt x="76" y="2206"/>
                  <a:pt x="75" y="2203"/>
                  <a:pt x="75" y="2201"/>
                </a:cubicBezTo>
                <a:cubicBezTo>
                  <a:pt x="75" y="2199"/>
                  <a:pt x="77" y="2197"/>
                  <a:pt x="79" y="2194"/>
                </a:cubicBezTo>
                <a:cubicBezTo>
                  <a:pt x="82" y="2191"/>
                  <a:pt x="85" y="2190"/>
                  <a:pt x="87" y="2190"/>
                </a:cubicBezTo>
                <a:cubicBezTo>
                  <a:pt x="89" y="2190"/>
                  <a:pt x="91" y="2191"/>
                  <a:pt x="94" y="2194"/>
                </a:cubicBezTo>
                <a:close/>
                <a:moveTo>
                  <a:pt x="297" y="2164"/>
                </a:moveTo>
                <a:cubicBezTo>
                  <a:pt x="297" y="2164"/>
                  <a:pt x="297" y="2164"/>
                  <a:pt x="297" y="2165"/>
                </a:cubicBezTo>
                <a:cubicBezTo>
                  <a:pt x="298" y="2165"/>
                  <a:pt x="297" y="2166"/>
                  <a:pt x="297" y="2166"/>
                </a:cubicBezTo>
                <a:cubicBezTo>
                  <a:pt x="297" y="2167"/>
                  <a:pt x="297" y="2168"/>
                  <a:pt x="296" y="2169"/>
                </a:cubicBezTo>
                <a:cubicBezTo>
                  <a:pt x="295" y="2169"/>
                  <a:pt x="294" y="2170"/>
                  <a:pt x="293" y="2172"/>
                </a:cubicBezTo>
                <a:cubicBezTo>
                  <a:pt x="292" y="2173"/>
                  <a:pt x="291" y="2174"/>
                  <a:pt x="290" y="2174"/>
                </a:cubicBezTo>
                <a:cubicBezTo>
                  <a:pt x="289" y="2175"/>
                  <a:pt x="288" y="2176"/>
                  <a:pt x="288" y="2176"/>
                </a:cubicBezTo>
                <a:cubicBezTo>
                  <a:pt x="287" y="2176"/>
                  <a:pt x="287" y="2176"/>
                  <a:pt x="286" y="2176"/>
                </a:cubicBezTo>
                <a:cubicBezTo>
                  <a:pt x="286" y="2176"/>
                  <a:pt x="285" y="2176"/>
                  <a:pt x="285" y="2175"/>
                </a:cubicBezTo>
                <a:lnTo>
                  <a:pt x="246" y="2136"/>
                </a:lnTo>
                <a:cubicBezTo>
                  <a:pt x="243" y="2133"/>
                  <a:pt x="240" y="2131"/>
                  <a:pt x="237" y="2129"/>
                </a:cubicBezTo>
                <a:cubicBezTo>
                  <a:pt x="235" y="2128"/>
                  <a:pt x="232" y="2126"/>
                  <a:pt x="229" y="2126"/>
                </a:cubicBezTo>
                <a:cubicBezTo>
                  <a:pt x="227" y="2125"/>
                  <a:pt x="224" y="2125"/>
                  <a:pt x="222" y="2126"/>
                </a:cubicBezTo>
                <a:cubicBezTo>
                  <a:pt x="219" y="2127"/>
                  <a:pt x="217" y="2128"/>
                  <a:pt x="214" y="2131"/>
                </a:cubicBezTo>
                <a:cubicBezTo>
                  <a:pt x="212" y="2133"/>
                  <a:pt x="210" y="2137"/>
                  <a:pt x="209" y="2142"/>
                </a:cubicBezTo>
                <a:cubicBezTo>
                  <a:pt x="209" y="2147"/>
                  <a:pt x="209" y="2153"/>
                  <a:pt x="210" y="2160"/>
                </a:cubicBezTo>
                <a:lnTo>
                  <a:pt x="255" y="2206"/>
                </a:lnTo>
                <a:cubicBezTo>
                  <a:pt x="255" y="2206"/>
                  <a:pt x="255" y="2206"/>
                  <a:pt x="255" y="2207"/>
                </a:cubicBezTo>
                <a:cubicBezTo>
                  <a:pt x="256" y="2207"/>
                  <a:pt x="255" y="2208"/>
                  <a:pt x="255" y="2208"/>
                </a:cubicBezTo>
                <a:cubicBezTo>
                  <a:pt x="255" y="2209"/>
                  <a:pt x="254" y="2210"/>
                  <a:pt x="254" y="2211"/>
                </a:cubicBezTo>
                <a:cubicBezTo>
                  <a:pt x="253" y="2212"/>
                  <a:pt x="252" y="2213"/>
                  <a:pt x="251" y="2214"/>
                </a:cubicBezTo>
                <a:cubicBezTo>
                  <a:pt x="250" y="2215"/>
                  <a:pt x="249" y="2216"/>
                  <a:pt x="248" y="2216"/>
                </a:cubicBezTo>
                <a:cubicBezTo>
                  <a:pt x="247" y="2217"/>
                  <a:pt x="246" y="2218"/>
                  <a:pt x="246" y="2218"/>
                </a:cubicBezTo>
                <a:cubicBezTo>
                  <a:pt x="245" y="2218"/>
                  <a:pt x="245" y="2218"/>
                  <a:pt x="244" y="2218"/>
                </a:cubicBezTo>
                <a:cubicBezTo>
                  <a:pt x="244" y="2218"/>
                  <a:pt x="243" y="2218"/>
                  <a:pt x="243" y="2217"/>
                </a:cubicBezTo>
                <a:lnTo>
                  <a:pt x="204" y="2178"/>
                </a:lnTo>
                <a:cubicBezTo>
                  <a:pt x="201" y="2175"/>
                  <a:pt x="198" y="2173"/>
                  <a:pt x="195" y="2171"/>
                </a:cubicBezTo>
                <a:cubicBezTo>
                  <a:pt x="193" y="2170"/>
                  <a:pt x="190" y="2169"/>
                  <a:pt x="187" y="2168"/>
                </a:cubicBezTo>
                <a:cubicBezTo>
                  <a:pt x="185" y="2167"/>
                  <a:pt x="182" y="2167"/>
                  <a:pt x="179" y="2168"/>
                </a:cubicBezTo>
                <a:cubicBezTo>
                  <a:pt x="177" y="2169"/>
                  <a:pt x="175" y="2170"/>
                  <a:pt x="172" y="2173"/>
                </a:cubicBezTo>
                <a:cubicBezTo>
                  <a:pt x="170" y="2175"/>
                  <a:pt x="168" y="2179"/>
                  <a:pt x="167" y="2184"/>
                </a:cubicBezTo>
                <a:cubicBezTo>
                  <a:pt x="167" y="2189"/>
                  <a:pt x="167" y="2195"/>
                  <a:pt x="168" y="2202"/>
                </a:cubicBezTo>
                <a:lnTo>
                  <a:pt x="213" y="2248"/>
                </a:lnTo>
                <a:cubicBezTo>
                  <a:pt x="213" y="2248"/>
                  <a:pt x="213" y="2248"/>
                  <a:pt x="213" y="2249"/>
                </a:cubicBezTo>
                <a:cubicBezTo>
                  <a:pt x="214" y="2249"/>
                  <a:pt x="213" y="2250"/>
                  <a:pt x="213" y="2250"/>
                </a:cubicBezTo>
                <a:cubicBezTo>
                  <a:pt x="213" y="2251"/>
                  <a:pt x="212" y="2252"/>
                  <a:pt x="212" y="2253"/>
                </a:cubicBezTo>
                <a:cubicBezTo>
                  <a:pt x="211" y="2253"/>
                  <a:pt x="210" y="2255"/>
                  <a:pt x="209" y="2256"/>
                </a:cubicBezTo>
                <a:cubicBezTo>
                  <a:pt x="208" y="2257"/>
                  <a:pt x="207" y="2258"/>
                  <a:pt x="206" y="2258"/>
                </a:cubicBezTo>
                <a:cubicBezTo>
                  <a:pt x="205" y="2259"/>
                  <a:pt x="204" y="2260"/>
                  <a:pt x="204" y="2260"/>
                </a:cubicBezTo>
                <a:cubicBezTo>
                  <a:pt x="203" y="2260"/>
                  <a:pt x="203" y="2260"/>
                  <a:pt x="202" y="2260"/>
                </a:cubicBezTo>
                <a:cubicBezTo>
                  <a:pt x="202" y="2260"/>
                  <a:pt x="201" y="2260"/>
                  <a:pt x="201" y="2259"/>
                </a:cubicBezTo>
                <a:lnTo>
                  <a:pt x="136" y="2195"/>
                </a:lnTo>
                <a:cubicBezTo>
                  <a:pt x="136" y="2194"/>
                  <a:pt x="136" y="2194"/>
                  <a:pt x="136" y="2194"/>
                </a:cubicBezTo>
                <a:cubicBezTo>
                  <a:pt x="135" y="2193"/>
                  <a:pt x="135" y="2193"/>
                  <a:pt x="136" y="2192"/>
                </a:cubicBezTo>
                <a:cubicBezTo>
                  <a:pt x="136" y="2191"/>
                  <a:pt x="136" y="2191"/>
                  <a:pt x="137" y="2190"/>
                </a:cubicBezTo>
                <a:cubicBezTo>
                  <a:pt x="137" y="2189"/>
                  <a:pt x="138" y="2188"/>
                  <a:pt x="139" y="2187"/>
                </a:cubicBezTo>
                <a:cubicBezTo>
                  <a:pt x="140" y="2186"/>
                  <a:pt x="141" y="2185"/>
                  <a:pt x="142" y="2185"/>
                </a:cubicBezTo>
                <a:cubicBezTo>
                  <a:pt x="143" y="2184"/>
                  <a:pt x="144" y="2184"/>
                  <a:pt x="144" y="2183"/>
                </a:cubicBezTo>
                <a:cubicBezTo>
                  <a:pt x="145" y="2183"/>
                  <a:pt x="145" y="2183"/>
                  <a:pt x="146" y="2183"/>
                </a:cubicBezTo>
                <a:cubicBezTo>
                  <a:pt x="146" y="2183"/>
                  <a:pt x="147" y="2184"/>
                  <a:pt x="147" y="2184"/>
                </a:cubicBezTo>
                <a:lnTo>
                  <a:pt x="156" y="2193"/>
                </a:lnTo>
                <a:cubicBezTo>
                  <a:pt x="155" y="2185"/>
                  <a:pt x="156" y="2178"/>
                  <a:pt x="157" y="2173"/>
                </a:cubicBezTo>
                <a:cubicBezTo>
                  <a:pt x="159" y="2168"/>
                  <a:pt x="161" y="2163"/>
                  <a:pt x="165" y="2160"/>
                </a:cubicBezTo>
                <a:cubicBezTo>
                  <a:pt x="167" y="2157"/>
                  <a:pt x="170" y="2155"/>
                  <a:pt x="173" y="2154"/>
                </a:cubicBezTo>
                <a:cubicBezTo>
                  <a:pt x="176" y="2152"/>
                  <a:pt x="178" y="2151"/>
                  <a:pt x="181" y="2151"/>
                </a:cubicBezTo>
                <a:cubicBezTo>
                  <a:pt x="184" y="2150"/>
                  <a:pt x="187" y="2150"/>
                  <a:pt x="189" y="2150"/>
                </a:cubicBezTo>
                <a:cubicBezTo>
                  <a:pt x="192" y="2151"/>
                  <a:pt x="195" y="2152"/>
                  <a:pt x="197" y="2153"/>
                </a:cubicBezTo>
                <a:cubicBezTo>
                  <a:pt x="197" y="2148"/>
                  <a:pt x="197" y="2144"/>
                  <a:pt x="198" y="2141"/>
                </a:cubicBezTo>
                <a:cubicBezTo>
                  <a:pt x="198" y="2137"/>
                  <a:pt x="198" y="2134"/>
                  <a:pt x="199" y="2131"/>
                </a:cubicBezTo>
                <a:cubicBezTo>
                  <a:pt x="200" y="2128"/>
                  <a:pt x="201" y="2126"/>
                  <a:pt x="202" y="2124"/>
                </a:cubicBezTo>
                <a:cubicBezTo>
                  <a:pt x="204" y="2121"/>
                  <a:pt x="205" y="2120"/>
                  <a:pt x="207" y="2118"/>
                </a:cubicBezTo>
                <a:cubicBezTo>
                  <a:pt x="211" y="2114"/>
                  <a:pt x="215" y="2111"/>
                  <a:pt x="219" y="2110"/>
                </a:cubicBezTo>
                <a:cubicBezTo>
                  <a:pt x="224" y="2108"/>
                  <a:pt x="228" y="2108"/>
                  <a:pt x="232" y="2109"/>
                </a:cubicBezTo>
                <a:cubicBezTo>
                  <a:pt x="236" y="2109"/>
                  <a:pt x="240" y="2111"/>
                  <a:pt x="244" y="2113"/>
                </a:cubicBezTo>
                <a:cubicBezTo>
                  <a:pt x="248" y="2116"/>
                  <a:pt x="252" y="2119"/>
                  <a:pt x="256" y="2123"/>
                </a:cubicBezTo>
                <a:lnTo>
                  <a:pt x="297" y="2164"/>
                </a:lnTo>
                <a:close/>
                <a:moveTo>
                  <a:pt x="334" y="2056"/>
                </a:moveTo>
                <a:cubicBezTo>
                  <a:pt x="336" y="2058"/>
                  <a:pt x="337" y="2060"/>
                  <a:pt x="337" y="2061"/>
                </a:cubicBezTo>
                <a:cubicBezTo>
                  <a:pt x="337" y="2063"/>
                  <a:pt x="336" y="2065"/>
                  <a:pt x="335" y="2066"/>
                </a:cubicBezTo>
                <a:lnTo>
                  <a:pt x="292" y="2108"/>
                </a:lnTo>
                <a:cubicBezTo>
                  <a:pt x="296" y="2112"/>
                  <a:pt x="299" y="2115"/>
                  <a:pt x="303" y="2117"/>
                </a:cubicBezTo>
                <a:cubicBezTo>
                  <a:pt x="306" y="2119"/>
                  <a:pt x="310" y="2120"/>
                  <a:pt x="314" y="2121"/>
                </a:cubicBezTo>
                <a:cubicBezTo>
                  <a:pt x="318" y="2121"/>
                  <a:pt x="321" y="2120"/>
                  <a:pt x="325" y="2119"/>
                </a:cubicBezTo>
                <a:cubicBezTo>
                  <a:pt x="329" y="2117"/>
                  <a:pt x="333" y="2115"/>
                  <a:pt x="337" y="2111"/>
                </a:cubicBezTo>
                <a:cubicBezTo>
                  <a:pt x="340" y="2108"/>
                  <a:pt x="342" y="2105"/>
                  <a:pt x="344" y="2102"/>
                </a:cubicBezTo>
                <a:cubicBezTo>
                  <a:pt x="346" y="2099"/>
                  <a:pt x="348" y="2096"/>
                  <a:pt x="349" y="2094"/>
                </a:cubicBezTo>
                <a:cubicBezTo>
                  <a:pt x="350" y="2091"/>
                  <a:pt x="351" y="2089"/>
                  <a:pt x="351" y="2088"/>
                </a:cubicBezTo>
                <a:cubicBezTo>
                  <a:pt x="352" y="2086"/>
                  <a:pt x="353" y="2085"/>
                  <a:pt x="353" y="2084"/>
                </a:cubicBezTo>
                <a:cubicBezTo>
                  <a:pt x="354" y="2084"/>
                  <a:pt x="354" y="2084"/>
                  <a:pt x="354" y="2084"/>
                </a:cubicBezTo>
                <a:cubicBezTo>
                  <a:pt x="355" y="2084"/>
                  <a:pt x="355" y="2084"/>
                  <a:pt x="356" y="2084"/>
                </a:cubicBezTo>
                <a:cubicBezTo>
                  <a:pt x="356" y="2084"/>
                  <a:pt x="357" y="2084"/>
                  <a:pt x="357" y="2085"/>
                </a:cubicBezTo>
                <a:cubicBezTo>
                  <a:pt x="358" y="2086"/>
                  <a:pt x="359" y="2086"/>
                  <a:pt x="360" y="2087"/>
                </a:cubicBezTo>
                <a:cubicBezTo>
                  <a:pt x="360" y="2088"/>
                  <a:pt x="361" y="2088"/>
                  <a:pt x="361" y="2089"/>
                </a:cubicBezTo>
                <a:cubicBezTo>
                  <a:pt x="362" y="2089"/>
                  <a:pt x="362" y="2090"/>
                  <a:pt x="362" y="2090"/>
                </a:cubicBezTo>
                <a:cubicBezTo>
                  <a:pt x="363" y="2091"/>
                  <a:pt x="363" y="2091"/>
                  <a:pt x="363" y="2091"/>
                </a:cubicBezTo>
                <a:cubicBezTo>
                  <a:pt x="363" y="2092"/>
                  <a:pt x="363" y="2092"/>
                  <a:pt x="363" y="2093"/>
                </a:cubicBezTo>
                <a:cubicBezTo>
                  <a:pt x="363" y="2093"/>
                  <a:pt x="363" y="2095"/>
                  <a:pt x="362" y="2097"/>
                </a:cubicBezTo>
                <a:cubicBezTo>
                  <a:pt x="361" y="2098"/>
                  <a:pt x="360" y="2101"/>
                  <a:pt x="359" y="2103"/>
                </a:cubicBezTo>
                <a:cubicBezTo>
                  <a:pt x="357" y="2106"/>
                  <a:pt x="355" y="2109"/>
                  <a:pt x="353" y="2112"/>
                </a:cubicBezTo>
                <a:cubicBezTo>
                  <a:pt x="351" y="2115"/>
                  <a:pt x="348" y="2118"/>
                  <a:pt x="345" y="2121"/>
                </a:cubicBezTo>
                <a:cubicBezTo>
                  <a:pt x="340" y="2127"/>
                  <a:pt x="334" y="2131"/>
                  <a:pt x="329" y="2133"/>
                </a:cubicBezTo>
                <a:cubicBezTo>
                  <a:pt x="324" y="2136"/>
                  <a:pt x="318" y="2137"/>
                  <a:pt x="312" y="2137"/>
                </a:cubicBezTo>
                <a:cubicBezTo>
                  <a:pt x="307" y="2136"/>
                  <a:pt x="301" y="2135"/>
                  <a:pt x="295" y="2132"/>
                </a:cubicBezTo>
                <a:cubicBezTo>
                  <a:pt x="289" y="2129"/>
                  <a:pt x="284" y="2124"/>
                  <a:pt x="278" y="2119"/>
                </a:cubicBezTo>
                <a:cubicBezTo>
                  <a:pt x="272" y="2113"/>
                  <a:pt x="268" y="2107"/>
                  <a:pt x="265" y="2101"/>
                </a:cubicBezTo>
                <a:cubicBezTo>
                  <a:pt x="262" y="2096"/>
                  <a:pt x="260" y="2090"/>
                  <a:pt x="260" y="2084"/>
                </a:cubicBezTo>
                <a:cubicBezTo>
                  <a:pt x="259" y="2078"/>
                  <a:pt x="260" y="2072"/>
                  <a:pt x="263" y="2067"/>
                </a:cubicBezTo>
                <a:cubicBezTo>
                  <a:pt x="265" y="2062"/>
                  <a:pt x="268" y="2056"/>
                  <a:pt x="273" y="2052"/>
                </a:cubicBezTo>
                <a:cubicBezTo>
                  <a:pt x="278" y="2047"/>
                  <a:pt x="283" y="2043"/>
                  <a:pt x="288" y="2041"/>
                </a:cubicBezTo>
                <a:cubicBezTo>
                  <a:pt x="293" y="2039"/>
                  <a:pt x="299" y="2038"/>
                  <a:pt x="304" y="2039"/>
                </a:cubicBezTo>
                <a:cubicBezTo>
                  <a:pt x="309" y="2039"/>
                  <a:pt x="314" y="2041"/>
                  <a:pt x="318" y="2044"/>
                </a:cubicBezTo>
                <a:cubicBezTo>
                  <a:pt x="323" y="2046"/>
                  <a:pt x="328" y="2050"/>
                  <a:pt x="332" y="2054"/>
                </a:cubicBezTo>
                <a:lnTo>
                  <a:pt x="334" y="2056"/>
                </a:lnTo>
                <a:close/>
                <a:moveTo>
                  <a:pt x="319" y="2064"/>
                </a:moveTo>
                <a:cubicBezTo>
                  <a:pt x="313" y="2058"/>
                  <a:pt x="306" y="2055"/>
                  <a:pt x="300" y="2054"/>
                </a:cubicBezTo>
                <a:cubicBezTo>
                  <a:pt x="293" y="2053"/>
                  <a:pt x="287" y="2056"/>
                  <a:pt x="282" y="2062"/>
                </a:cubicBezTo>
                <a:cubicBezTo>
                  <a:pt x="279" y="2064"/>
                  <a:pt x="277" y="2068"/>
                  <a:pt x="275" y="2071"/>
                </a:cubicBezTo>
                <a:cubicBezTo>
                  <a:pt x="274" y="2074"/>
                  <a:pt x="274" y="2078"/>
                  <a:pt x="274" y="2081"/>
                </a:cubicBezTo>
                <a:cubicBezTo>
                  <a:pt x="275" y="2084"/>
                  <a:pt x="276" y="2087"/>
                  <a:pt x="277" y="2091"/>
                </a:cubicBezTo>
                <a:cubicBezTo>
                  <a:pt x="279" y="2094"/>
                  <a:pt x="281" y="2097"/>
                  <a:pt x="283" y="2100"/>
                </a:cubicBezTo>
                <a:lnTo>
                  <a:pt x="319" y="2064"/>
                </a:lnTo>
                <a:close/>
                <a:moveTo>
                  <a:pt x="454" y="1940"/>
                </a:moveTo>
                <a:cubicBezTo>
                  <a:pt x="460" y="1945"/>
                  <a:pt x="464" y="1951"/>
                  <a:pt x="467" y="1957"/>
                </a:cubicBezTo>
                <a:cubicBezTo>
                  <a:pt x="470" y="1962"/>
                  <a:pt x="472" y="1968"/>
                  <a:pt x="472" y="1974"/>
                </a:cubicBezTo>
                <a:cubicBezTo>
                  <a:pt x="472" y="1980"/>
                  <a:pt x="471" y="1986"/>
                  <a:pt x="469" y="1992"/>
                </a:cubicBezTo>
                <a:cubicBezTo>
                  <a:pt x="467" y="1998"/>
                  <a:pt x="463" y="2004"/>
                  <a:pt x="457" y="2009"/>
                </a:cubicBezTo>
                <a:cubicBezTo>
                  <a:pt x="452" y="2015"/>
                  <a:pt x="447" y="2018"/>
                  <a:pt x="441" y="2021"/>
                </a:cubicBezTo>
                <a:cubicBezTo>
                  <a:pt x="436" y="2023"/>
                  <a:pt x="430" y="2024"/>
                  <a:pt x="424" y="2024"/>
                </a:cubicBezTo>
                <a:cubicBezTo>
                  <a:pt x="419" y="2023"/>
                  <a:pt x="413" y="2022"/>
                  <a:pt x="408" y="2019"/>
                </a:cubicBezTo>
                <a:cubicBezTo>
                  <a:pt x="402" y="2016"/>
                  <a:pt x="396" y="2011"/>
                  <a:pt x="391" y="2006"/>
                </a:cubicBezTo>
                <a:cubicBezTo>
                  <a:pt x="386" y="2001"/>
                  <a:pt x="381" y="1995"/>
                  <a:pt x="378" y="1989"/>
                </a:cubicBezTo>
                <a:cubicBezTo>
                  <a:pt x="375" y="1984"/>
                  <a:pt x="374" y="1978"/>
                  <a:pt x="373" y="1972"/>
                </a:cubicBezTo>
                <a:cubicBezTo>
                  <a:pt x="373" y="1966"/>
                  <a:pt x="374" y="1960"/>
                  <a:pt x="376" y="1954"/>
                </a:cubicBezTo>
                <a:cubicBezTo>
                  <a:pt x="378" y="1948"/>
                  <a:pt x="382" y="1942"/>
                  <a:pt x="388" y="1937"/>
                </a:cubicBezTo>
                <a:cubicBezTo>
                  <a:pt x="393" y="1931"/>
                  <a:pt x="398" y="1928"/>
                  <a:pt x="404" y="1925"/>
                </a:cubicBezTo>
                <a:cubicBezTo>
                  <a:pt x="410" y="1923"/>
                  <a:pt x="415" y="1922"/>
                  <a:pt x="421" y="1922"/>
                </a:cubicBezTo>
                <a:cubicBezTo>
                  <a:pt x="426" y="1923"/>
                  <a:pt x="432" y="1924"/>
                  <a:pt x="438" y="1927"/>
                </a:cubicBezTo>
                <a:cubicBezTo>
                  <a:pt x="443" y="1930"/>
                  <a:pt x="449" y="1935"/>
                  <a:pt x="454" y="1940"/>
                </a:cubicBezTo>
                <a:close/>
                <a:moveTo>
                  <a:pt x="443" y="1953"/>
                </a:moveTo>
                <a:cubicBezTo>
                  <a:pt x="439" y="1950"/>
                  <a:pt x="436" y="1947"/>
                  <a:pt x="432" y="1944"/>
                </a:cubicBezTo>
                <a:cubicBezTo>
                  <a:pt x="428" y="1942"/>
                  <a:pt x="424" y="1940"/>
                  <a:pt x="420" y="1939"/>
                </a:cubicBezTo>
                <a:cubicBezTo>
                  <a:pt x="417" y="1938"/>
                  <a:pt x="413" y="1938"/>
                  <a:pt x="409" y="1940"/>
                </a:cubicBezTo>
                <a:cubicBezTo>
                  <a:pt x="405" y="1941"/>
                  <a:pt x="401" y="1943"/>
                  <a:pt x="397" y="1947"/>
                </a:cubicBezTo>
                <a:cubicBezTo>
                  <a:pt x="394" y="1951"/>
                  <a:pt x="391" y="1954"/>
                  <a:pt x="390" y="1958"/>
                </a:cubicBezTo>
                <a:cubicBezTo>
                  <a:pt x="389" y="1962"/>
                  <a:pt x="388" y="1966"/>
                  <a:pt x="389" y="1970"/>
                </a:cubicBezTo>
                <a:cubicBezTo>
                  <a:pt x="390" y="1974"/>
                  <a:pt x="391" y="1978"/>
                  <a:pt x="393" y="1981"/>
                </a:cubicBezTo>
                <a:cubicBezTo>
                  <a:pt x="396" y="1985"/>
                  <a:pt x="399" y="1989"/>
                  <a:pt x="402" y="1993"/>
                </a:cubicBezTo>
                <a:cubicBezTo>
                  <a:pt x="406" y="1996"/>
                  <a:pt x="410" y="1999"/>
                  <a:pt x="413" y="2002"/>
                </a:cubicBezTo>
                <a:cubicBezTo>
                  <a:pt x="417" y="2004"/>
                  <a:pt x="421" y="2006"/>
                  <a:pt x="425" y="2007"/>
                </a:cubicBezTo>
                <a:cubicBezTo>
                  <a:pt x="429" y="2008"/>
                  <a:pt x="433" y="2007"/>
                  <a:pt x="436" y="2006"/>
                </a:cubicBezTo>
                <a:cubicBezTo>
                  <a:pt x="440" y="2005"/>
                  <a:pt x="444" y="2002"/>
                  <a:pt x="448" y="1999"/>
                </a:cubicBezTo>
                <a:cubicBezTo>
                  <a:pt x="452" y="1995"/>
                  <a:pt x="454" y="1991"/>
                  <a:pt x="455" y="1988"/>
                </a:cubicBezTo>
                <a:cubicBezTo>
                  <a:pt x="457" y="1984"/>
                  <a:pt x="457" y="1980"/>
                  <a:pt x="456" y="1976"/>
                </a:cubicBezTo>
                <a:cubicBezTo>
                  <a:pt x="456" y="1972"/>
                  <a:pt x="454" y="1968"/>
                  <a:pt x="452" y="1964"/>
                </a:cubicBezTo>
                <a:cubicBezTo>
                  <a:pt x="450" y="1961"/>
                  <a:pt x="446" y="1957"/>
                  <a:pt x="443" y="1953"/>
                </a:cubicBezTo>
                <a:close/>
                <a:moveTo>
                  <a:pt x="451" y="1827"/>
                </a:moveTo>
                <a:cubicBezTo>
                  <a:pt x="451" y="1828"/>
                  <a:pt x="452" y="1829"/>
                  <a:pt x="453" y="1830"/>
                </a:cubicBezTo>
                <a:cubicBezTo>
                  <a:pt x="453" y="1830"/>
                  <a:pt x="453" y="1831"/>
                  <a:pt x="454" y="1831"/>
                </a:cubicBezTo>
                <a:cubicBezTo>
                  <a:pt x="454" y="1832"/>
                  <a:pt x="454" y="1832"/>
                  <a:pt x="454" y="1832"/>
                </a:cubicBezTo>
                <a:cubicBezTo>
                  <a:pt x="454" y="1833"/>
                  <a:pt x="454" y="1833"/>
                  <a:pt x="453" y="1833"/>
                </a:cubicBezTo>
                <a:cubicBezTo>
                  <a:pt x="453" y="1834"/>
                  <a:pt x="452" y="1834"/>
                  <a:pt x="452" y="1834"/>
                </a:cubicBezTo>
                <a:cubicBezTo>
                  <a:pt x="451" y="1835"/>
                  <a:pt x="450" y="1835"/>
                  <a:pt x="449" y="1835"/>
                </a:cubicBezTo>
                <a:cubicBezTo>
                  <a:pt x="448" y="1836"/>
                  <a:pt x="447" y="1836"/>
                  <a:pt x="446" y="1837"/>
                </a:cubicBezTo>
                <a:cubicBezTo>
                  <a:pt x="445" y="1838"/>
                  <a:pt x="443" y="1839"/>
                  <a:pt x="442" y="1840"/>
                </a:cubicBezTo>
                <a:cubicBezTo>
                  <a:pt x="440" y="1842"/>
                  <a:pt x="439" y="1844"/>
                  <a:pt x="439" y="1846"/>
                </a:cubicBezTo>
                <a:cubicBezTo>
                  <a:pt x="438" y="1848"/>
                  <a:pt x="438" y="1849"/>
                  <a:pt x="438" y="1851"/>
                </a:cubicBezTo>
                <a:cubicBezTo>
                  <a:pt x="439" y="1853"/>
                  <a:pt x="440" y="1856"/>
                  <a:pt x="441" y="1858"/>
                </a:cubicBezTo>
                <a:cubicBezTo>
                  <a:pt x="443" y="1860"/>
                  <a:pt x="445" y="1863"/>
                  <a:pt x="448" y="1865"/>
                </a:cubicBezTo>
                <a:lnTo>
                  <a:pt x="455" y="1872"/>
                </a:lnTo>
                <a:lnTo>
                  <a:pt x="469" y="1858"/>
                </a:lnTo>
                <a:cubicBezTo>
                  <a:pt x="470" y="1858"/>
                  <a:pt x="470" y="1857"/>
                  <a:pt x="471" y="1857"/>
                </a:cubicBezTo>
                <a:cubicBezTo>
                  <a:pt x="471" y="1857"/>
                  <a:pt x="471" y="1857"/>
                  <a:pt x="472" y="1857"/>
                </a:cubicBezTo>
                <a:cubicBezTo>
                  <a:pt x="473" y="1858"/>
                  <a:pt x="473" y="1858"/>
                  <a:pt x="474" y="1858"/>
                </a:cubicBezTo>
                <a:cubicBezTo>
                  <a:pt x="475" y="1859"/>
                  <a:pt x="476" y="1860"/>
                  <a:pt x="477" y="1861"/>
                </a:cubicBezTo>
                <a:cubicBezTo>
                  <a:pt x="478" y="1862"/>
                  <a:pt x="479" y="1864"/>
                  <a:pt x="480" y="1865"/>
                </a:cubicBezTo>
                <a:cubicBezTo>
                  <a:pt x="480" y="1866"/>
                  <a:pt x="480" y="1867"/>
                  <a:pt x="479" y="1868"/>
                </a:cubicBezTo>
                <a:lnTo>
                  <a:pt x="465" y="1882"/>
                </a:lnTo>
                <a:lnTo>
                  <a:pt x="521" y="1939"/>
                </a:lnTo>
                <a:cubicBezTo>
                  <a:pt x="522" y="1939"/>
                  <a:pt x="522" y="1940"/>
                  <a:pt x="522" y="1940"/>
                </a:cubicBezTo>
                <a:cubicBezTo>
                  <a:pt x="522" y="1941"/>
                  <a:pt x="522" y="1941"/>
                  <a:pt x="522" y="1942"/>
                </a:cubicBezTo>
                <a:cubicBezTo>
                  <a:pt x="522" y="1942"/>
                  <a:pt x="521" y="1943"/>
                  <a:pt x="520" y="1944"/>
                </a:cubicBezTo>
                <a:cubicBezTo>
                  <a:pt x="520" y="1945"/>
                  <a:pt x="519" y="1946"/>
                  <a:pt x="518" y="1947"/>
                </a:cubicBezTo>
                <a:cubicBezTo>
                  <a:pt x="516" y="1948"/>
                  <a:pt x="515" y="1949"/>
                  <a:pt x="515" y="1950"/>
                </a:cubicBezTo>
                <a:cubicBezTo>
                  <a:pt x="514" y="1950"/>
                  <a:pt x="513" y="1951"/>
                  <a:pt x="512" y="1951"/>
                </a:cubicBezTo>
                <a:cubicBezTo>
                  <a:pt x="512" y="1951"/>
                  <a:pt x="511" y="1952"/>
                  <a:pt x="511" y="1952"/>
                </a:cubicBezTo>
                <a:cubicBezTo>
                  <a:pt x="510" y="1951"/>
                  <a:pt x="510" y="1951"/>
                  <a:pt x="509" y="1951"/>
                </a:cubicBezTo>
                <a:lnTo>
                  <a:pt x="453" y="1894"/>
                </a:lnTo>
                <a:lnTo>
                  <a:pt x="444" y="1903"/>
                </a:lnTo>
                <a:cubicBezTo>
                  <a:pt x="443" y="1904"/>
                  <a:pt x="442" y="1904"/>
                  <a:pt x="441" y="1904"/>
                </a:cubicBezTo>
                <a:cubicBezTo>
                  <a:pt x="440" y="1903"/>
                  <a:pt x="438" y="1902"/>
                  <a:pt x="436" y="1901"/>
                </a:cubicBezTo>
                <a:cubicBezTo>
                  <a:pt x="436" y="1900"/>
                  <a:pt x="435" y="1899"/>
                  <a:pt x="434" y="1898"/>
                </a:cubicBezTo>
                <a:cubicBezTo>
                  <a:pt x="434" y="1898"/>
                  <a:pt x="433" y="1897"/>
                  <a:pt x="433" y="1896"/>
                </a:cubicBezTo>
                <a:cubicBezTo>
                  <a:pt x="433" y="1896"/>
                  <a:pt x="433" y="1895"/>
                  <a:pt x="433" y="1895"/>
                </a:cubicBezTo>
                <a:cubicBezTo>
                  <a:pt x="433" y="1894"/>
                  <a:pt x="433" y="1894"/>
                  <a:pt x="434" y="1893"/>
                </a:cubicBezTo>
                <a:lnTo>
                  <a:pt x="443" y="1884"/>
                </a:lnTo>
                <a:lnTo>
                  <a:pt x="436" y="1878"/>
                </a:lnTo>
                <a:cubicBezTo>
                  <a:pt x="432" y="1873"/>
                  <a:pt x="428" y="1869"/>
                  <a:pt x="426" y="1865"/>
                </a:cubicBezTo>
                <a:cubicBezTo>
                  <a:pt x="424" y="1861"/>
                  <a:pt x="422" y="1857"/>
                  <a:pt x="422" y="1853"/>
                </a:cubicBezTo>
                <a:cubicBezTo>
                  <a:pt x="422" y="1849"/>
                  <a:pt x="422" y="1846"/>
                  <a:pt x="424" y="1842"/>
                </a:cubicBezTo>
                <a:cubicBezTo>
                  <a:pt x="425" y="1838"/>
                  <a:pt x="428" y="1835"/>
                  <a:pt x="432" y="1831"/>
                </a:cubicBezTo>
                <a:cubicBezTo>
                  <a:pt x="433" y="1830"/>
                  <a:pt x="435" y="1828"/>
                  <a:pt x="437" y="1827"/>
                </a:cubicBezTo>
                <a:cubicBezTo>
                  <a:pt x="439" y="1826"/>
                  <a:pt x="440" y="1825"/>
                  <a:pt x="442" y="1824"/>
                </a:cubicBezTo>
                <a:cubicBezTo>
                  <a:pt x="443" y="1824"/>
                  <a:pt x="444" y="1823"/>
                  <a:pt x="444" y="1823"/>
                </a:cubicBezTo>
                <a:cubicBezTo>
                  <a:pt x="445" y="1823"/>
                  <a:pt x="445" y="1824"/>
                  <a:pt x="446" y="1824"/>
                </a:cubicBezTo>
                <a:cubicBezTo>
                  <a:pt x="447" y="1824"/>
                  <a:pt x="447" y="1825"/>
                  <a:pt x="448" y="1825"/>
                </a:cubicBezTo>
                <a:cubicBezTo>
                  <a:pt x="449" y="1826"/>
                  <a:pt x="450" y="1826"/>
                  <a:pt x="451" y="1827"/>
                </a:cubicBezTo>
                <a:close/>
                <a:moveTo>
                  <a:pt x="624" y="1771"/>
                </a:moveTo>
                <a:cubicBezTo>
                  <a:pt x="630" y="1777"/>
                  <a:pt x="634" y="1782"/>
                  <a:pt x="637" y="1789"/>
                </a:cubicBezTo>
                <a:cubicBezTo>
                  <a:pt x="640" y="1795"/>
                  <a:pt x="641" y="1801"/>
                  <a:pt x="641" y="1807"/>
                </a:cubicBezTo>
                <a:cubicBezTo>
                  <a:pt x="641" y="1813"/>
                  <a:pt x="640" y="1819"/>
                  <a:pt x="637" y="1825"/>
                </a:cubicBezTo>
                <a:cubicBezTo>
                  <a:pt x="634" y="1831"/>
                  <a:pt x="630" y="1837"/>
                  <a:pt x="624" y="1842"/>
                </a:cubicBezTo>
                <a:cubicBezTo>
                  <a:pt x="619" y="1848"/>
                  <a:pt x="614" y="1851"/>
                  <a:pt x="608" y="1854"/>
                </a:cubicBezTo>
                <a:cubicBezTo>
                  <a:pt x="602" y="1857"/>
                  <a:pt x="596" y="1858"/>
                  <a:pt x="591" y="1858"/>
                </a:cubicBezTo>
                <a:cubicBezTo>
                  <a:pt x="585" y="1859"/>
                  <a:pt x="579" y="1857"/>
                  <a:pt x="573" y="1855"/>
                </a:cubicBezTo>
                <a:cubicBezTo>
                  <a:pt x="567" y="1852"/>
                  <a:pt x="561" y="1848"/>
                  <a:pt x="555" y="1842"/>
                </a:cubicBezTo>
                <a:lnTo>
                  <a:pt x="498" y="1784"/>
                </a:lnTo>
                <a:cubicBezTo>
                  <a:pt x="497" y="1784"/>
                  <a:pt x="497" y="1783"/>
                  <a:pt x="497" y="1783"/>
                </a:cubicBezTo>
                <a:cubicBezTo>
                  <a:pt x="497" y="1782"/>
                  <a:pt x="497" y="1782"/>
                  <a:pt x="497" y="1781"/>
                </a:cubicBezTo>
                <a:cubicBezTo>
                  <a:pt x="497" y="1781"/>
                  <a:pt x="498" y="1780"/>
                  <a:pt x="499" y="1779"/>
                </a:cubicBezTo>
                <a:cubicBezTo>
                  <a:pt x="499" y="1778"/>
                  <a:pt x="500" y="1777"/>
                  <a:pt x="501" y="1776"/>
                </a:cubicBezTo>
                <a:cubicBezTo>
                  <a:pt x="503" y="1775"/>
                  <a:pt x="504" y="1774"/>
                  <a:pt x="505" y="1773"/>
                </a:cubicBezTo>
                <a:cubicBezTo>
                  <a:pt x="505" y="1772"/>
                  <a:pt x="506" y="1772"/>
                  <a:pt x="507" y="1772"/>
                </a:cubicBezTo>
                <a:cubicBezTo>
                  <a:pt x="507" y="1771"/>
                  <a:pt x="508" y="1771"/>
                  <a:pt x="509" y="1771"/>
                </a:cubicBezTo>
                <a:cubicBezTo>
                  <a:pt x="509" y="1771"/>
                  <a:pt x="509" y="1772"/>
                  <a:pt x="510" y="1772"/>
                </a:cubicBezTo>
                <a:lnTo>
                  <a:pt x="566" y="1828"/>
                </a:lnTo>
                <a:cubicBezTo>
                  <a:pt x="570" y="1832"/>
                  <a:pt x="575" y="1836"/>
                  <a:pt x="579" y="1838"/>
                </a:cubicBezTo>
                <a:cubicBezTo>
                  <a:pt x="583" y="1840"/>
                  <a:pt x="587" y="1841"/>
                  <a:pt x="591" y="1841"/>
                </a:cubicBezTo>
                <a:cubicBezTo>
                  <a:pt x="596" y="1841"/>
                  <a:pt x="600" y="1841"/>
                  <a:pt x="603" y="1839"/>
                </a:cubicBezTo>
                <a:cubicBezTo>
                  <a:pt x="607" y="1837"/>
                  <a:pt x="611" y="1835"/>
                  <a:pt x="614" y="1831"/>
                </a:cubicBezTo>
                <a:cubicBezTo>
                  <a:pt x="618" y="1827"/>
                  <a:pt x="621" y="1824"/>
                  <a:pt x="622" y="1820"/>
                </a:cubicBezTo>
                <a:cubicBezTo>
                  <a:pt x="624" y="1816"/>
                  <a:pt x="625" y="1812"/>
                  <a:pt x="625" y="1808"/>
                </a:cubicBezTo>
                <a:cubicBezTo>
                  <a:pt x="625" y="1804"/>
                  <a:pt x="624" y="1800"/>
                  <a:pt x="621" y="1796"/>
                </a:cubicBezTo>
                <a:cubicBezTo>
                  <a:pt x="619" y="1792"/>
                  <a:pt x="616" y="1787"/>
                  <a:pt x="612" y="1783"/>
                </a:cubicBezTo>
                <a:lnTo>
                  <a:pt x="555" y="1726"/>
                </a:lnTo>
                <a:cubicBezTo>
                  <a:pt x="555" y="1726"/>
                  <a:pt x="555" y="1726"/>
                  <a:pt x="555" y="1725"/>
                </a:cubicBezTo>
                <a:cubicBezTo>
                  <a:pt x="554" y="1725"/>
                  <a:pt x="555" y="1724"/>
                  <a:pt x="555" y="1724"/>
                </a:cubicBezTo>
                <a:cubicBezTo>
                  <a:pt x="555" y="1723"/>
                  <a:pt x="556" y="1722"/>
                  <a:pt x="556" y="1721"/>
                </a:cubicBezTo>
                <a:cubicBezTo>
                  <a:pt x="557" y="1720"/>
                  <a:pt x="558" y="1719"/>
                  <a:pt x="559" y="1718"/>
                </a:cubicBezTo>
                <a:cubicBezTo>
                  <a:pt x="560" y="1717"/>
                  <a:pt x="561" y="1716"/>
                  <a:pt x="562" y="1715"/>
                </a:cubicBezTo>
                <a:cubicBezTo>
                  <a:pt x="563" y="1715"/>
                  <a:pt x="564" y="1714"/>
                  <a:pt x="565" y="1714"/>
                </a:cubicBezTo>
                <a:cubicBezTo>
                  <a:pt x="565" y="1714"/>
                  <a:pt x="566" y="1713"/>
                  <a:pt x="566" y="1714"/>
                </a:cubicBezTo>
                <a:cubicBezTo>
                  <a:pt x="567" y="1714"/>
                  <a:pt x="567" y="1714"/>
                  <a:pt x="568" y="1714"/>
                </a:cubicBezTo>
                <a:lnTo>
                  <a:pt x="624" y="1771"/>
                </a:lnTo>
                <a:close/>
                <a:moveTo>
                  <a:pt x="699" y="1726"/>
                </a:moveTo>
                <a:cubicBezTo>
                  <a:pt x="702" y="1729"/>
                  <a:pt x="705" y="1733"/>
                  <a:pt x="706" y="1737"/>
                </a:cubicBezTo>
                <a:cubicBezTo>
                  <a:pt x="707" y="1741"/>
                  <a:pt x="708" y="1744"/>
                  <a:pt x="707" y="1748"/>
                </a:cubicBezTo>
                <a:cubicBezTo>
                  <a:pt x="707" y="1752"/>
                  <a:pt x="706" y="1756"/>
                  <a:pt x="703" y="1761"/>
                </a:cubicBezTo>
                <a:cubicBezTo>
                  <a:pt x="701" y="1765"/>
                  <a:pt x="698" y="1768"/>
                  <a:pt x="694" y="1772"/>
                </a:cubicBezTo>
                <a:cubicBezTo>
                  <a:pt x="692" y="1774"/>
                  <a:pt x="690" y="1776"/>
                  <a:pt x="687" y="1778"/>
                </a:cubicBezTo>
                <a:cubicBezTo>
                  <a:pt x="685" y="1780"/>
                  <a:pt x="683" y="1781"/>
                  <a:pt x="680" y="1782"/>
                </a:cubicBezTo>
                <a:cubicBezTo>
                  <a:pt x="678" y="1784"/>
                  <a:pt x="676" y="1784"/>
                  <a:pt x="674" y="1785"/>
                </a:cubicBezTo>
                <a:cubicBezTo>
                  <a:pt x="673" y="1785"/>
                  <a:pt x="671" y="1786"/>
                  <a:pt x="670" y="1786"/>
                </a:cubicBezTo>
                <a:cubicBezTo>
                  <a:pt x="669" y="1786"/>
                  <a:pt x="668" y="1786"/>
                  <a:pt x="667" y="1785"/>
                </a:cubicBezTo>
                <a:cubicBezTo>
                  <a:pt x="666" y="1784"/>
                  <a:pt x="665" y="1783"/>
                  <a:pt x="663" y="1782"/>
                </a:cubicBezTo>
                <a:cubicBezTo>
                  <a:pt x="662" y="1781"/>
                  <a:pt x="662" y="1780"/>
                  <a:pt x="661" y="1779"/>
                </a:cubicBezTo>
                <a:cubicBezTo>
                  <a:pt x="661" y="1779"/>
                  <a:pt x="660" y="1778"/>
                  <a:pt x="660" y="1777"/>
                </a:cubicBezTo>
                <a:cubicBezTo>
                  <a:pt x="660" y="1777"/>
                  <a:pt x="660" y="1776"/>
                  <a:pt x="660" y="1776"/>
                </a:cubicBezTo>
                <a:cubicBezTo>
                  <a:pt x="660" y="1776"/>
                  <a:pt x="660" y="1775"/>
                  <a:pt x="660" y="1775"/>
                </a:cubicBezTo>
                <a:cubicBezTo>
                  <a:pt x="661" y="1774"/>
                  <a:pt x="662" y="1774"/>
                  <a:pt x="664" y="1774"/>
                </a:cubicBezTo>
                <a:cubicBezTo>
                  <a:pt x="665" y="1773"/>
                  <a:pt x="667" y="1773"/>
                  <a:pt x="670" y="1772"/>
                </a:cubicBezTo>
                <a:cubicBezTo>
                  <a:pt x="672" y="1771"/>
                  <a:pt x="674" y="1770"/>
                  <a:pt x="677" y="1769"/>
                </a:cubicBezTo>
                <a:cubicBezTo>
                  <a:pt x="680" y="1767"/>
                  <a:pt x="683" y="1765"/>
                  <a:pt x="685" y="1762"/>
                </a:cubicBezTo>
                <a:cubicBezTo>
                  <a:pt x="687" y="1760"/>
                  <a:pt x="689" y="1758"/>
                  <a:pt x="690" y="1756"/>
                </a:cubicBezTo>
                <a:cubicBezTo>
                  <a:pt x="691" y="1754"/>
                  <a:pt x="692" y="1752"/>
                  <a:pt x="692" y="1750"/>
                </a:cubicBezTo>
                <a:cubicBezTo>
                  <a:pt x="693" y="1748"/>
                  <a:pt x="693" y="1746"/>
                  <a:pt x="692" y="1744"/>
                </a:cubicBezTo>
                <a:cubicBezTo>
                  <a:pt x="691" y="1742"/>
                  <a:pt x="690" y="1740"/>
                  <a:pt x="688" y="1739"/>
                </a:cubicBezTo>
                <a:cubicBezTo>
                  <a:pt x="686" y="1737"/>
                  <a:pt x="684" y="1736"/>
                  <a:pt x="682" y="1735"/>
                </a:cubicBezTo>
                <a:cubicBezTo>
                  <a:pt x="680" y="1735"/>
                  <a:pt x="678" y="1735"/>
                  <a:pt x="675" y="1736"/>
                </a:cubicBezTo>
                <a:cubicBezTo>
                  <a:pt x="673" y="1736"/>
                  <a:pt x="670" y="1737"/>
                  <a:pt x="668" y="1738"/>
                </a:cubicBezTo>
                <a:cubicBezTo>
                  <a:pt x="665" y="1740"/>
                  <a:pt x="662" y="1741"/>
                  <a:pt x="659" y="1742"/>
                </a:cubicBezTo>
                <a:cubicBezTo>
                  <a:pt x="656" y="1743"/>
                  <a:pt x="654" y="1744"/>
                  <a:pt x="651" y="1745"/>
                </a:cubicBezTo>
                <a:cubicBezTo>
                  <a:pt x="648" y="1746"/>
                  <a:pt x="645" y="1747"/>
                  <a:pt x="642" y="1747"/>
                </a:cubicBezTo>
                <a:cubicBezTo>
                  <a:pt x="639" y="1747"/>
                  <a:pt x="636" y="1746"/>
                  <a:pt x="633" y="1745"/>
                </a:cubicBezTo>
                <a:cubicBezTo>
                  <a:pt x="630" y="1744"/>
                  <a:pt x="627" y="1742"/>
                  <a:pt x="624" y="1739"/>
                </a:cubicBezTo>
                <a:cubicBezTo>
                  <a:pt x="621" y="1737"/>
                  <a:pt x="619" y="1734"/>
                  <a:pt x="618" y="1730"/>
                </a:cubicBezTo>
                <a:cubicBezTo>
                  <a:pt x="617" y="1727"/>
                  <a:pt x="616" y="1724"/>
                  <a:pt x="616" y="1720"/>
                </a:cubicBezTo>
                <a:cubicBezTo>
                  <a:pt x="617" y="1716"/>
                  <a:pt x="618" y="1712"/>
                  <a:pt x="619" y="1708"/>
                </a:cubicBezTo>
                <a:cubicBezTo>
                  <a:pt x="621" y="1704"/>
                  <a:pt x="624" y="1700"/>
                  <a:pt x="628" y="1696"/>
                </a:cubicBezTo>
                <a:cubicBezTo>
                  <a:pt x="630" y="1695"/>
                  <a:pt x="632" y="1693"/>
                  <a:pt x="634" y="1692"/>
                </a:cubicBezTo>
                <a:cubicBezTo>
                  <a:pt x="636" y="1690"/>
                  <a:pt x="638" y="1689"/>
                  <a:pt x="640" y="1688"/>
                </a:cubicBezTo>
                <a:cubicBezTo>
                  <a:pt x="641" y="1687"/>
                  <a:pt x="643" y="1686"/>
                  <a:pt x="644" y="1686"/>
                </a:cubicBezTo>
                <a:cubicBezTo>
                  <a:pt x="646" y="1685"/>
                  <a:pt x="647" y="1685"/>
                  <a:pt x="648" y="1685"/>
                </a:cubicBezTo>
                <a:cubicBezTo>
                  <a:pt x="649" y="1685"/>
                  <a:pt x="650" y="1685"/>
                  <a:pt x="650" y="1685"/>
                </a:cubicBezTo>
                <a:cubicBezTo>
                  <a:pt x="651" y="1685"/>
                  <a:pt x="651" y="1685"/>
                  <a:pt x="651" y="1686"/>
                </a:cubicBezTo>
                <a:cubicBezTo>
                  <a:pt x="652" y="1686"/>
                  <a:pt x="652" y="1686"/>
                  <a:pt x="653" y="1687"/>
                </a:cubicBezTo>
                <a:cubicBezTo>
                  <a:pt x="654" y="1687"/>
                  <a:pt x="654" y="1688"/>
                  <a:pt x="655" y="1689"/>
                </a:cubicBezTo>
                <a:cubicBezTo>
                  <a:pt x="656" y="1689"/>
                  <a:pt x="656" y="1690"/>
                  <a:pt x="657" y="1691"/>
                </a:cubicBezTo>
                <a:cubicBezTo>
                  <a:pt x="658" y="1691"/>
                  <a:pt x="658" y="1692"/>
                  <a:pt x="658" y="1693"/>
                </a:cubicBezTo>
                <a:cubicBezTo>
                  <a:pt x="658" y="1693"/>
                  <a:pt x="658" y="1694"/>
                  <a:pt x="658" y="1694"/>
                </a:cubicBezTo>
                <a:cubicBezTo>
                  <a:pt x="658" y="1694"/>
                  <a:pt x="658" y="1695"/>
                  <a:pt x="658" y="1695"/>
                </a:cubicBezTo>
                <a:cubicBezTo>
                  <a:pt x="657" y="1696"/>
                  <a:pt x="656" y="1696"/>
                  <a:pt x="655" y="1696"/>
                </a:cubicBezTo>
                <a:cubicBezTo>
                  <a:pt x="654" y="1696"/>
                  <a:pt x="652" y="1697"/>
                  <a:pt x="650" y="1698"/>
                </a:cubicBezTo>
                <a:cubicBezTo>
                  <a:pt x="648" y="1698"/>
                  <a:pt x="646" y="1699"/>
                  <a:pt x="644" y="1701"/>
                </a:cubicBezTo>
                <a:cubicBezTo>
                  <a:pt x="642" y="1702"/>
                  <a:pt x="639" y="1703"/>
                  <a:pt x="637" y="1706"/>
                </a:cubicBezTo>
                <a:cubicBezTo>
                  <a:pt x="635" y="1708"/>
                  <a:pt x="634" y="1710"/>
                  <a:pt x="633" y="1712"/>
                </a:cubicBezTo>
                <a:cubicBezTo>
                  <a:pt x="632" y="1714"/>
                  <a:pt x="631" y="1716"/>
                  <a:pt x="631" y="1717"/>
                </a:cubicBezTo>
                <a:cubicBezTo>
                  <a:pt x="631" y="1719"/>
                  <a:pt x="631" y="1721"/>
                  <a:pt x="632" y="1723"/>
                </a:cubicBezTo>
                <a:cubicBezTo>
                  <a:pt x="632" y="1724"/>
                  <a:pt x="633" y="1726"/>
                  <a:pt x="634" y="1727"/>
                </a:cubicBezTo>
                <a:cubicBezTo>
                  <a:pt x="636" y="1729"/>
                  <a:pt x="638" y="1730"/>
                  <a:pt x="641" y="1730"/>
                </a:cubicBezTo>
                <a:cubicBezTo>
                  <a:pt x="643" y="1731"/>
                  <a:pt x="645" y="1731"/>
                  <a:pt x="648" y="1730"/>
                </a:cubicBezTo>
                <a:cubicBezTo>
                  <a:pt x="650" y="1729"/>
                  <a:pt x="653" y="1729"/>
                  <a:pt x="656" y="1727"/>
                </a:cubicBezTo>
                <a:cubicBezTo>
                  <a:pt x="658" y="1726"/>
                  <a:pt x="661" y="1725"/>
                  <a:pt x="664" y="1724"/>
                </a:cubicBezTo>
                <a:cubicBezTo>
                  <a:pt x="667" y="1722"/>
                  <a:pt x="670" y="1721"/>
                  <a:pt x="673" y="1720"/>
                </a:cubicBezTo>
                <a:cubicBezTo>
                  <a:pt x="676" y="1719"/>
                  <a:pt x="679" y="1719"/>
                  <a:pt x="682" y="1719"/>
                </a:cubicBezTo>
                <a:cubicBezTo>
                  <a:pt x="685" y="1719"/>
                  <a:pt x="688" y="1719"/>
                  <a:pt x="690" y="1720"/>
                </a:cubicBezTo>
                <a:cubicBezTo>
                  <a:pt x="693" y="1721"/>
                  <a:pt x="696" y="1723"/>
                  <a:pt x="699" y="1726"/>
                </a:cubicBezTo>
                <a:close/>
                <a:moveTo>
                  <a:pt x="753" y="1637"/>
                </a:moveTo>
                <a:cubicBezTo>
                  <a:pt x="755" y="1639"/>
                  <a:pt x="755" y="1641"/>
                  <a:pt x="755" y="1643"/>
                </a:cubicBezTo>
                <a:cubicBezTo>
                  <a:pt x="755" y="1644"/>
                  <a:pt x="754" y="1646"/>
                  <a:pt x="753" y="1647"/>
                </a:cubicBezTo>
                <a:lnTo>
                  <a:pt x="711" y="1690"/>
                </a:lnTo>
                <a:cubicBezTo>
                  <a:pt x="714" y="1693"/>
                  <a:pt x="718" y="1696"/>
                  <a:pt x="721" y="1698"/>
                </a:cubicBezTo>
                <a:cubicBezTo>
                  <a:pt x="725" y="1700"/>
                  <a:pt x="729" y="1702"/>
                  <a:pt x="732" y="1702"/>
                </a:cubicBezTo>
                <a:cubicBezTo>
                  <a:pt x="736" y="1702"/>
                  <a:pt x="740" y="1702"/>
                  <a:pt x="744" y="1700"/>
                </a:cubicBezTo>
                <a:cubicBezTo>
                  <a:pt x="748" y="1699"/>
                  <a:pt x="751" y="1696"/>
                  <a:pt x="755" y="1692"/>
                </a:cubicBezTo>
                <a:cubicBezTo>
                  <a:pt x="758" y="1689"/>
                  <a:pt x="761" y="1686"/>
                  <a:pt x="763" y="1683"/>
                </a:cubicBezTo>
                <a:cubicBezTo>
                  <a:pt x="765" y="1680"/>
                  <a:pt x="766" y="1678"/>
                  <a:pt x="767" y="1675"/>
                </a:cubicBezTo>
                <a:cubicBezTo>
                  <a:pt x="768" y="1673"/>
                  <a:pt x="769" y="1671"/>
                  <a:pt x="770" y="1669"/>
                </a:cubicBezTo>
                <a:cubicBezTo>
                  <a:pt x="771" y="1667"/>
                  <a:pt x="771" y="1666"/>
                  <a:pt x="772" y="1666"/>
                </a:cubicBezTo>
                <a:cubicBezTo>
                  <a:pt x="772" y="1665"/>
                  <a:pt x="772" y="1665"/>
                  <a:pt x="773" y="1665"/>
                </a:cubicBezTo>
                <a:cubicBezTo>
                  <a:pt x="773" y="1665"/>
                  <a:pt x="774" y="1665"/>
                  <a:pt x="774" y="1665"/>
                </a:cubicBezTo>
                <a:cubicBezTo>
                  <a:pt x="775" y="1665"/>
                  <a:pt x="775" y="1666"/>
                  <a:pt x="776" y="1666"/>
                </a:cubicBezTo>
                <a:cubicBezTo>
                  <a:pt x="777" y="1667"/>
                  <a:pt x="777" y="1668"/>
                  <a:pt x="778" y="1668"/>
                </a:cubicBezTo>
                <a:cubicBezTo>
                  <a:pt x="779" y="1669"/>
                  <a:pt x="779" y="1670"/>
                  <a:pt x="780" y="1670"/>
                </a:cubicBezTo>
                <a:cubicBezTo>
                  <a:pt x="780" y="1671"/>
                  <a:pt x="781" y="1671"/>
                  <a:pt x="781" y="1672"/>
                </a:cubicBezTo>
                <a:cubicBezTo>
                  <a:pt x="781" y="1672"/>
                  <a:pt x="781" y="1672"/>
                  <a:pt x="782" y="1673"/>
                </a:cubicBezTo>
                <a:cubicBezTo>
                  <a:pt x="782" y="1673"/>
                  <a:pt x="782" y="1674"/>
                  <a:pt x="782" y="1674"/>
                </a:cubicBezTo>
                <a:cubicBezTo>
                  <a:pt x="782" y="1675"/>
                  <a:pt x="781" y="1676"/>
                  <a:pt x="781" y="1678"/>
                </a:cubicBezTo>
                <a:cubicBezTo>
                  <a:pt x="780" y="1680"/>
                  <a:pt x="779" y="1682"/>
                  <a:pt x="777" y="1685"/>
                </a:cubicBezTo>
                <a:cubicBezTo>
                  <a:pt x="776" y="1687"/>
                  <a:pt x="774" y="1690"/>
                  <a:pt x="772" y="1693"/>
                </a:cubicBezTo>
                <a:cubicBezTo>
                  <a:pt x="770" y="1697"/>
                  <a:pt x="767" y="1700"/>
                  <a:pt x="764" y="1703"/>
                </a:cubicBezTo>
                <a:cubicBezTo>
                  <a:pt x="759" y="1708"/>
                  <a:pt x="753" y="1712"/>
                  <a:pt x="748" y="1715"/>
                </a:cubicBezTo>
                <a:cubicBezTo>
                  <a:pt x="742" y="1717"/>
                  <a:pt x="737" y="1718"/>
                  <a:pt x="731" y="1718"/>
                </a:cubicBezTo>
                <a:cubicBezTo>
                  <a:pt x="725" y="1718"/>
                  <a:pt x="720" y="1716"/>
                  <a:pt x="714" y="1713"/>
                </a:cubicBezTo>
                <a:cubicBezTo>
                  <a:pt x="708" y="1710"/>
                  <a:pt x="702" y="1706"/>
                  <a:pt x="696" y="1700"/>
                </a:cubicBezTo>
                <a:cubicBezTo>
                  <a:pt x="691" y="1694"/>
                  <a:pt x="686" y="1689"/>
                  <a:pt x="683" y="1683"/>
                </a:cubicBezTo>
                <a:cubicBezTo>
                  <a:pt x="680" y="1677"/>
                  <a:pt x="679" y="1671"/>
                  <a:pt x="678" y="1665"/>
                </a:cubicBezTo>
                <a:cubicBezTo>
                  <a:pt x="678" y="1660"/>
                  <a:pt x="679" y="1654"/>
                  <a:pt x="681" y="1648"/>
                </a:cubicBezTo>
                <a:cubicBezTo>
                  <a:pt x="683" y="1643"/>
                  <a:pt x="687" y="1638"/>
                  <a:pt x="691" y="1633"/>
                </a:cubicBezTo>
                <a:cubicBezTo>
                  <a:pt x="697" y="1628"/>
                  <a:pt x="702" y="1624"/>
                  <a:pt x="707" y="1623"/>
                </a:cubicBezTo>
                <a:cubicBezTo>
                  <a:pt x="712" y="1621"/>
                  <a:pt x="717" y="1620"/>
                  <a:pt x="722" y="1620"/>
                </a:cubicBezTo>
                <a:cubicBezTo>
                  <a:pt x="727" y="1621"/>
                  <a:pt x="732" y="1622"/>
                  <a:pt x="737" y="1625"/>
                </a:cubicBezTo>
                <a:cubicBezTo>
                  <a:pt x="742" y="1628"/>
                  <a:pt x="746" y="1631"/>
                  <a:pt x="751" y="1635"/>
                </a:cubicBezTo>
                <a:lnTo>
                  <a:pt x="753" y="1637"/>
                </a:lnTo>
                <a:close/>
                <a:moveTo>
                  <a:pt x="737" y="1646"/>
                </a:moveTo>
                <a:cubicBezTo>
                  <a:pt x="731" y="1639"/>
                  <a:pt x="725" y="1636"/>
                  <a:pt x="718" y="1635"/>
                </a:cubicBezTo>
                <a:cubicBezTo>
                  <a:pt x="712" y="1635"/>
                  <a:pt x="706" y="1637"/>
                  <a:pt x="700" y="1643"/>
                </a:cubicBezTo>
                <a:cubicBezTo>
                  <a:pt x="697" y="1646"/>
                  <a:pt x="695" y="1649"/>
                  <a:pt x="694" y="1652"/>
                </a:cubicBezTo>
                <a:cubicBezTo>
                  <a:pt x="693" y="1656"/>
                  <a:pt x="693" y="1659"/>
                  <a:pt x="693" y="1662"/>
                </a:cubicBezTo>
                <a:cubicBezTo>
                  <a:pt x="693" y="1666"/>
                  <a:pt x="694" y="1669"/>
                  <a:pt x="696" y="1672"/>
                </a:cubicBezTo>
                <a:cubicBezTo>
                  <a:pt x="697" y="1675"/>
                  <a:pt x="699" y="1678"/>
                  <a:pt x="702" y="1681"/>
                </a:cubicBezTo>
                <a:lnTo>
                  <a:pt x="737" y="1646"/>
                </a:lnTo>
                <a:close/>
                <a:moveTo>
                  <a:pt x="896" y="1558"/>
                </a:moveTo>
                <a:cubicBezTo>
                  <a:pt x="896" y="1559"/>
                  <a:pt x="897" y="1560"/>
                  <a:pt x="898" y="1561"/>
                </a:cubicBezTo>
                <a:cubicBezTo>
                  <a:pt x="898" y="1561"/>
                  <a:pt x="899" y="1562"/>
                  <a:pt x="899" y="1563"/>
                </a:cubicBezTo>
                <a:cubicBezTo>
                  <a:pt x="899" y="1563"/>
                  <a:pt x="899" y="1564"/>
                  <a:pt x="899" y="1564"/>
                </a:cubicBezTo>
                <a:cubicBezTo>
                  <a:pt x="899" y="1565"/>
                  <a:pt x="899" y="1565"/>
                  <a:pt x="898" y="1566"/>
                </a:cubicBezTo>
                <a:lnTo>
                  <a:pt x="854" y="1610"/>
                </a:lnTo>
                <a:cubicBezTo>
                  <a:pt x="852" y="1611"/>
                  <a:pt x="851" y="1612"/>
                  <a:pt x="849" y="1612"/>
                </a:cubicBezTo>
                <a:cubicBezTo>
                  <a:pt x="848" y="1613"/>
                  <a:pt x="846" y="1612"/>
                  <a:pt x="844" y="1610"/>
                </a:cubicBezTo>
                <a:lnTo>
                  <a:pt x="761" y="1527"/>
                </a:lnTo>
                <a:cubicBezTo>
                  <a:pt x="759" y="1525"/>
                  <a:pt x="758" y="1523"/>
                  <a:pt x="759" y="1522"/>
                </a:cubicBezTo>
                <a:cubicBezTo>
                  <a:pt x="759" y="1520"/>
                  <a:pt x="760" y="1519"/>
                  <a:pt x="761" y="1517"/>
                </a:cubicBezTo>
                <a:lnTo>
                  <a:pt x="805" y="1473"/>
                </a:lnTo>
                <a:cubicBezTo>
                  <a:pt x="805" y="1473"/>
                  <a:pt x="806" y="1473"/>
                  <a:pt x="806" y="1473"/>
                </a:cubicBezTo>
                <a:cubicBezTo>
                  <a:pt x="807" y="1472"/>
                  <a:pt x="807" y="1472"/>
                  <a:pt x="808" y="1473"/>
                </a:cubicBezTo>
                <a:cubicBezTo>
                  <a:pt x="808" y="1473"/>
                  <a:pt x="809" y="1473"/>
                  <a:pt x="810" y="1474"/>
                </a:cubicBezTo>
                <a:cubicBezTo>
                  <a:pt x="811" y="1474"/>
                  <a:pt x="811" y="1475"/>
                  <a:pt x="812" y="1476"/>
                </a:cubicBezTo>
                <a:cubicBezTo>
                  <a:pt x="813" y="1477"/>
                  <a:pt x="814" y="1478"/>
                  <a:pt x="814" y="1479"/>
                </a:cubicBezTo>
                <a:cubicBezTo>
                  <a:pt x="815" y="1479"/>
                  <a:pt x="815" y="1480"/>
                  <a:pt x="816" y="1481"/>
                </a:cubicBezTo>
                <a:cubicBezTo>
                  <a:pt x="816" y="1481"/>
                  <a:pt x="816" y="1482"/>
                  <a:pt x="816" y="1482"/>
                </a:cubicBezTo>
                <a:cubicBezTo>
                  <a:pt x="816" y="1483"/>
                  <a:pt x="815" y="1483"/>
                  <a:pt x="815" y="1484"/>
                </a:cubicBezTo>
                <a:lnTo>
                  <a:pt x="779" y="1520"/>
                </a:lnTo>
                <a:lnTo>
                  <a:pt x="808" y="1549"/>
                </a:lnTo>
                <a:lnTo>
                  <a:pt x="839" y="1518"/>
                </a:lnTo>
                <a:cubicBezTo>
                  <a:pt x="839" y="1518"/>
                  <a:pt x="840" y="1517"/>
                  <a:pt x="840" y="1517"/>
                </a:cubicBezTo>
                <a:cubicBezTo>
                  <a:pt x="841" y="1517"/>
                  <a:pt x="841" y="1517"/>
                  <a:pt x="842" y="1517"/>
                </a:cubicBezTo>
                <a:cubicBezTo>
                  <a:pt x="843" y="1517"/>
                  <a:pt x="843" y="1518"/>
                  <a:pt x="844" y="1518"/>
                </a:cubicBezTo>
                <a:cubicBezTo>
                  <a:pt x="845" y="1519"/>
                  <a:pt x="846" y="1520"/>
                  <a:pt x="847" y="1521"/>
                </a:cubicBezTo>
                <a:cubicBezTo>
                  <a:pt x="847" y="1522"/>
                  <a:pt x="848" y="1522"/>
                  <a:pt x="849" y="1523"/>
                </a:cubicBezTo>
                <a:cubicBezTo>
                  <a:pt x="849" y="1524"/>
                  <a:pt x="850" y="1524"/>
                  <a:pt x="850" y="1525"/>
                </a:cubicBezTo>
                <a:cubicBezTo>
                  <a:pt x="850" y="1526"/>
                  <a:pt x="850" y="1526"/>
                  <a:pt x="850" y="1527"/>
                </a:cubicBezTo>
                <a:cubicBezTo>
                  <a:pt x="850" y="1527"/>
                  <a:pt x="849" y="1528"/>
                  <a:pt x="849" y="1528"/>
                </a:cubicBezTo>
                <a:lnTo>
                  <a:pt x="818" y="1559"/>
                </a:lnTo>
                <a:lnTo>
                  <a:pt x="851" y="1592"/>
                </a:lnTo>
                <a:lnTo>
                  <a:pt x="888" y="1555"/>
                </a:lnTo>
                <a:cubicBezTo>
                  <a:pt x="888" y="1555"/>
                  <a:pt x="889" y="1555"/>
                  <a:pt x="889" y="1555"/>
                </a:cubicBezTo>
                <a:cubicBezTo>
                  <a:pt x="890" y="1555"/>
                  <a:pt x="890" y="1555"/>
                  <a:pt x="891" y="1555"/>
                </a:cubicBezTo>
                <a:cubicBezTo>
                  <a:pt x="892" y="1555"/>
                  <a:pt x="892" y="1555"/>
                  <a:pt x="893" y="1556"/>
                </a:cubicBezTo>
                <a:cubicBezTo>
                  <a:pt x="894" y="1556"/>
                  <a:pt x="895" y="1557"/>
                  <a:pt x="896" y="1558"/>
                </a:cubicBezTo>
                <a:close/>
                <a:moveTo>
                  <a:pt x="969" y="1491"/>
                </a:moveTo>
                <a:cubicBezTo>
                  <a:pt x="970" y="1491"/>
                  <a:pt x="970" y="1492"/>
                  <a:pt x="970" y="1492"/>
                </a:cubicBezTo>
                <a:cubicBezTo>
                  <a:pt x="970" y="1493"/>
                  <a:pt x="970" y="1493"/>
                  <a:pt x="970" y="1494"/>
                </a:cubicBezTo>
                <a:cubicBezTo>
                  <a:pt x="970" y="1494"/>
                  <a:pt x="969" y="1495"/>
                  <a:pt x="968" y="1496"/>
                </a:cubicBezTo>
                <a:cubicBezTo>
                  <a:pt x="968" y="1497"/>
                  <a:pt x="967" y="1498"/>
                  <a:pt x="966" y="1499"/>
                </a:cubicBezTo>
                <a:cubicBezTo>
                  <a:pt x="964" y="1500"/>
                  <a:pt x="963" y="1501"/>
                  <a:pt x="963" y="1502"/>
                </a:cubicBezTo>
                <a:cubicBezTo>
                  <a:pt x="962" y="1503"/>
                  <a:pt x="961" y="1503"/>
                  <a:pt x="960" y="1503"/>
                </a:cubicBezTo>
                <a:cubicBezTo>
                  <a:pt x="960" y="1503"/>
                  <a:pt x="959" y="1504"/>
                  <a:pt x="959" y="1503"/>
                </a:cubicBezTo>
                <a:cubicBezTo>
                  <a:pt x="958" y="1503"/>
                  <a:pt x="958" y="1503"/>
                  <a:pt x="957" y="1503"/>
                </a:cubicBezTo>
                <a:lnTo>
                  <a:pt x="920" y="1465"/>
                </a:lnTo>
                <a:cubicBezTo>
                  <a:pt x="916" y="1461"/>
                  <a:pt x="913" y="1459"/>
                  <a:pt x="910" y="1457"/>
                </a:cubicBezTo>
                <a:cubicBezTo>
                  <a:pt x="907" y="1455"/>
                  <a:pt x="904" y="1454"/>
                  <a:pt x="902" y="1454"/>
                </a:cubicBezTo>
                <a:cubicBezTo>
                  <a:pt x="899" y="1453"/>
                  <a:pt x="896" y="1453"/>
                  <a:pt x="894" y="1454"/>
                </a:cubicBezTo>
                <a:cubicBezTo>
                  <a:pt x="891" y="1455"/>
                  <a:pt x="888" y="1457"/>
                  <a:pt x="886" y="1459"/>
                </a:cubicBezTo>
                <a:cubicBezTo>
                  <a:pt x="883" y="1462"/>
                  <a:pt x="881" y="1466"/>
                  <a:pt x="880" y="1471"/>
                </a:cubicBezTo>
                <a:cubicBezTo>
                  <a:pt x="880" y="1476"/>
                  <a:pt x="880" y="1482"/>
                  <a:pt x="880" y="1490"/>
                </a:cubicBezTo>
                <a:lnTo>
                  <a:pt x="926" y="1535"/>
                </a:lnTo>
                <a:cubicBezTo>
                  <a:pt x="926" y="1535"/>
                  <a:pt x="926" y="1536"/>
                  <a:pt x="926" y="1536"/>
                </a:cubicBezTo>
                <a:cubicBezTo>
                  <a:pt x="926" y="1536"/>
                  <a:pt x="926" y="1537"/>
                  <a:pt x="926" y="1538"/>
                </a:cubicBezTo>
                <a:cubicBezTo>
                  <a:pt x="926" y="1538"/>
                  <a:pt x="925" y="1539"/>
                  <a:pt x="925" y="1540"/>
                </a:cubicBezTo>
                <a:cubicBezTo>
                  <a:pt x="924" y="1541"/>
                  <a:pt x="923" y="1542"/>
                  <a:pt x="922" y="1543"/>
                </a:cubicBezTo>
                <a:cubicBezTo>
                  <a:pt x="921" y="1544"/>
                  <a:pt x="920" y="1545"/>
                  <a:pt x="919" y="1546"/>
                </a:cubicBezTo>
                <a:cubicBezTo>
                  <a:pt x="918" y="1546"/>
                  <a:pt x="917" y="1547"/>
                  <a:pt x="917" y="1547"/>
                </a:cubicBezTo>
                <a:cubicBezTo>
                  <a:pt x="916" y="1547"/>
                  <a:pt x="915" y="1547"/>
                  <a:pt x="915" y="1547"/>
                </a:cubicBezTo>
                <a:cubicBezTo>
                  <a:pt x="914" y="1547"/>
                  <a:pt x="914" y="1547"/>
                  <a:pt x="914" y="1547"/>
                </a:cubicBezTo>
                <a:lnTo>
                  <a:pt x="849" y="1482"/>
                </a:lnTo>
                <a:cubicBezTo>
                  <a:pt x="849" y="1482"/>
                  <a:pt x="848" y="1481"/>
                  <a:pt x="848" y="1481"/>
                </a:cubicBezTo>
                <a:cubicBezTo>
                  <a:pt x="848" y="1480"/>
                  <a:pt x="848" y="1480"/>
                  <a:pt x="848" y="1479"/>
                </a:cubicBezTo>
                <a:cubicBezTo>
                  <a:pt x="849" y="1479"/>
                  <a:pt x="849" y="1478"/>
                  <a:pt x="850" y="1477"/>
                </a:cubicBezTo>
                <a:cubicBezTo>
                  <a:pt x="850" y="1476"/>
                  <a:pt x="851" y="1475"/>
                  <a:pt x="852" y="1474"/>
                </a:cubicBezTo>
                <a:cubicBezTo>
                  <a:pt x="853" y="1473"/>
                  <a:pt x="854" y="1472"/>
                  <a:pt x="855" y="1472"/>
                </a:cubicBezTo>
                <a:cubicBezTo>
                  <a:pt x="856" y="1471"/>
                  <a:pt x="856" y="1471"/>
                  <a:pt x="857" y="1471"/>
                </a:cubicBezTo>
                <a:cubicBezTo>
                  <a:pt x="858" y="1471"/>
                  <a:pt x="858" y="1470"/>
                  <a:pt x="859" y="1471"/>
                </a:cubicBezTo>
                <a:cubicBezTo>
                  <a:pt x="859" y="1471"/>
                  <a:pt x="859" y="1471"/>
                  <a:pt x="860" y="1471"/>
                </a:cubicBezTo>
                <a:lnTo>
                  <a:pt x="868" y="1480"/>
                </a:lnTo>
                <a:cubicBezTo>
                  <a:pt x="868" y="1472"/>
                  <a:pt x="868" y="1466"/>
                  <a:pt x="870" y="1460"/>
                </a:cubicBezTo>
                <a:cubicBezTo>
                  <a:pt x="872" y="1455"/>
                  <a:pt x="875" y="1450"/>
                  <a:pt x="878" y="1446"/>
                </a:cubicBezTo>
                <a:cubicBezTo>
                  <a:pt x="883" y="1442"/>
                  <a:pt x="887" y="1439"/>
                  <a:pt x="891" y="1438"/>
                </a:cubicBezTo>
                <a:cubicBezTo>
                  <a:pt x="896" y="1436"/>
                  <a:pt x="900" y="1436"/>
                  <a:pt x="904" y="1436"/>
                </a:cubicBezTo>
                <a:cubicBezTo>
                  <a:pt x="909" y="1437"/>
                  <a:pt x="913" y="1438"/>
                  <a:pt x="917" y="1441"/>
                </a:cubicBezTo>
                <a:cubicBezTo>
                  <a:pt x="921" y="1443"/>
                  <a:pt x="925" y="1447"/>
                  <a:pt x="930" y="1452"/>
                </a:cubicBezTo>
                <a:lnTo>
                  <a:pt x="969" y="1491"/>
                </a:lnTo>
                <a:close/>
                <a:moveTo>
                  <a:pt x="1013" y="1377"/>
                </a:moveTo>
                <a:cubicBezTo>
                  <a:pt x="1015" y="1379"/>
                  <a:pt x="1016" y="1381"/>
                  <a:pt x="1015" y="1383"/>
                </a:cubicBezTo>
                <a:cubicBezTo>
                  <a:pt x="1015" y="1384"/>
                  <a:pt x="1015" y="1386"/>
                  <a:pt x="1013" y="1387"/>
                </a:cubicBezTo>
                <a:lnTo>
                  <a:pt x="971" y="1430"/>
                </a:lnTo>
                <a:cubicBezTo>
                  <a:pt x="974" y="1433"/>
                  <a:pt x="978" y="1436"/>
                  <a:pt x="982" y="1438"/>
                </a:cubicBezTo>
                <a:cubicBezTo>
                  <a:pt x="985" y="1440"/>
                  <a:pt x="989" y="1442"/>
                  <a:pt x="993" y="1442"/>
                </a:cubicBezTo>
                <a:cubicBezTo>
                  <a:pt x="996" y="1442"/>
                  <a:pt x="1000" y="1442"/>
                  <a:pt x="1004" y="1440"/>
                </a:cubicBezTo>
                <a:cubicBezTo>
                  <a:pt x="1008" y="1438"/>
                  <a:pt x="1012" y="1436"/>
                  <a:pt x="1016" y="1432"/>
                </a:cubicBezTo>
                <a:cubicBezTo>
                  <a:pt x="1019" y="1429"/>
                  <a:pt x="1021" y="1426"/>
                  <a:pt x="1023" y="1423"/>
                </a:cubicBezTo>
                <a:cubicBezTo>
                  <a:pt x="1025" y="1420"/>
                  <a:pt x="1026" y="1417"/>
                  <a:pt x="1028" y="1415"/>
                </a:cubicBezTo>
                <a:cubicBezTo>
                  <a:pt x="1029" y="1413"/>
                  <a:pt x="1030" y="1411"/>
                  <a:pt x="1030" y="1409"/>
                </a:cubicBezTo>
                <a:cubicBezTo>
                  <a:pt x="1031" y="1407"/>
                  <a:pt x="1031" y="1406"/>
                  <a:pt x="1032" y="1406"/>
                </a:cubicBezTo>
                <a:cubicBezTo>
                  <a:pt x="1032" y="1405"/>
                  <a:pt x="1033" y="1405"/>
                  <a:pt x="1033" y="1405"/>
                </a:cubicBezTo>
                <a:cubicBezTo>
                  <a:pt x="1034" y="1405"/>
                  <a:pt x="1034" y="1405"/>
                  <a:pt x="1035" y="1405"/>
                </a:cubicBezTo>
                <a:cubicBezTo>
                  <a:pt x="1035" y="1405"/>
                  <a:pt x="1036" y="1406"/>
                  <a:pt x="1036" y="1406"/>
                </a:cubicBezTo>
                <a:cubicBezTo>
                  <a:pt x="1037" y="1407"/>
                  <a:pt x="1038" y="1407"/>
                  <a:pt x="1039" y="1408"/>
                </a:cubicBezTo>
                <a:cubicBezTo>
                  <a:pt x="1039" y="1409"/>
                  <a:pt x="1040" y="1409"/>
                  <a:pt x="1040" y="1410"/>
                </a:cubicBezTo>
                <a:cubicBezTo>
                  <a:pt x="1040" y="1410"/>
                  <a:pt x="1041" y="1411"/>
                  <a:pt x="1041" y="1411"/>
                </a:cubicBezTo>
                <a:cubicBezTo>
                  <a:pt x="1041" y="1412"/>
                  <a:pt x="1042" y="1412"/>
                  <a:pt x="1042" y="1413"/>
                </a:cubicBezTo>
                <a:cubicBezTo>
                  <a:pt x="1042" y="1413"/>
                  <a:pt x="1042" y="1414"/>
                  <a:pt x="1042" y="1414"/>
                </a:cubicBezTo>
                <a:cubicBezTo>
                  <a:pt x="1042" y="1415"/>
                  <a:pt x="1042" y="1416"/>
                  <a:pt x="1041" y="1418"/>
                </a:cubicBezTo>
                <a:cubicBezTo>
                  <a:pt x="1040" y="1420"/>
                  <a:pt x="1039" y="1422"/>
                  <a:pt x="1038" y="1425"/>
                </a:cubicBezTo>
                <a:cubicBezTo>
                  <a:pt x="1036" y="1427"/>
                  <a:pt x="1034" y="1430"/>
                  <a:pt x="1032" y="1433"/>
                </a:cubicBezTo>
                <a:cubicBezTo>
                  <a:pt x="1030" y="1436"/>
                  <a:pt x="1027" y="1440"/>
                  <a:pt x="1024" y="1443"/>
                </a:cubicBezTo>
                <a:cubicBezTo>
                  <a:pt x="1019" y="1448"/>
                  <a:pt x="1013" y="1452"/>
                  <a:pt x="1008" y="1454"/>
                </a:cubicBezTo>
                <a:cubicBezTo>
                  <a:pt x="1002" y="1457"/>
                  <a:pt x="997" y="1458"/>
                  <a:pt x="991" y="1458"/>
                </a:cubicBezTo>
                <a:cubicBezTo>
                  <a:pt x="985" y="1458"/>
                  <a:pt x="980" y="1456"/>
                  <a:pt x="974" y="1453"/>
                </a:cubicBezTo>
                <a:cubicBezTo>
                  <a:pt x="968" y="1450"/>
                  <a:pt x="962" y="1446"/>
                  <a:pt x="957" y="1440"/>
                </a:cubicBezTo>
                <a:cubicBezTo>
                  <a:pt x="951" y="1434"/>
                  <a:pt x="947" y="1428"/>
                  <a:pt x="944" y="1423"/>
                </a:cubicBezTo>
                <a:cubicBezTo>
                  <a:pt x="941" y="1417"/>
                  <a:pt x="939" y="1411"/>
                  <a:pt x="939" y="1405"/>
                </a:cubicBezTo>
                <a:cubicBezTo>
                  <a:pt x="938" y="1399"/>
                  <a:pt x="939" y="1394"/>
                  <a:pt x="941" y="1388"/>
                </a:cubicBezTo>
                <a:cubicBezTo>
                  <a:pt x="944" y="1383"/>
                  <a:pt x="947" y="1378"/>
                  <a:pt x="952" y="1373"/>
                </a:cubicBezTo>
                <a:cubicBezTo>
                  <a:pt x="957" y="1368"/>
                  <a:pt x="962" y="1364"/>
                  <a:pt x="967" y="1362"/>
                </a:cubicBezTo>
                <a:cubicBezTo>
                  <a:pt x="972" y="1360"/>
                  <a:pt x="977" y="1360"/>
                  <a:pt x="982" y="1360"/>
                </a:cubicBezTo>
                <a:cubicBezTo>
                  <a:pt x="988" y="1361"/>
                  <a:pt x="992" y="1362"/>
                  <a:pt x="997" y="1365"/>
                </a:cubicBezTo>
                <a:cubicBezTo>
                  <a:pt x="1002" y="1367"/>
                  <a:pt x="1007" y="1371"/>
                  <a:pt x="1011" y="1375"/>
                </a:cubicBezTo>
                <a:lnTo>
                  <a:pt x="1013" y="1377"/>
                </a:lnTo>
                <a:close/>
                <a:moveTo>
                  <a:pt x="997" y="1386"/>
                </a:moveTo>
                <a:cubicBezTo>
                  <a:pt x="991" y="1379"/>
                  <a:pt x="985" y="1376"/>
                  <a:pt x="979" y="1375"/>
                </a:cubicBezTo>
                <a:cubicBezTo>
                  <a:pt x="972" y="1374"/>
                  <a:pt x="966" y="1377"/>
                  <a:pt x="960" y="1383"/>
                </a:cubicBezTo>
                <a:cubicBezTo>
                  <a:pt x="957" y="1386"/>
                  <a:pt x="955" y="1389"/>
                  <a:pt x="954" y="1392"/>
                </a:cubicBezTo>
                <a:cubicBezTo>
                  <a:pt x="953" y="1395"/>
                  <a:pt x="953" y="1399"/>
                  <a:pt x="953" y="1402"/>
                </a:cubicBezTo>
                <a:cubicBezTo>
                  <a:pt x="953" y="1405"/>
                  <a:pt x="954" y="1409"/>
                  <a:pt x="956" y="1412"/>
                </a:cubicBezTo>
                <a:cubicBezTo>
                  <a:pt x="958" y="1415"/>
                  <a:pt x="960" y="1418"/>
                  <a:pt x="962" y="1421"/>
                </a:cubicBezTo>
                <a:lnTo>
                  <a:pt x="997" y="1386"/>
                </a:lnTo>
                <a:close/>
                <a:moveTo>
                  <a:pt x="1049" y="1290"/>
                </a:moveTo>
                <a:cubicBezTo>
                  <a:pt x="1050" y="1291"/>
                  <a:pt x="1051" y="1292"/>
                  <a:pt x="1052" y="1293"/>
                </a:cubicBezTo>
                <a:cubicBezTo>
                  <a:pt x="1053" y="1294"/>
                  <a:pt x="1053" y="1294"/>
                  <a:pt x="1053" y="1295"/>
                </a:cubicBezTo>
                <a:cubicBezTo>
                  <a:pt x="1054" y="1295"/>
                  <a:pt x="1054" y="1296"/>
                  <a:pt x="1054" y="1296"/>
                </a:cubicBezTo>
                <a:cubicBezTo>
                  <a:pt x="1054" y="1297"/>
                  <a:pt x="1054" y="1297"/>
                  <a:pt x="1053" y="1297"/>
                </a:cubicBezTo>
                <a:cubicBezTo>
                  <a:pt x="1053" y="1298"/>
                  <a:pt x="1052" y="1298"/>
                  <a:pt x="1052" y="1299"/>
                </a:cubicBezTo>
                <a:cubicBezTo>
                  <a:pt x="1051" y="1299"/>
                  <a:pt x="1050" y="1299"/>
                  <a:pt x="1049" y="1300"/>
                </a:cubicBezTo>
                <a:cubicBezTo>
                  <a:pt x="1048" y="1300"/>
                  <a:pt x="1047" y="1301"/>
                  <a:pt x="1046" y="1301"/>
                </a:cubicBezTo>
                <a:cubicBezTo>
                  <a:pt x="1045" y="1302"/>
                  <a:pt x="1044" y="1303"/>
                  <a:pt x="1043" y="1304"/>
                </a:cubicBezTo>
                <a:cubicBezTo>
                  <a:pt x="1042" y="1305"/>
                  <a:pt x="1041" y="1307"/>
                  <a:pt x="1040" y="1308"/>
                </a:cubicBezTo>
                <a:cubicBezTo>
                  <a:pt x="1040" y="1310"/>
                  <a:pt x="1039" y="1312"/>
                  <a:pt x="1039" y="1314"/>
                </a:cubicBezTo>
                <a:cubicBezTo>
                  <a:pt x="1039" y="1317"/>
                  <a:pt x="1039" y="1319"/>
                  <a:pt x="1039" y="1323"/>
                </a:cubicBezTo>
                <a:cubicBezTo>
                  <a:pt x="1040" y="1326"/>
                  <a:pt x="1040" y="1330"/>
                  <a:pt x="1041" y="1334"/>
                </a:cubicBezTo>
                <a:lnTo>
                  <a:pt x="1084" y="1376"/>
                </a:lnTo>
                <a:cubicBezTo>
                  <a:pt x="1084" y="1377"/>
                  <a:pt x="1085" y="1377"/>
                  <a:pt x="1085" y="1378"/>
                </a:cubicBezTo>
                <a:cubicBezTo>
                  <a:pt x="1085" y="1378"/>
                  <a:pt x="1085" y="1379"/>
                  <a:pt x="1084" y="1379"/>
                </a:cubicBezTo>
                <a:cubicBezTo>
                  <a:pt x="1084" y="1380"/>
                  <a:pt x="1084" y="1381"/>
                  <a:pt x="1083" y="1381"/>
                </a:cubicBezTo>
                <a:cubicBezTo>
                  <a:pt x="1082" y="1382"/>
                  <a:pt x="1081" y="1383"/>
                  <a:pt x="1080" y="1385"/>
                </a:cubicBezTo>
                <a:cubicBezTo>
                  <a:pt x="1079" y="1386"/>
                  <a:pt x="1078" y="1387"/>
                  <a:pt x="1077" y="1387"/>
                </a:cubicBezTo>
                <a:cubicBezTo>
                  <a:pt x="1076" y="1388"/>
                  <a:pt x="1076" y="1388"/>
                  <a:pt x="1075" y="1389"/>
                </a:cubicBezTo>
                <a:cubicBezTo>
                  <a:pt x="1074" y="1389"/>
                  <a:pt x="1074" y="1389"/>
                  <a:pt x="1073" y="1389"/>
                </a:cubicBezTo>
                <a:cubicBezTo>
                  <a:pt x="1073" y="1389"/>
                  <a:pt x="1072" y="1389"/>
                  <a:pt x="1072" y="1388"/>
                </a:cubicBezTo>
                <a:lnTo>
                  <a:pt x="1007" y="1324"/>
                </a:lnTo>
                <a:cubicBezTo>
                  <a:pt x="1007" y="1323"/>
                  <a:pt x="1007" y="1323"/>
                  <a:pt x="1007" y="1322"/>
                </a:cubicBezTo>
                <a:cubicBezTo>
                  <a:pt x="1007" y="1322"/>
                  <a:pt x="1007" y="1321"/>
                  <a:pt x="1007" y="1321"/>
                </a:cubicBezTo>
                <a:cubicBezTo>
                  <a:pt x="1007" y="1320"/>
                  <a:pt x="1007" y="1319"/>
                  <a:pt x="1008" y="1319"/>
                </a:cubicBezTo>
                <a:cubicBezTo>
                  <a:pt x="1009" y="1318"/>
                  <a:pt x="1009" y="1317"/>
                  <a:pt x="1011" y="1316"/>
                </a:cubicBezTo>
                <a:cubicBezTo>
                  <a:pt x="1012" y="1315"/>
                  <a:pt x="1013" y="1314"/>
                  <a:pt x="1013" y="1313"/>
                </a:cubicBezTo>
                <a:cubicBezTo>
                  <a:pt x="1014" y="1313"/>
                  <a:pt x="1015" y="1312"/>
                  <a:pt x="1015" y="1312"/>
                </a:cubicBezTo>
                <a:cubicBezTo>
                  <a:pt x="1016" y="1312"/>
                  <a:pt x="1016" y="1312"/>
                  <a:pt x="1017" y="1312"/>
                </a:cubicBezTo>
                <a:cubicBezTo>
                  <a:pt x="1017" y="1312"/>
                  <a:pt x="1018" y="1313"/>
                  <a:pt x="1018" y="1313"/>
                </a:cubicBezTo>
                <a:lnTo>
                  <a:pt x="1028" y="1322"/>
                </a:lnTo>
                <a:cubicBezTo>
                  <a:pt x="1027" y="1318"/>
                  <a:pt x="1026" y="1314"/>
                  <a:pt x="1026" y="1311"/>
                </a:cubicBezTo>
                <a:cubicBezTo>
                  <a:pt x="1026" y="1308"/>
                  <a:pt x="1026" y="1305"/>
                  <a:pt x="1027" y="1303"/>
                </a:cubicBezTo>
                <a:cubicBezTo>
                  <a:pt x="1027" y="1300"/>
                  <a:pt x="1028" y="1298"/>
                  <a:pt x="1029" y="1297"/>
                </a:cubicBezTo>
                <a:cubicBezTo>
                  <a:pt x="1030" y="1295"/>
                  <a:pt x="1031" y="1293"/>
                  <a:pt x="1033" y="1292"/>
                </a:cubicBezTo>
                <a:cubicBezTo>
                  <a:pt x="1033" y="1291"/>
                  <a:pt x="1034" y="1291"/>
                  <a:pt x="1035" y="1290"/>
                </a:cubicBezTo>
                <a:cubicBezTo>
                  <a:pt x="1036" y="1289"/>
                  <a:pt x="1037" y="1289"/>
                  <a:pt x="1038" y="1288"/>
                </a:cubicBezTo>
                <a:cubicBezTo>
                  <a:pt x="1039" y="1287"/>
                  <a:pt x="1040" y="1287"/>
                  <a:pt x="1041" y="1286"/>
                </a:cubicBezTo>
                <a:cubicBezTo>
                  <a:pt x="1042" y="1286"/>
                  <a:pt x="1042" y="1286"/>
                  <a:pt x="1043" y="1285"/>
                </a:cubicBezTo>
                <a:cubicBezTo>
                  <a:pt x="1043" y="1285"/>
                  <a:pt x="1044" y="1285"/>
                  <a:pt x="1044" y="1286"/>
                </a:cubicBezTo>
                <a:cubicBezTo>
                  <a:pt x="1044" y="1286"/>
                  <a:pt x="1045" y="1286"/>
                  <a:pt x="1045" y="1286"/>
                </a:cubicBezTo>
                <a:cubicBezTo>
                  <a:pt x="1046" y="1286"/>
                  <a:pt x="1046" y="1287"/>
                  <a:pt x="1047" y="1287"/>
                </a:cubicBezTo>
                <a:cubicBezTo>
                  <a:pt x="1047" y="1288"/>
                  <a:pt x="1048" y="1289"/>
                  <a:pt x="1049" y="1290"/>
                </a:cubicBezTo>
                <a:close/>
                <a:moveTo>
                  <a:pt x="1121" y="1216"/>
                </a:moveTo>
                <a:cubicBezTo>
                  <a:pt x="1123" y="1218"/>
                  <a:pt x="1124" y="1219"/>
                  <a:pt x="1124" y="1220"/>
                </a:cubicBezTo>
                <a:cubicBezTo>
                  <a:pt x="1124" y="1221"/>
                  <a:pt x="1124" y="1222"/>
                  <a:pt x="1123" y="1223"/>
                </a:cubicBezTo>
                <a:lnTo>
                  <a:pt x="1114" y="1232"/>
                </a:lnTo>
                <a:cubicBezTo>
                  <a:pt x="1117" y="1232"/>
                  <a:pt x="1120" y="1233"/>
                  <a:pt x="1123" y="1235"/>
                </a:cubicBezTo>
                <a:cubicBezTo>
                  <a:pt x="1126" y="1236"/>
                  <a:pt x="1128" y="1238"/>
                  <a:pt x="1131" y="1240"/>
                </a:cubicBezTo>
                <a:cubicBezTo>
                  <a:pt x="1134" y="1244"/>
                  <a:pt x="1137" y="1248"/>
                  <a:pt x="1139" y="1252"/>
                </a:cubicBezTo>
                <a:cubicBezTo>
                  <a:pt x="1141" y="1256"/>
                  <a:pt x="1141" y="1260"/>
                  <a:pt x="1141" y="1264"/>
                </a:cubicBezTo>
                <a:cubicBezTo>
                  <a:pt x="1141" y="1268"/>
                  <a:pt x="1140" y="1273"/>
                  <a:pt x="1138" y="1277"/>
                </a:cubicBezTo>
                <a:cubicBezTo>
                  <a:pt x="1136" y="1281"/>
                  <a:pt x="1133" y="1285"/>
                  <a:pt x="1129" y="1288"/>
                </a:cubicBezTo>
                <a:cubicBezTo>
                  <a:pt x="1126" y="1291"/>
                  <a:pt x="1124" y="1293"/>
                  <a:pt x="1120" y="1295"/>
                </a:cubicBezTo>
                <a:cubicBezTo>
                  <a:pt x="1117" y="1297"/>
                  <a:pt x="1115" y="1298"/>
                  <a:pt x="1112" y="1298"/>
                </a:cubicBezTo>
                <a:cubicBezTo>
                  <a:pt x="1112" y="1300"/>
                  <a:pt x="1113" y="1301"/>
                  <a:pt x="1113" y="1303"/>
                </a:cubicBezTo>
                <a:cubicBezTo>
                  <a:pt x="1114" y="1305"/>
                  <a:pt x="1115" y="1306"/>
                  <a:pt x="1116" y="1308"/>
                </a:cubicBezTo>
                <a:cubicBezTo>
                  <a:pt x="1118" y="1309"/>
                  <a:pt x="1120" y="1310"/>
                  <a:pt x="1123" y="1309"/>
                </a:cubicBezTo>
                <a:cubicBezTo>
                  <a:pt x="1125" y="1309"/>
                  <a:pt x="1128" y="1307"/>
                  <a:pt x="1131" y="1305"/>
                </a:cubicBezTo>
                <a:lnTo>
                  <a:pt x="1148" y="1289"/>
                </a:lnTo>
                <a:cubicBezTo>
                  <a:pt x="1152" y="1286"/>
                  <a:pt x="1155" y="1283"/>
                  <a:pt x="1158" y="1281"/>
                </a:cubicBezTo>
                <a:cubicBezTo>
                  <a:pt x="1162" y="1279"/>
                  <a:pt x="1165" y="1278"/>
                  <a:pt x="1169" y="1278"/>
                </a:cubicBezTo>
                <a:cubicBezTo>
                  <a:pt x="1172" y="1277"/>
                  <a:pt x="1175" y="1277"/>
                  <a:pt x="1179" y="1278"/>
                </a:cubicBezTo>
                <a:cubicBezTo>
                  <a:pt x="1182" y="1280"/>
                  <a:pt x="1185" y="1281"/>
                  <a:pt x="1188" y="1284"/>
                </a:cubicBezTo>
                <a:cubicBezTo>
                  <a:pt x="1191" y="1287"/>
                  <a:pt x="1193" y="1291"/>
                  <a:pt x="1194" y="1295"/>
                </a:cubicBezTo>
                <a:cubicBezTo>
                  <a:pt x="1196" y="1299"/>
                  <a:pt x="1196" y="1303"/>
                  <a:pt x="1196" y="1307"/>
                </a:cubicBezTo>
                <a:cubicBezTo>
                  <a:pt x="1195" y="1312"/>
                  <a:pt x="1194" y="1317"/>
                  <a:pt x="1191" y="1322"/>
                </a:cubicBezTo>
                <a:cubicBezTo>
                  <a:pt x="1188" y="1327"/>
                  <a:pt x="1184" y="1332"/>
                  <a:pt x="1178" y="1338"/>
                </a:cubicBezTo>
                <a:cubicBezTo>
                  <a:pt x="1173" y="1343"/>
                  <a:pt x="1168" y="1347"/>
                  <a:pt x="1164" y="1350"/>
                </a:cubicBezTo>
                <a:cubicBezTo>
                  <a:pt x="1159" y="1353"/>
                  <a:pt x="1155" y="1354"/>
                  <a:pt x="1151" y="1355"/>
                </a:cubicBezTo>
                <a:cubicBezTo>
                  <a:pt x="1147" y="1356"/>
                  <a:pt x="1144" y="1356"/>
                  <a:pt x="1141" y="1355"/>
                </a:cubicBezTo>
                <a:cubicBezTo>
                  <a:pt x="1137" y="1354"/>
                  <a:pt x="1135" y="1352"/>
                  <a:pt x="1132" y="1349"/>
                </a:cubicBezTo>
                <a:cubicBezTo>
                  <a:pt x="1130" y="1348"/>
                  <a:pt x="1129" y="1346"/>
                  <a:pt x="1128" y="1344"/>
                </a:cubicBezTo>
                <a:cubicBezTo>
                  <a:pt x="1127" y="1342"/>
                  <a:pt x="1126" y="1340"/>
                  <a:pt x="1126" y="1338"/>
                </a:cubicBezTo>
                <a:cubicBezTo>
                  <a:pt x="1125" y="1336"/>
                  <a:pt x="1125" y="1334"/>
                  <a:pt x="1125" y="1332"/>
                </a:cubicBezTo>
                <a:cubicBezTo>
                  <a:pt x="1125" y="1329"/>
                  <a:pt x="1125" y="1327"/>
                  <a:pt x="1125" y="1324"/>
                </a:cubicBezTo>
                <a:cubicBezTo>
                  <a:pt x="1122" y="1325"/>
                  <a:pt x="1118" y="1325"/>
                  <a:pt x="1115" y="1325"/>
                </a:cubicBezTo>
                <a:cubicBezTo>
                  <a:pt x="1112" y="1324"/>
                  <a:pt x="1110" y="1322"/>
                  <a:pt x="1108" y="1320"/>
                </a:cubicBezTo>
                <a:cubicBezTo>
                  <a:pt x="1105" y="1317"/>
                  <a:pt x="1103" y="1314"/>
                  <a:pt x="1102" y="1311"/>
                </a:cubicBezTo>
                <a:cubicBezTo>
                  <a:pt x="1101" y="1307"/>
                  <a:pt x="1100" y="1304"/>
                  <a:pt x="1100" y="1300"/>
                </a:cubicBezTo>
                <a:cubicBezTo>
                  <a:pt x="1097" y="1300"/>
                  <a:pt x="1094" y="1299"/>
                  <a:pt x="1091" y="1298"/>
                </a:cubicBezTo>
                <a:cubicBezTo>
                  <a:pt x="1087" y="1296"/>
                  <a:pt x="1084" y="1294"/>
                  <a:pt x="1081" y="1291"/>
                </a:cubicBezTo>
                <a:cubicBezTo>
                  <a:pt x="1077" y="1287"/>
                  <a:pt x="1075" y="1283"/>
                  <a:pt x="1073" y="1279"/>
                </a:cubicBezTo>
                <a:cubicBezTo>
                  <a:pt x="1071" y="1275"/>
                  <a:pt x="1071" y="1271"/>
                  <a:pt x="1071" y="1266"/>
                </a:cubicBezTo>
                <a:cubicBezTo>
                  <a:pt x="1071" y="1262"/>
                  <a:pt x="1072" y="1258"/>
                  <a:pt x="1074" y="1254"/>
                </a:cubicBezTo>
                <a:cubicBezTo>
                  <a:pt x="1076" y="1250"/>
                  <a:pt x="1079" y="1246"/>
                  <a:pt x="1083" y="1242"/>
                </a:cubicBezTo>
                <a:cubicBezTo>
                  <a:pt x="1085" y="1240"/>
                  <a:pt x="1087" y="1238"/>
                  <a:pt x="1088" y="1237"/>
                </a:cubicBezTo>
                <a:cubicBezTo>
                  <a:pt x="1090" y="1236"/>
                  <a:pt x="1092" y="1234"/>
                  <a:pt x="1094" y="1233"/>
                </a:cubicBezTo>
                <a:lnTo>
                  <a:pt x="1114" y="1214"/>
                </a:lnTo>
                <a:cubicBezTo>
                  <a:pt x="1115" y="1213"/>
                  <a:pt x="1116" y="1213"/>
                  <a:pt x="1117" y="1213"/>
                </a:cubicBezTo>
                <a:cubicBezTo>
                  <a:pt x="1118" y="1213"/>
                  <a:pt x="1119" y="1214"/>
                  <a:pt x="1121" y="1216"/>
                </a:cubicBezTo>
                <a:close/>
                <a:moveTo>
                  <a:pt x="1119" y="1252"/>
                </a:moveTo>
                <a:cubicBezTo>
                  <a:pt x="1115" y="1247"/>
                  <a:pt x="1110" y="1245"/>
                  <a:pt x="1106" y="1245"/>
                </a:cubicBezTo>
                <a:cubicBezTo>
                  <a:pt x="1101" y="1245"/>
                  <a:pt x="1096" y="1247"/>
                  <a:pt x="1091" y="1251"/>
                </a:cubicBezTo>
                <a:cubicBezTo>
                  <a:pt x="1089" y="1254"/>
                  <a:pt x="1088" y="1256"/>
                  <a:pt x="1087" y="1259"/>
                </a:cubicBezTo>
                <a:cubicBezTo>
                  <a:pt x="1086" y="1261"/>
                  <a:pt x="1085" y="1264"/>
                  <a:pt x="1086" y="1266"/>
                </a:cubicBezTo>
                <a:cubicBezTo>
                  <a:pt x="1086" y="1268"/>
                  <a:pt x="1086" y="1271"/>
                  <a:pt x="1088" y="1273"/>
                </a:cubicBezTo>
                <a:cubicBezTo>
                  <a:pt x="1089" y="1275"/>
                  <a:pt x="1090" y="1278"/>
                  <a:pt x="1092" y="1279"/>
                </a:cubicBezTo>
                <a:cubicBezTo>
                  <a:pt x="1097" y="1284"/>
                  <a:pt x="1101" y="1286"/>
                  <a:pt x="1106" y="1286"/>
                </a:cubicBezTo>
                <a:cubicBezTo>
                  <a:pt x="1111" y="1286"/>
                  <a:pt x="1116" y="1284"/>
                  <a:pt x="1120" y="1279"/>
                </a:cubicBezTo>
                <a:cubicBezTo>
                  <a:pt x="1122" y="1277"/>
                  <a:pt x="1124" y="1275"/>
                  <a:pt x="1125" y="1272"/>
                </a:cubicBezTo>
                <a:cubicBezTo>
                  <a:pt x="1126" y="1270"/>
                  <a:pt x="1126" y="1267"/>
                  <a:pt x="1126" y="1265"/>
                </a:cubicBezTo>
                <a:cubicBezTo>
                  <a:pt x="1126" y="1262"/>
                  <a:pt x="1125" y="1260"/>
                  <a:pt x="1124" y="1258"/>
                </a:cubicBezTo>
                <a:cubicBezTo>
                  <a:pt x="1123" y="1255"/>
                  <a:pt x="1121" y="1253"/>
                  <a:pt x="1119" y="1252"/>
                </a:cubicBezTo>
                <a:close/>
                <a:moveTo>
                  <a:pt x="1177" y="1297"/>
                </a:moveTo>
                <a:cubicBezTo>
                  <a:pt x="1174" y="1294"/>
                  <a:pt x="1171" y="1293"/>
                  <a:pt x="1167" y="1294"/>
                </a:cubicBezTo>
                <a:cubicBezTo>
                  <a:pt x="1163" y="1295"/>
                  <a:pt x="1159" y="1297"/>
                  <a:pt x="1155" y="1301"/>
                </a:cubicBezTo>
                <a:lnTo>
                  <a:pt x="1138" y="1317"/>
                </a:lnTo>
                <a:cubicBezTo>
                  <a:pt x="1137" y="1319"/>
                  <a:pt x="1137" y="1322"/>
                  <a:pt x="1137" y="1324"/>
                </a:cubicBezTo>
                <a:cubicBezTo>
                  <a:pt x="1138" y="1326"/>
                  <a:pt x="1138" y="1328"/>
                  <a:pt x="1138" y="1329"/>
                </a:cubicBezTo>
                <a:cubicBezTo>
                  <a:pt x="1139" y="1331"/>
                  <a:pt x="1139" y="1332"/>
                  <a:pt x="1140" y="1333"/>
                </a:cubicBezTo>
                <a:cubicBezTo>
                  <a:pt x="1141" y="1335"/>
                  <a:pt x="1142" y="1336"/>
                  <a:pt x="1143" y="1337"/>
                </a:cubicBezTo>
                <a:cubicBezTo>
                  <a:pt x="1146" y="1340"/>
                  <a:pt x="1150" y="1341"/>
                  <a:pt x="1154" y="1339"/>
                </a:cubicBezTo>
                <a:cubicBezTo>
                  <a:pt x="1159" y="1337"/>
                  <a:pt x="1164" y="1334"/>
                  <a:pt x="1170" y="1328"/>
                </a:cubicBezTo>
                <a:cubicBezTo>
                  <a:pt x="1174" y="1325"/>
                  <a:pt x="1176" y="1321"/>
                  <a:pt x="1178" y="1318"/>
                </a:cubicBezTo>
                <a:cubicBezTo>
                  <a:pt x="1180" y="1315"/>
                  <a:pt x="1181" y="1312"/>
                  <a:pt x="1181" y="1310"/>
                </a:cubicBezTo>
                <a:cubicBezTo>
                  <a:pt x="1181" y="1307"/>
                  <a:pt x="1181" y="1305"/>
                  <a:pt x="1180" y="1302"/>
                </a:cubicBezTo>
                <a:cubicBezTo>
                  <a:pt x="1179" y="1300"/>
                  <a:pt x="1178" y="1298"/>
                  <a:pt x="1177" y="1297"/>
                </a:cubicBezTo>
                <a:close/>
                <a:moveTo>
                  <a:pt x="1228" y="1236"/>
                </a:moveTo>
                <a:lnTo>
                  <a:pt x="1243" y="1269"/>
                </a:lnTo>
                <a:cubicBezTo>
                  <a:pt x="1243" y="1270"/>
                  <a:pt x="1243" y="1271"/>
                  <a:pt x="1242" y="1272"/>
                </a:cubicBezTo>
                <a:cubicBezTo>
                  <a:pt x="1242" y="1274"/>
                  <a:pt x="1240" y="1276"/>
                  <a:pt x="1238" y="1278"/>
                </a:cubicBezTo>
                <a:cubicBezTo>
                  <a:pt x="1236" y="1280"/>
                  <a:pt x="1235" y="1281"/>
                  <a:pt x="1235" y="1281"/>
                </a:cubicBezTo>
                <a:cubicBezTo>
                  <a:pt x="1234" y="1282"/>
                  <a:pt x="1233" y="1282"/>
                  <a:pt x="1232" y="1282"/>
                </a:cubicBezTo>
                <a:cubicBezTo>
                  <a:pt x="1231" y="1283"/>
                  <a:pt x="1231" y="1282"/>
                  <a:pt x="1230" y="1282"/>
                </a:cubicBezTo>
                <a:cubicBezTo>
                  <a:pt x="1230" y="1282"/>
                  <a:pt x="1229" y="1281"/>
                  <a:pt x="1229" y="1280"/>
                </a:cubicBezTo>
                <a:lnTo>
                  <a:pt x="1215" y="1248"/>
                </a:lnTo>
                <a:cubicBezTo>
                  <a:pt x="1215" y="1249"/>
                  <a:pt x="1214" y="1249"/>
                  <a:pt x="1213" y="1249"/>
                </a:cubicBezTo>
                <a:cubicBezTo>
                  <a:pt x="1212" y="1249"/>
                  <a:pt x="1212" y="1249"/>
                  <a:pt x="1211" y="1248"/>
                </a:cubicBezTo>
                <a:lnTo>
                  <a:pt x="1126" y="1209"/>
                </a:lnTo>
                <a:cubicBezTo>
                  <a:pt x="1125" y="1209"/>
                  <a:pt x="1124" y="1208"/>
                  <a:pt x="1123" y="1208"/>
                </a:cubicBezTo>
                <a:cubicBezTo>
                  <a:pt x="1123" y="1207"/>
                  <a:pt x="1122" y="1206"/>
                  <a:pt x="1123" y="1206"/>
                </a:cubicBezTo>
                <a:cubicBezTo>
                  <a:pt x="1123" y="1205"/>
                  <a:pt x="1123" y="1204"/>
                  <a:pt x="1124" y="1203"/>
                </a:cubicBezTo>
                <a:cubicBezTo>
                  <a:pt x="1124" y="1202"/>
                  <a:pt x="1126" y="1201"/>
                  <a:pt x="1127" y="1200"/>
                </a:cubicBezTo>
                <a:cubicBezTo>
                  <a:pt x="1128" y="1198"/>
                  <a:pt x="1130" y="1197"/>
                  <a:pt x="1130" y="1196"/>
                </a:cubicBezTo>
                <a:cubicBezTo>
                  <a:pt x="1131" y="1196"/>
                  <a:pt x="1132" y="1195"/>
                  <a:pt x="1133" y="1195"/>
                </a:cubicBezTo>
                <a:cubicBezTo>
                  <a:pt x="1133" y="1194"/>
                  <a:pt x="1134" y="1194"/>
                  <a:pt x="1135" y="1195"/>
                </a:cubicBezTo>
                <a:cubicBezTo>
                  <a:pt x="1135" y="1195"/>
                  <a:pt x="1136" y="1195"/>
                  <a:pt x="1137" y="1195"/>
                </a:cubicBezTo>
                <a:lnTo>
                  <a:pt x="1207" y="1229"/>
                </a:lnTo>
                <a:lnTo>
                  <a:pt x="1207" y="1229"/>
                </a:lnTo>
                <a:lnTo>
                  <a:pt x="1173" y="1159"/>
                </a:lnTo>
                <a:cubicBezTo>
                  <a:pt x="1172" y="1157"/>
                  <a:pt x="1172" y="1156"/>
                  <a:pt x="1172" y="1156"/>
                </a:cubicBezTo>
                <a:cubicBezTo>
                  <a:pt x="1172" y="1155"/>
                  <a:pt x="1173" y="1154"/>
                  <a:pt x="1174" y="1153"/>
                </a:cubicBezTo>
                <a:cubicBezTo>
                  <a:pt x="1174" y="1152"/>
                  <a:pt x="1175" y="1151"/>
                  <a:pt x="1177" y="1150"/>
                </a:cubicBezTo>
                <a:cubicBezTo>
                  <a:pt x="1178" y="1148"/>
                  <a:pt x="1179" y="1147"/>
                  <a:pt x="1180" y="1147"/>
                </a:cubicBezTo>
                <a:cubicBezTo>
                  <a:pt x="1181" y="1146"/>
                  <a:pt x="1182" y="1145"/>
                  <a:pt x="1183" y="1145"/>
                </a:cubicBezTo>
                <a:cubicBezTo>
                  <a:pt x="1184" y="1145"/>
                  <a:pt x="1184" y="1145"/>
                  <a:pt x="1185" y="1146"/>
                </a:cubicBezTo>
                <a:cubicBezTo>
                  <a:pt x="1186" y="1147"/>
                  <a:pt x="1186" y="1148"/>
                  <a:pt x="1187" y="1149"/>
                </a:cubicBezTo>
                <a:lnTo>
                  <a:pt x="1228" y="1236"/>
                </a:lnTo>
                <a:close/>
                <a:moveTo>
                  <a:pt x="1362" y="1076"/>
                </a:moveTo>
                <a:cubicBezTo>
                  <a:pt x="1362" y="1077"/>
                  <a:pt x="1363" y="1077"/>
                  <a:pt x="1364" y="1078"/>
                </a:cubicBezTo>
                <a:cubicBezTo>
                  <a:pt x="1364" y="1079"/>
                  <a:pt x="1365" y="1079"/>
                  <a:pt x="1365" y="1080"/>
                </a:cubicBezTo>
                <a:cubicBezTo>
                  <a:pt x="1365" y="1080"/>
                  <a:pt x="1365" y="1081"/>
                  <a:pt x="1366" y="1081"/>
                </a:cubicBezTo>
                <a:cubicBezTo>
                  <a:pt x="1366" y="1082"/>
                  <a:pt x="1366" y="1083"/>
                  <a:pt x="1366" y="1084"/>
                </a:cubicBezTo>
                <a:cubicBezTo>
                  <a:pt x="1366" y="1085"/>
                  <a:pt x="1366" y="1086"/>
                  <a:pt x="1365" y="1089"/>
                </a:cubicBezTo>
                <a:cubicBezTo>
                  <a:pt x="1364" y="1091"/>
                  <a:pt x="1363" y="1094"/>
                  <a:pt x="1362" y="1097"/>
                </a:cubicBezTo>
                <a:cubicBezTo>
                  <a:pt x="1361" y="1101"/>
                  <a:pt x="1359" y="1104"/>
                  <a:pt x="1357" y="1108"/>
                </a:cubicBezTo>
                <a:cubicBezTo>
                  <a:pt x="1354" y="1111"/>
                  <a:pt x="1351" y="1115"/>
                  <a:pt x="1348" y="1118"/>
                </a:cubicBezTo>
                <a:cubicBezTo>
                  <a:pt x="1342" y="1124"/>
                  <a:pt x="1336" y="1129"/>
                  <a:pt x="1329" y="1132"/>
                </a:cubicBezTo>
                <a:cubicBezTo>
                  <a:pt x="1322" y="1134"/>
                  <a:pt x="1315" y="1136"/>
                  <a:pt x="1307" y="1135"/>
                </a:cubicBezTo>
                <a:cubicBezTo>
                  <a:pt x="1300" y="1135"/>
                  <a:pt x="1292" y="1132"/>
                  <a:pt x="1285" y="1128"/>
                </a:cubicBezTo>
                <a:cubicBezTo>
                  <a:pt x="1277" y="1124"/>
                  <a:pt x="1270" y="1119"/>
                  <a:pt x="1262" y="1111"/>
                </a:cubicBezTo>
                <a:cubicBezTo>
                  <a:pt x="1254" y="1104"/>
                  <a:pt x="1249" y="1096"/>
                  <a:pt x="1245" y="1088"/>
                </a:cubicBezTo>
                <a:cubicBezTo>
                  <a:pt x="1241" y="1080"/>
                  <a:pt x="1238" y="1072"/>
                  <a:pt x="1238" y="1064"/>
                </a:cubicBezTo>
                <a:cubicBezTo>
                  <a:pt x="1237" y="1056"/>
                  <a:pt x="1238" y="1049"/>
                  <a:pt x="1241" y="1041"/>
                </a:cubicBezTo>
                <a:cubicBezTo>
                  <a:pt x="1244" y="1034"/>
                  <a:pt x="1248" y="1028"/>
                  <a:pt x="1254" y="1022"/>
                </a:cubicBezTo>
                <a:cubicBezTo>
                  <a:pt x="1257" y="1019"/>
                  <a:pt x="1260" y="1016"/>
                  <a:pt x="1263" y="1014"/>
                </a:cubicBezTo>
                <a:cubicBezTo>
                  <a:pt x="1266" y="1012"/>
                  <a:pt x="1269" y="1011"/>
                  <a:pt x="1272" y="1009"/>
                </a:cubicBezTo>
                <a:cubicBezTo>
                  <a:pt x="1275" y="1008"/>
                  <a:pt x="1277" y="1007"/>
                  <a:pt x="1280" y="1006"/>
                </a:cubicBezTo>
                <a:cubicBezTo>
                  <a:pt x="1283" y="1006"/>
                  <a:pt x="1285" y="1005"/>
                  <a:pt x="1286" y="1005"/>
                </a:cubicBezTo>
                <a:cubicBezTo>
                  <a:pt x="1287" y="1005"/>
                  <a:pt x="1288" y="1005"/>
                  <a:pt x="1289" y="1005"/>
                </a:cubicBezTo>
                <a:cubicBezTo>
                  <a:pt x="1289" y="1006"/>
                  <a:pt x="1290" y="1006"/>
                  <a:pt x="1290" y="1006"/>
                </a:cubicBezTo>
                <a:cubicBezTo>
                  <a:pt x="1291" y="1006"/>
                  <a:pt x="1292" y="1007"/>
                  <a:pt x="1292" y="1007"/>
                </a:cubicBezTo>
                <a:cubicBezTo>
                  <a:pt x="1293" y="1008"/>
                  <a:pt x="1294" y="1009"/>
                  <a:pt x="1295" y="1010"/>
                </a:cubicBezTo>
                <a:cubicBezTo>
                  <a:pt x="1296" y="1011"/>
                  <a:pt x="1296" y="1011"/>
                  <a:pt x="1297" y="1012"/>
                </a:cubicBezTo>
                <a:cubicBezTo>
                  <a:pt x="1298" y="1013"/>
                  <a:pt x="1298" y="1014"/>
                  <a:pt x="1298" y="1014"/>
                </a:cubicBezTo>
                <a:cubicBezTo>
                  <a:pt x="1299" y="1015"/>
                  <a:pt x="1299" y="1016"/>
                  <a:pt x="1299" y="1016"/>
                </a:cubicBezTo>
                <a:cubicBezTo>
                  <a:pt x="1299" y="1016"/>
                  <a:pt x="1298" y="1017"/>
                  <a:pt x="1298" y="1017"/>
                </a:cubicBezTo>
                <a:cubicBezTo>
                  <a:pt x="1297" y="1018"/>
                  <a:pt x="1296" y="1018"/>
                  <a:pt x="1294" y="1019"/>
                </a:cubicBezTo>
                <a:cubicBezTo>
                  <a:pt x="1292" y="1019"/>
                  <a:pt x="1289" y="1019"/>
                  <a:pt x="1286" y="1020"/>
                </a:cubicBezTo>
                <a:cubicBezTo>
                  <a:pt x="1283" y="1021"/>
                  <a:pt x="1280" y="1022"/>
                  <a:pt x="1276" y="1024"/>
                </a:cubicBezTo>
                <a:cubicBezTo>
                  <a:pt x="1272" y="1026"/>
                  <a:pt x="1269" y="1029"/>
                  <a:pt x="1265" y="1032"/>
                </a:cubicBezTo>
                <a:cubicBezTo>
                  <a:pt x="1261" y="1037"/>
                  <a:pt x="1258" y="1041"/>
                  <a:pt x="1256" y="1046"/>
                </a:cubicBezTo>
                <a:cubicBezTo>
                  <a:pt x="1254" y="1051"/>
                  <a:pt x="1254" y="1057"/>
                  <a:pt x="1255" y="1062"/>
                </a:cubicBezTo>
                <a:cubicBezTo>
                  <a:pt x="1255" y="1068"/>
                  <a:pt x="1257" y="1074"/>
                  <a:pt x="1261" y="1080"/>
                </a:cubicBezTo>
                <a:cubicBezTo>
                  <a:pt x="1264" y="1086"/>
                  <a:pt x="1269" y="1091"/>
                  <a:pt x="1275" y="1097"/>
                </a:cubicBezTo>
                <a:cubicBezTo>
                  <a:pt x="1280" y="1103"/>
                  <a:pt x="1286" y="1108"/>
                  <a:pt x="1292" y="1111"/>
                </a:cubicBezTo>
                <a:cubicBezTo>
                  <a:pt x="1298" y="1114"/>
                  <a:pt x="1303" y="1116"/>
                  <a:pt x="1309" y="1117"/>
                </a:cubicBezTo>
                <a:cubicBezTo>
                  <a:pt x="1314" y="1118"/>
                  <a:pt x="1320" y="1117"/>
                  <a:pt x="1325" y="1115"/>
                </a:cubicBezTo>
                <a:cubicBezTo>
                  <a:pt x="1330" y="1113"/>
                  <a:pt x="1334" y="1110"/>
                  <a:pt x="1339" y="1106"/>
                </a:cubicBezTo>
                <a:cubicBezTo>
                  <a:pt x="1342" y="1102"/>
                  <a:pt x="1345" y="1098"/>
                  <a:pt x="1347" y="1095"/>
                </a:cubicBezTo>
                <a:cubicBezTo>
                  <a:pt x="1349" y="1091"/>
                  <a:pt x="1350" y="1088"/>
                  <a:pt x="1351" y="1084"/>
                </a:cubicBezTo>
                <a:cubicBezTo>
                  <a:pt x="1352" y="1081"/>
                  <a:pt x="1352" y="1079"/>
                  <a:pt x="1353" y="1077"/>
                </a:cubicBezTo>
                <a:cubicBezTo>
                  <a:pt x="1353" y="1074"/>
                  <a:pt x="1354" y="1073"/>
                  <a:pt x="1354" y="1072"/>
                </a:cubicBezTo>
                <a:cubicBezTo>
                  <a:pt x="1355" y="1072"/>
                  <a:pt x="1355" y="1072"/>
                  <a:pt x="1355" y="1072"/>
                </a:cubicBezTo>
                <a:cubicBezTo>
                  <a:pt x="1356" y="1072"/>
                  <a:pt x="1356" y="1072"/>
                  <a:pt x="1357" y="1072"/>
                </a:cubicBezTo>
                <a:cubicBezTo>
                  <a:pt x="1357" y="1072"/>
                  <a:pt x="1358" y="1073"/>
                  <a:pt x="1359" y="1073"/>
                </a:cubicBezTo>
                <a:cubicBezTo>
                  <a:pt x="1360" y="1074"/>
                  <a:pt x="1361" y="1075"/>
                  <a:pt x="1362" y="1076"/>
                </a:cubicBezTo>
                <a:close/>
                <a:moveTo>
                  <a:pt x="1416" y="978"/>
                </a:moveTo>
                <a:cubicBezTo>
                  <a:pt x="1421" y="984"/>
                  <a:pt x="1425" y="989"/>
                  <a:pt x="1428" y="995"/>
                </a:cubicBezTo>
                <a:cubicBezTo>
                  <a:pt x="1431" y="1001"/>
                  <a:pt x="1433" y="1007"/>
                  <a:pt x="1434" y="1013"/>
                </a:cubicBezTo>
                <a:cubicBezTo>
                  <a:pt x="1434" y="1019"/>
                  <a:pt x="1433" y="1025"/>
                  <a:pt x="1431" y="1030"/>
                </a:cubicBezTo>
                <a:cubicBezTo>
                  <a:pt x="1428" y="1036"/>
                  <a:pt x="1425" y="1042"/>
                  <a:pt x="1419" y="1048"/>
                </a:cubicBezTo>
                <a:cubicBezTo>
                  <a:pt x="1414" y="1053"/>
                  <a:pt x="1408" y="1057"/>
                  <a:pt x="1403" y="1059"/>
                </a:cubicBezTo>
                <a:cubicBezTo>
                  <a:pt x="1397" y="1061"/>
                  <a:pt x="1392" y="1062"/>
                  <a:pt x="1386" y="1062"/>
                </a:cubicBezTo>
                <a:cubicBezTo>
                  <a:pt x="1380" y="1062"/>
                  <a:pt x="1375" y="1060"/>
                  <a:pt x="1369" y="1057"/>
                </a:cubicBezTo>
                <a:cubicBezTo>
                  <a:pt x="1364" y="1054"/>
                  <a:pt x="1358" y="1050"/>
                  <a:pt x="1353" y="1044"/>
                </a:cubicBezTo>
                <a:cubicBezTo>
                  <a:pt x="1347" y="1039"/>
                  <a:pt x="1343" y="1033"/>
                  <a:pt x="1340" y="1028"/>
                </a:cubicBezTo>
                <a:cubicBezTo>
                  <a:pt x="1337" y="1022"/>
                  <a:pt x="1335" y="1016"/>
                  <a:pt x="1335" y="1010"/>
                </a:cubicBezTo>
                <a:cubicBezTo>
                  <a:pt x="1334" y="1004"/>
                  <a:pt x="1335" y="998"/>
                  <a:pt x="1338" y="992"/>
                </a:cubicBezTo>
                <a:cubicBezTo>
                  <a:pt x="1340" y="986"/>
                  <a:pt x="1344" y="981"/>
                  <a:pt x="1349" y="975"/>
                </a:cubicBezTo>
                <a:cubicBezTo>
                  <a:pt x="1355" y="970"/>
                  <a:pt x="1360" y="966"/>
                  <a:pt x="1366" y="964"/>
                </a:cubicBezTo>
                <a:cubicBezTo>
                  <a:pt x="1371" y="961"/>
                  <a:pt x="1377" y="960"/>
                  <a:pt x="1382" y="961"/>
                </a:cubicBezTo>
                <a:cubicBezTo>
                  <a:pt x="1388" y="961"/>
                  <a:pt x="1394" y="963"/>
                  <a:pt x="1399" y="966"/>
                </a:cubicBezTo>
                <a:cubicBezTo>
                  <a:pt x="1405" y="969"/>
                  <a:pt x="1411" y="973"/>
                  <a:pt x="1416" y="978"/>
                </a:cubicBezTo>
                <a:close/>
                <a:moveTo>
                  <a:pt x="1404" y="991"/>
                </a:moveTo>
                <a:cubicBezTo>
                  <a:pt x="1401" y="988"/>
                  <a:pt x="1397" y="985"/>
                  <a:pt x="1394" y="982"/>
                </a:cubicBezTo>
                <a:cubicBezTo>
                  <a:pt x="1390" y="980"/>
                  <a:pt x="1386" y="978"/>
                  <a:pt x="1382" y="977"/>
                </a:cubicBezTo>
                <a:cubicBezTo>
                  <a:pt x="1378" y="977"/>
                  <a:pt x="1374" y="977"/>
                  <a:pt x="1370" y="978"/>
                </a:cubicBezTo>
                <a:cubicBezTo>
                  <a:pt x="1367" y="979"/>
                  <a:pt x="1363" y="982"/>
                  <a:pt x="1359" y="986"/>
                </a:cubicBezTo>
                <a:cubicBezTo>
                  <a:pt x="1355" y="989"/>
                  <a:pt x="1353" y="993"/>
                  <a:pt x="1352" y="996"/>
                </a:cubicBezTo>
                <a:cubicBezTo>
                  <a:pt x="1350" y="1000"/>
                  <a:pt x="1350" y="1004"/>
                  <a:pt x="1351" y="1008"/>
                </a:cubicBezTo>
                <a:cubicBezTo>
                  <a:pt x="1351" y="1012"/>
                  <a:pt x="1353" y="1016"/>
                  <a:pt x="1355" y="1020"/>
                </a:cubicBezTo>
                <a:cubicBezTo>
                  <a:pt x="1357" y="1024"/>
                  <a:pt x="1360" y="1027"/>
                  <a:pt x="1364" y="1031"/>
                </a:cubicBezTo>
                <a:cubicBezTo>
                  <a:pt x="1368" y="1035"/>
                  <a:pt x="1371" y="1038"/>
                  <a:pt x="1375" y="1040"/>
                </a:cubicBezTo>
                <a:cubicBezTo>
                  <a:pt x="1379" y="1043"/>
                  <a:pt x="1383" y="1044"/>
                  <a:pt x="1386" y="1045"/>
                </a:cubicBezTo>
                <a:cubicBezTo>
                  <a:pt x="1390" y="1046"/>
                  <a:pt x="1394" y="1046"/>
                  <a:pt x="1398" y="1044"/>
                </a:cubicBezTo>
                <a:cubicBezTo>
                  <a:pt x="1402" y="1043"/>
                  <a:pt x="1406" y="1041"/>
                  <a:pt x="1410" y="1037"/>
                </a:cubicBezTo>
                <a:cubicBezTo>
                  <a:pt x="1413" y="1033"/>
                  <a:pt x="1416" y="1030"/>
                  <a:pt x="1417" y="1026"/>
                </a:cubicBezTo>
                <a:cubicBezTo>
                  <a:pt x="1418" y="1022"/>
                  <a:pt x="1419" y="1018"/>
                  <a:pt x="1418" y="1014"/>
                </a:cubicBezTo>
                <a:cubicBezTo>
                  <a:pt x="1417" y="1011"/>
                  <a:pt x="1416" y="1007"/>
                  <a:pt x="1414" y="1003"/>
                </a:cubicBezTo>
                <a:cubicBezTo>
                  <a:pt x="1411" y="999"/>
                  <a:pt x="1408" y="995"/>
                  <a:pt x="1404" y="991"/>
                </a:cubicBezTo>
                <a:close/>
                <a:moveTo>
                  <a:pt x="1491" y="934"/>
                </a:moveTo>
                <a:cubicBezTo>
                  <a:pt x="1494" y="937"/>
                  <a:pt x="1497" y="941"/>
                  <a:pt x="1498" y="945"/>
                </a:cubicBezTo>
                <a:cubicBezTo>
                  <a:pt x="1499" y="949"/>
                  <a:pt x="1500" y="952"/>
                  <a:pt x="1499" y="956"/>
                </a:cubicBezTo>
                <a:cubicBezTo>
                  <a:pt x="1499" y="961"/>
                  <a:pt x="1498" y="965"/>
                  <a:pt x="1495" y="969"/>
                </a:cubicBezTo>
                <a:cubicBezTo>
                  <a:pt x="1493" y="973"/>
                  <a:pt x="1490" y="976"/>
                  <a:pt x="1486" y="980"/>
                </a:cubicBezTo>
                <a:cubicBezTo>
                  <a:pt x="1484" y="982"/>
                  <a:pt x="1482" y="984"/>
                  <a:pt x="1479" y="986"/>
                </a:cubicBezTo>
                <a:cubicBezTo>
                  <a:pt x="1477" y="988"/>
                  <a:pt x="1475" y="989"/>
                  <a:pt x="1472" y="990"/>
                </a:cubicBezTo>
                <a:cubicBezTo>
                  <a:pt x="1470" y="992"/>
                  <a:pt x="1468" y="992"/>
                  <a:pt x="1466" y="993"/>
                </a:cubicBezTo>
                <a:cubicBezTo>
                  <a:pt x="1465" y="993"/>
                  <a:pt x="1463" y="994"/>
                  <a:pt x="1462" y="994"/>
                </a:cubicBezTo>
                <a:cubicBezTo>
                  <a:pt x="1461" y="994"/>
                  <a:pt x="1460" y="994"/>
                  <a:pt x="1459" y="993"/>
                </a:cubicBezTo>
                <a:cubicBezTo>
                  <a:pt x="1458" y="992"/>
                  <a:pt x="1457" y="991"/>
                  <a:pt x="1455" y="990"/>
                </a:cubicBezTo>
                <a:cubicBezTo>
                  <a:pt x="1454" y="989"/>
                  <a:pt x="1454" y="988"/>
                  <a:pt x="1453" y="987"/>
                </a:cubicBezTo>
                <a:cubicBezTo>
                  <a:pt x="1453" y="987"/>
                  <a:pt x="1452" y="986"/>
                  <a:pt x="1452" y="985"/>
                </a:cubicBezTo>
                <a:cubicBezTo>
                  <a:pt x="1452" y="985"/>
                  <a:pt x="1452" y="984"/>
                  <a:pt x="1452" y="984"/>
                </a:cubicBezTo>
                <a:cubicBezTo>
                  <a:pt x="1452" y="984"/>
                  <a:pt x="1452" y="983"/>
                  <a:pt x="1452" y="983"/>
                </a:cubicBezTo>
                <a:cubicBezTo>
                  <a:pt x="1453" y="982"/>
                  <a:pt x="1454" y="982"/>
                  <a:pt x="1456" y="982"/>
                </a:cubicBezTo>
                <a:cubicBezTo>
                  <a:pt x="1457" y="981"/>
                  <a:pt x="1459" y="981"/>
                  <a:pt x="1462" y="980"/>
                </a:cubicBezTo>
                <a:cubicBezTo>
                  <a:pt x="1464" y="979"/>
                  <a:pt x="1466" y="978"/>
                  <a:pt x="1469" y="977"/>
                </a:cubicBezTo>
                <a:cubicBezTo>
                  <a:pt x="1472" y="975"/>
                  <a:pt x="1474" y="973"/>
                  <a:pt x="1477" y="970"/>
                </a:cubicBezTo>
                <a:cubicBezTo>
                  <a:pt x="1479" y="968"/>
                  <a:pt x="1481" y="966"/>
                  <a:pt x="1482" y="964"/>
                </a:cubicBezTo>
                <a:cubicBezTo>
                  <a:pt x="1483" y="962"/>
                  <a:pt x="1484" y="960"/>
                  <a:pt x="1484" y="958"/>
                </a:cubicBezTo>
                <a:cubicBezTo>
                  <a:pt x="1485" y="956"/>
                  <a:pt x="1485" y="954"/>
                  <a:pt x="1484" y="952"/>
                </a:cubicBezTo>
                <a:cubicBezTo>
                  <a:pt x="1483" y="950"/>
                  <a:pt x="1482" y="948"/>
                  <a:pt x="1480" y="947"/>
                </a:cubicBezTo>
                <a:cubicBezTo>
                  <a:pt x="1478" y="945"/>
                  <a:pt x="1476" y="944"/>
                  <a:pt x="1474" y="944"/>
                </a:cubicBezTo>
                <a:cubicBezTo>
                  <a:pt x="1472" y="943"/>
                  <a:pt x="1470" y="943"/>
                  <a:pt x="1467" y="944"/>
                </a:cubicBezTo>
                <a:cubicBezTo>
                  <a:pt x="1465" y="944"/>
                  <a:pt x="1462" y="945"/>
                  <a:pt x="1460" y="947"/>
                </a:cubicBezTo>
                <a:cubicBezTo>
                  <a:pt x="1457" y="948"/>
                  <a:pt x="1454" y="949"/>
                  <a:pt x="1451" y="950"/>
                </a:cubicBezTo>
                <a:cubicBezTo>
                  <a:pt x="1448" y="951"/>
                  <a:pt x="1446" y="952"/>
                  <a:pt x="1443" y="953"/>
                </a:cubicBezTo>
                <a:cubicBezTo>
                  <a:pt x="1440" y="954"/>
                  <a:pt x="1437" y="955"/>
                  <a:pt x="1434" y="955"/>
                </a:cubicBezTo>
                <a:cubicBezTo>
                  <a:pt x="1431" y="955"/>
                  <a:pt x="1428" y="954"/>
                  <a:pt x="1425" y="953"/>
                </a:cubicBezTo>
                <a:cubicBezTo>
                  <a:pt x="1422" y="952"/>
                  <a:pt x="1419" y="950"/>
                  <a:pt x="1416" y="947"/>
                </a:cubicBezTo>
                <a:cubicBezTo>
                  <a:pt x="1413" y="945"/>
                  <a:pt x="1411" y="942"/>
                  <a:pt x="1410" y="938"/>
                </a:cubicBezTo>
                <a:cubicBezTo>
                  <a:pt x="1409" y="935"/>
                  <a:pt x="1408" y="932"/>
                  <a:pt x="1408" y="928"/>
                </a:cubicBezTo>
                <a:cubicBezTo>
                  <a:pt x="1408" y="924"/>
                  <a:pt x="1410" y="920"/>
                  <a:pt x="1411" y="916"/>
                </a:cubicBezTo>
                <a:cubicBezTo>
                  <a:pt x="1413" y="912"/>
                  <a:pt x="1416" y="908"/>
                  <a:pt x="1420" y="904"/>
                </a:cubicBezTo>
                <a:cubicBezTo>
                  <a:pt x="1422" y="903"/>
                  <a:pt x="1424" y="901"/>
                  <a:pt x="1426" y="900"/>
                </a:cubicBezTo>
                <a:cubicBezTo>
                  <a:pt x="1428" y="898"/>
                  <a:pt x="1430" y="897"/>
                  <a:pt x="1431" y="896"/>
                </a:cubicBezTo>
                <a:cubicBezTo>
                  <a:pt x="1433" y="895"/>
                  <a:pt x="1435" y="894"/>
                  <a:pt x="1436" y="894"/>
                </a:cubicBezTo>
                <a:cubicBezTo>
                  <a:pt x="1438" y="893"/>
                  <a:pt x="1439" y="893"/>
                  <a:pt x="1440" y="893"/>
                </a:cubicBezTo>
                <a:cubicBezTo>
                  <a:pt x="1441" y="893"/>
                  <a:pt x="1442" y="893"/>
                  <a:pt x="1442" y="893"/>
                </a:cubicBezTo>
                <a:cubicBezTo>
                  <a:pt x="1442" y="893"/>
                  <a:pt x="1443" y="893"/>
                  <a:pt x="1443" y="894"/>
                </a:cubicBezTo>
                <a:cubicBezTo>
                  <a:pt x="1444" y="894"/>
                  <a:pt x="1444" y="894"/>
                  <a:pt x="1445" y="895"/>
                </a:cubicBezTo>
                <a:cubicBezTo>
                  <a:pt x="1445" y="895"/>
                  <a:pt x="1446" y="896"/>
                  <a:pt x="1447" y="897"/>
                </a:cubicBezTo>
                <a:cubicBezTo>
                  <a:pt x="1448" y="897"/>
                  <a:pt x="1448" y="898"/>
                  <a:pt x="1449" y="899"/>
                </a:cubicBezTo>
                <a:cubicBezTo>
                  <a:pt x="1449" y="899"/>
                  <a:pt x="1450" y="900"/>
                  <a:pt x="1450" y="901"/>
                </a:cubicBezTo>
                <a:cubicBezTo>
                  <a:pt x="1450" y="901"/>
                  <a:pt x="1450" y="902"/>
                  <a:pt x="1450" y="902"/>
                </a:cubicBezTo>
                <a:cubicBezTo>
                  <a:pt x="1450" y="902"/>
                  <a:pt x="1450" y="903"/>
                  <a:pt x="1450" y="903"/>
                </a:cubicBezTo>
                <a:cubicBezTo>
                  <a:pt x="1449" y="904"/>
                  <a:pt x="1448" y="904"/>
                  <a:pt x="1447" y="904"/>
                </a:cubicBezTo>
                <a:cubicBezTo>
                  <a:pt x="1446" y="904"/>
                  <a:pt x="1444" y="905"/>
                  <a:pt x="1442" y="906"/>
                </a:cubicBezTo>
                <a:cubicBezTo>
                  <a:pt x="1440" y="906"/>
                  <a:pt x="1438" y="907"/>
                  <a:pt x="1436" y="909"/>
                </a:cubicBezTo>
                <a:cubicBezTo>
                  <a:pt x="1434" y="910"/>
                  <a:pt x="1431" y="912"/>
                  <a:pt x="1429" y="914"/>
                </a:cubicBezTo>
                <a:cubicBezTo>
                  <a:pt x="1427" y="916"/>
                  <a:pt x="1426" y="918"/>
                  <a:pt x="1425" y="920"/>
                </a:cubicBezTo>
                <a:cubicBezTo>
                  <a:pt x="1423" y="922"/>
                  <a:pt x="1423" y="924"/>
                  <a:pt x="1423" y="925"/>
                </a:cubicBezTo>
                <a:cubicBezTo>
                  <a:pt x="1423" y="927"/>
                  <a:pt x="1423" y="929"/>
                  <a:pt x="1423" y="931"/>
                </a:cubicBezTo>
                <a:cubicBezTo>
                  <a:pt x="1424" y="932"/>
                  <a:pt x="1425" y="934"/>
                  <a:pt x="1426" y="935"/>
                </a:cubicBezTo>
                <a:cubicBezTo>
                  <a:pt x="1428" y="937"/>
                  <a:pt x="1430" y="938"/>
                  <a:pt x="1433" y="938"/>
                </a:cubicBezTo>
                <a:cubicBezTo>
                  <a:pt x="1435" y="939"/>
                  <a:pt x="1437" y="939"/>
                  <a:pt x="1440" y="938"/>
                </a:cubicBezTo>
                <a:cubicBezTo>
                  <a:pt x="1442" y="937"/>
                  <a:pt x="1445" y="937"/>
                  <a:pt x="1447" y="935"/>
                </a:cubicBezTo>
                <a:cubicBezTo>
                  <a:pt x="1450" y="934"/>
                  <a:pt x="1453" y="933"/>
                  <a:pt x="1456" y="932"/>
                </a:cubicBezTo>
                <a:cubicBezTo>
                  <a:pt x="1459" y="931"/>
                  <a:pt x="1462" y="929"/>
                  <a:pt x="1465" y="928"/>
                </a:cubicBezTo>
                <a:cubicBezTo>
                  <a:pt x="1468" y="927"/>
                  <a:pt x="1471" y="927"/>
                  <a:pt x="1474" y="927"/>
                </a:cubicBezTo>
                <a:cubicBezTo>
                  <a:pt x="1477" y="927"/>
                  <a:pt x="1479" y="927"/>
                  <a:pt x="1482" y="928"/>
                </a:cubicBezTo>
                <a:cubicBezTo>
                  <a:pt x="1485" y="929"/>
                  <a:pt x="1488" y="931"/>
                  <a:pt x="1491" y="934"/>
                </a:cubicBezTo>
                <a:close/>
                <a:moveTo>
                  <a:pt x="1553" y="897"/>
                </a:moveTo>
                <a:cubicBezTo>
                  <a:pt x="1555" y="899"/>
                  <a:pt x="1556" y="900"/>
                  <a:pt x="1556" y="901"/>
                </a:cubicBezTo>
                <a:cubicBezTo>
                  <a:pt x="1557" y="902"/>
                  <a:pt x="1557" y="903"/>
                  <a:pt x="1557" y="904"/>
                </a:cubicBezTo>
                <a:cubicBezTo>
                  <a:pt x="1557" y="904"/>
                  <a:pt x="1557" y="905"/>
                  <a:pt x="1557" y="906"/>
                </a:cubicBezTo>
                <a:cubicBezTo>
                  <a:pt x="1556" y="907"/>
                  <a:pt x="1556" y="909"/>
                  <a:pt x="1555" y="910"/>
                </a:cubicBezTo>
                <a:cubicBezTo>
                  <a:pt x="1554" y="911"/>
                  <a:pt x="1553" y="912"/>
                  <a:pt x="1552" y="913"/>
                </a:cubicBezTo>
                <a:cubicBezTo>
                  <a:pt x="1551" y="915"/>
                  <a:pt x="1550" y="916"/>
                  <a:pt x="1549" y="917"/>
                </a:cubicBezTo>
                <a:cubicBezTo>
                  <a:pt x="1546" y="920"/>
                  <a:pt x="1543" y="923"/>
                  <a:pt x="1539" y="924"/>
                </a:cubicBezTo>
                <a:cubicBezTo>
                  <a:pt x="1536" y="926"/>
                  <a:pt x="1533" y="926"/>
                  <a:pt x="1529" y="926"/>
                </a:cubicBezTo>
                <a:cubicBezTo>
                  <a:pt x="1526" y="926"/>
                  <a:pt x="1523" y="925"/>
                  <a:pt x="1519" y="923"/>
                </a:cubicBezTo>
                <a:cubicBezTo>
                  <a:pt x="1516" y="921"/>
                  <a:pt x="1512" y="918"/>
                  <a:pt x="1509" y="914"/>
                </a:cubicBezTo>
                <a:lnTo>
                  <a:pt x="1471" y="876"/>
                </a:lnTo>
                <a:lnTo>
                  <a:pt x="1462" y="885"/>
                </a:lnTo>
                <a:cubicBezTo>
                  <a:pt x="1461" y="886"/>
                  <a:pt x="1460" y="886"/>
                  <a:pt x="1459" y="886"/>
                </a:cubicBezTo>
                <a:cubicBezTo>
                  <a:pt x="1458" y="886"/>
                  <a:pt x="1456" y="884"/>
                  <a:pt x="1454" y="883"/>
                </a:cubicBezTo>
                <a:cubicBezTo>
                  <a:pt x="1454" y="882"/>
                  <a:pt x="1453" y="881"/>
                  <a:pt x="1452" y="880"/>
                </a:cubicBezTo>
                <a:cubicBezTo>
                  <a:pt x="1452" y="880"/>
                  <a:pt x="1451" y="879"/>
                  <a:pt x="1451" y="878"/>
                </a:cubicBezTo>
                <a:cubicBezTo>
                  <a:pt x="1451" y="878"/>
                  <a:pt x="1451" y="877"/>
                  <a:pt x="1451" y="877"/>
                </a:cubicBezTo>
                <a:cubicBezTo>
                  <a:pt x="1451" y="876"/>
                  <a:pt x="1452" y="876"/>
                  <a:pt x="1452" y="875"/>
                </a:cubicBezTo>
                <a:lnTo>
                  <a:pt x="1461" y="866"/>
                </a:lnTo>
                <a:lnTo>
                  <a:pt x="1446" y="851"/>
                </a:lnTo>
                <a:cubicBezTo>
                  <a:pt x="1445" y="851"/>
                  <a:pt x="1445" y="850"/>
                  <a:pt x="1445" y="850"/>
                </a:cubicBezTo>
                <a:cubicBezTo>
                  <a:pt x="1445" y="849"/>
                  <a:pt x="1445" y="849"/>
                  <a:pt x="1445" y="848"/>
                </a:cubicBezTo>
                <a:cubicBezTo>
                  <a:pt x="1445" y="847"/>
                  <a:pt x="1446" y="847"/>
                  <a:pt x="1446" y="846"/>
                </a:cubicBezTo>
                <a:cubicBezTo>
                  <a:pt x="1447" y="845"/>
                  <a:pt x="1448" y="844"/>
                  <a:pt x="1449" y="843"/>
                </a:cubicBezTo>
                <a:cubicBezTo>
                  <a:pt x="1450" y="842"/>
                  <a:pt x="1451" y="841"/>
                  <a:pt x="1452" y="840"/>
                </a:cubicBezTo>
                <a:cubicBezTo>
                  <a:pt x="1453" y="839"/>
                  <a:pt x="1454" y="839"/>
                  <a:pt x="1454" y="839"/>
                </a:cubicBezTo>
                <a:cubicBezTo>
                  <a:pt x="1455" y="838"/>
                  <a:pt x="1456" y="838"/>
                  <a:pt x="1456" y="839"/>
                </a:cubicBezTo>
                <a:cubicBezTo>
                  <a:pt x="1457" y="839"/>
                  <a:pt x="1457" y="839"/>
                  <a:pt x="1457" y="839"/>
                </a:cubicBezTo>
                <a:lnTo>
                  <a:pt x="1473" y="855"/>
                </a:lnTo>
                <a:lnTo>
                  <a:pt x="1489" y="838"/>
                </a:lnTo>
                <a:cubicBezTo>
                  <a:pt x="1490" y="838"/>
                  <a:pt x="1490" y="837"/>
                  <a:pt x="1491" y="837"/>
                </a:cubicBezTo>
                <a:cubicBezTo>
                  <a:pt x="1491" y="837"/>
                  <a:pt x="1492" y="837"/>
                  <a:pt x="1492" y="837"/>
                </a:cubicBezTo>
                <a:cubicBezTo>
                  <a:pt x="1493" y="837"/>
                  <a:pt x="1494" y="838"/>
                  <a:pt x="1494" y="838"/>
                </a:cubicBezTo>
                <a:cubicBezTo>
                  <a:pt x="1495" y="839"/>
                  <a:pt x="1496" y="840"/>
                  <a:pt x="1497" y="841"/>
                </a:cubicBezTo>
                <a:cubicBezTo>
                  <a:pt x="1498" y="842"/>
                  <a:pt x="1499" y="844"/>
                  <a:pt x="1500" y="845"/>
                </a:cubicBezTo>
                <a:cubicBezTo>
                  <a:pt x="1500" y="846"/>
                  <a:pt x="1500" y="847"/>
                  <a:pt x="1499" y="848"/>
                </a:cubicBezTo>
                <a:lnTo>
                  <a:pt x="1483" y="864"/>
                </a:lnTo>
                <a:lnTo>
                  <a:pt x="1519" y="900"/>
                </a:lnTo>
                <a:cubicBezTo>
                  <a:pt x="1523" y="905"/>
                  <a:pt x="1527" y="908"/>
                  <a:pt x="1531" y="909"/>
                </a:cubicBezTo>
                <a:cubicBezTo>
                  <a:pt x="1534" y="909"/>
                  <a:pt x="1538" y="908"/>
                  <a:pt x="1541" y="905"/>
                </a:cubicBezTo>
                <a:cubicBezTo>
                  <a:pt x="1542" y="904"/>
                  <a:pt x="1543" y="903"/>
                  <a:pt x="1544" y="902"/>
                </a:cubicBezTo>
                <a:cubicBezTo>
                  <a:pt x="1544" y="901"/>
                  <a:pt x="1545" y="900"/>
                  <a:pt x="1545" y="899"/>
                </a:cubicBezTo>
                <a:cubicBezTo>
                  <a:pt x="1546" y="898"/>
                  <a:pt x="1546" y="897"/>
                  <a:pt x="1546" y="896"/>
                </a:cubicBezTo>
                <a:cubicBezTo>
                  <a:pt x="1547" y="896"/>
                  <a:pt x="1547" y="895"/>
                  <a:pt x="1547" y="895"/>
                </a:cubicBezTo>
                <a:cubicBezTo>
                  <a:pt x="1548" y="894"/>
                  <a:pt x="1548" y="894"/>
                  <a:pt x="1548" y="894"/>
                </a:cubicBezTo>
                <a:cubicBezTo>
                  <a:pt x="1549" y="894"/>
                  <a:pt x="1549" y="894"/>
                  <a:pt x="1549" y="894"/>
                </a:cubicBezTo>
                <a:cubicBezTo>
                  <a:pt x="1550" y="894"/>
                  <a:pt x="1551" y="895"/>
                  <a:pt x="1551" y="895"/>
                </a:cubicBezTo>
                <a:cubicBezTo>
                  <a:pt x="1552" y="896"/>
                  <a:pt x="1553" y="896"/>
                  <a:pt x="1553" y="897"/>
                </a:cubicBezTo>
                <a:close/>
                <a:moveTo>
                  <a:pt x="1706" y="754"/>
                </a:moveTo>
                <a:cubicBezTo>
                  <a:pt x="1707" y="754"/>
                  <a:pt x="1707" y="755"/>
                  <a:pt x="1707" y="755"/>
                </a:cubicBezTo>
                <a:cubicBezTo>
                  <a:pt x="1707" y="756"/>
                  <a:pt x="1707" y="756"/>
                  <a:pt x="1706" y="757"/>
                </a:cubicBezTo>
                <a:cubicBezTo>
                  <a:pt x="1706" y="758"/>
                  <a:pt x="1706" y="758"/>
                  <a:pt x="1705" y="759"/>
                </a:cubicBezTo>
                <a:cubicBezTo>
                  <a:pt x="1704" y="760"/>
                  <a:pt x="1703" y="761"/>
                  <a:pt x="1702" y="763"/>
                </a:cubicBezTo>
                <a:cubicBezTo>
                  <a:pt x="1701" y="764"/>
                  <a:pt x="1700" y="765"/>
                  <a:pt x="1699" y="765"/>
                </a:cubicBezTo>
                <a:cubicBezTo>
                  <a:pt x="1698" y="766"/>
                  <a:pt x="1697" y="766"/>
                  <a:pt x="1697" y="767"/>
                </a:cubicBezTo>
                <a:cubicBezTo>
                  <a:pt x="1696" y="767"/>
                  <a:pt x="1696" y="767"/>
                  <a:pt x="1695" y="767"/>
                </a:cubicBezTo>
                <a:cubicBezTo>
                  <a:pt x="1695" y="767"/>
                  <a:pt x="1694" y="767"/>
                  <a:pt x="1694" y="766"/>
                </a:cubicBezTo>
                <a:lnTo>
                  <a:pt x="1613" y="685"/>
                </a:lnTo>
                <a:lnTo>
                  <a:pt x="1613" y="686"/>
                </a:lnTo>
                <a:lnTo>
                  <a:pt x="1661" y="800"/>
                </a:lnTo>
                <a:cubicBezTo>
                  <a:pt x="1661" y="800"/>
                  <a:pt x="1662" y="801"/>
                  <a:pt x="1662" y="801"/>
                </a:cubicBezTo>
                <a:cubicBezTo>
                  <a:pt x="1661" y="802"/>
                  <a:pt x="1661" y="802"/>
                  <a:pt x="1661" y="803"/>
                </a:cubicBezTo>
                <a:cubicBezTo>
                  <a:pt x="1661" y="804"/>
                  <a:pt x="1660" y="804"/>
                  <a:pt x="1660" y="805"/>
                </a:cubicBezTo>
                <a:cubicBezTo>
                  <a:pt x="1659" y="806"/>
                  <a:pt x="1658" y="807"/>
                  <a:pt x="1657" y="808"/>
                </a:cubicBezTo>
                <a:cubicBezTo>
                  <a:pt x="1656" y="809"/>
                  <a:pt x="1655" y="809"/>
                  <a:pt x="1654" y="810"/>
                </a:cubicBezTo>
                <a:cubicBezTo>
                  <a:pt x="1654" y="811"/>
                  <a:pt x="1653" y="811"/>
                  <a:pt x="1652" y="811"/>
                </a:cubicBezTo>
                <a:cubicBezTo>
                  <a:pt x="1652" y="812"/>
                  <a:pt x="1651" y="812"/>
                  <a:pt x="1651" y="812"/>
                </a:cubicBezTo>
                <a:cubicBezTo>
                  <a:pt x="1650" y="812"/>
                  <a:pt x="1650" y="812"/>
                  <a:pt x="1649" y="812"/>
                </a:cubicBezTo>
                <a:lnTo>
                  <a:pt x="1537" y="762"/>
                </a:lnTo>
                <a:lnTo>
                  <a:pt x="1537" y="762"/>
                </a:lnTo>
                <a:lnTo>
                  <a:pt x="1617" y="843"/>
                </a:lnTo>
                <a:cubicBezTo>
                  <a:pt x="1618" y="843"/>
                  <a:pt x="1618" y="844"/>
                  <a:pt x="1618" y="844"/>
                </a:cubicBezTo>
                <a:cubicBezTo>
                  <a:pt x="1618" y="844"/>
                  <a:pt x="1618" y="845"/>
                  <a:pt x="1618" y="846"/>
                </a:cubicBezTo>
                <a:cubicBezTo>
                  <a:pt x="1617" y="846"/>
                  <a:pt x="1617" y="847"/>
                  <a:pt x="1616" y="848"/>
                </a:cubicBezTo>
                <a:cubicBezTo>
                  <a:pt x="1616" y="849"/>
                  <a:pt x="1615" y="850"/>
                  <a:pt x="1613" y="851"/>
                </a:cubicBezTo>
                <a:cubicBezTo>
                  <a:pt x="1612" y="852"/>
                  <a:pt x="1611" y="853"/>
                  <a:pt x="1610" y="854"/>
                </a:cubicBezTo>
                <a:cubicBezTo>
                  <a:pt x="1609" y="855"/>
                  <a:pt x="1609" y="855"/>
                  <a:pt x="1608" y="856"/>
                </a:cubicBezTo>
                <a:cubicBezTo>
                  <a:pt x="1607" y="856"/>
                  <a:pt x="1607" y="856"/>
                  <a:pt x="1606" y="856"/>
                </a:cubicBezTo>
                <a:cubicBezTo>
                  <a:pt x="1606" y="856"/>
                  <a:pt x="1605" y="855"/>
                  <a:pt x="1605" y="855"/>
                </a:cubicBezTo>
                <a:lnTo>
                  <a:pt x="1520" y="770"/>
                </a:lnTo>
                <a:cubicBezTo>
                  <a:pt x="1518" y="768"/>
                  <a:pt x="1517" y="766"/>
                  <a:pt x="1517" y="764"/>
                </a:cubicBezTo>
                <a:cubicBezTo>
                  <a:pt x="1517" y="762"/>
                  <a:pt x="1518" y="760"/>
                  <a:pt x="1519" y="759"/>
                </a:cubicBezTo>
                <a:lnTo>
                  <a:pt x="1527" y="751"/>
                </a:lnTo>
                <a:cubicBezTo>
                  <a:pt x="1528" y="750"/>
                  <a:pt x="1530" y="748"/>
                  <a:pt x="1531" y="748"/>
                </a:cubicBezTo>
                <a:cubicBezTo>
                  <a:pt x="1533" y="747"/>
                  <a:pt x="1534" y="746"/>
                  <a:pt x="1536" y="746"/>
                </a:cubicBezTo>
                <a:cubicBezTo>
                  <a:pt x="1537" y="746"/>
                  <a:pt x="1539" y="746"/>
                  <a:pt x="1540" y="746"/>
                </a:cubicBezTo>
                <a:cubicBezTo>
                  <a:pt x="1542" y="746"/>
                  <a:pt x="1543" y="747"/>
                  <a:pt x="1545" y="748"/>
                </a:cubicBezTo>
                <a:lnTo>
                  <a:pt x="1639" y="789"/>
                </a:lnTo>
                <a:lnTo>
                  <a:pt x="1639" y="788"/>
                </a:lnTo>
                <a:lnTo>
                  <a:pt x="1600" y="694"/>
                </a:lnTo>
                <a:cubicBezTo>
                  <a:pt x="1599" y="692"/>
                  <a:pt x="1598" y="690"/>
                  <a:pt x="1598" y="688"/>
                </a:cubicBezTo>
                <a:cubicBezTo>
                  <a:pt x="1598" y="686"/>
                  <a:pt x="1598" y="685"/>
                  <a:pt x="1598" y="684"/>
                </a:cubicBezTo>
                <a:cubicBezTo>
                  <a:pt x="1598" y="682"/>
                  <a:pt x="1598" y="681"/>
                  <a:pt x="1599" y="680"/>
                </a:cubicBezTo>
                <a:cubicBezTo>
                  <a:pt x="1600" y="679"/>
                  <a:pt x="1601" y="677"/>
                  <a:pt x="1602" y="676"/>
                </a:cubicBezTo>
                <a:lnTo>
                  <a:pt x="1610" y="668"/>
                </a:lnTo>
                <a:cubicBezTo>
                  <a:pt x="1610" y="668"/>
                  <a:pt x="1611" y="667"/>
                  <a:pt x="1612" y="667"/>
                </a:cubicBezTo>
                <a:cubicBezTo>
                  <a:pt x="1613" y="666"/>
                  <a:pt x="1614" y="666"/>
                  <a:pt x="1615" y="666"/>
                </a:cubicBezTo>
                <a:cubicBezTo>
                  <a:pt x="1616" y="666"/>
                  <a:pt x="1617" y="666"/>
                  <a:pt x="1618" y="666"/>
                </a:cubicBezTo>
                <a:cubicBezTo>
                  <a:pt x="1619" y="667"/>
                  <a:pt x="1620" y="668"/>
                  <a:pt x="1621" y="669"/>
                </a:cubicBezTo>
                <a:lnTo>
                  <a:pt x="1706" y="754"/>
                </a:lnTo>
                <a:close/>
                <a:moveTo>
                  <a:pt x="1777" y="683"/>
                </a:moveTo>
                <a:cubicBezTo>
                  <a:pt x="1778" y="684"/>
                  <a:pt x="1778" y="685"/>
                  <a:pt x="1778" y="685"/>
                </a:cubicBezTo>
                <a:cubicBezTo>
                  <a:pt x="1778" y="686"/>
                  <a:pt x="1777" y="687"/>
                  <a:pt x="1777" y="688"/>
                </a:cubicBezTo>
                <a:cubicBezTo>
                  <a:pt x="1776" y="688"/>
                  <a:pt x="1775" y="689"/>
                  <a:pt x="1774" y="691"/>
                </a:cubicBezTo>
                <a:cubicBezTo>
                  <a:pt x="1773" y="692"/>
                  <a:pt x="1772" y="693"/>
                  <a:pt x="1771" y="693"/>
                </a:cubicBezTo>
                <a:cubicBezTo>
                  <a:pt x="1770" y="694"/>
                  <a:pt x="1769" y="694"/>
                  <a:pt x="1769" y="694"/>
                </a:cubicBezTo>
                <a:cubicBezTo>
                  <a:pt x="1768" y="694"/>
                  <a:pt x="1767" y="694"/>
                  <a:pt x="1767" y="694"/>
                </a:cubicBezTo>
                <a:lnTo>
                  <a:pt x="1760" y="687"/>
                </a:lnTo>
                <a:cubicBezTo>
                  <a:pt x="1761" y="693"/>
                  <a:pt x="1760" y="698"/>
                  <a:pt x="1758" y="704"/>
                </a:cubicBezTo>
                <a:cubicBezTo>
                  <a:pt x="1756" y="709"/>
                  <a:pt x="1753" y="713"/>
                  <a:pt x="1749" y="717"/>
                </a:cubicBezTo>
                <a:cubicBezTo>
                  <a:pt x="1746" y="721"/>
                  <a:pt x="1743" y="723"/>
                  <a:pt x="1739" y="725"/>
                </a:cubicBezTo>
                <a:cubicBezTo>
                  <a:pt x="1735" y="727"/>
                  <a:pt x="1732" y="728"/>
                  <a:pt x="1728" y="728"/>
                </a:cubicBezTo>
                <a:cubicBezTo>
                  <a:pt x="1724" y="729"/>
                  <a:pt x="1721" y="728"/>
                  <a:pt x="1717" y="727"/>
                </a:cubicBezTo>
                <a:cubicBezTo>
                  <a:pt x="1714" y="725"/>
                  <a:pt x="1710" y="723"/>
                  <a:pt x="1707" y="720"/>
                </a:cubicBezTo>
                <a:cubicBezTo>
                  <a:pt x="1704" y="716"/>
                  <a:pt x="1701" y="712"/>
                  <a:pt x="1700" y="708"/>
                </a:cubicBezTo>
                <a:cubicBezTo>
                  <a:pt x="1699" y="704"/>
                  <a:pt x="1699" y="700"/>
                  <a:pt x="1700" y="695"/>
                </a:cubicBezTo>
                <a:cubicBezTo>
                  <a:pt x="1701" y="691"/>
                  <a:pt x="1703" y="686"/>
                  <a:pt x="1706" y="681"/>
                </a:cubicBezTo>
                <a:cubicBezTo>
                  <a:pt x="1709" y="676"/>
                  <a:pt x="1713" y="671"/>
                  <a:pt x="1718" y="666"/>
                </a:cubicBezTo>
                <a:lnTo>
                  <a:pt x="1727" y="657"/>
                </a:lnTo>
                <a:lnTo>
                  <a:pt x="1722" y="652"/>
                </a:lnTo>
                <a:cubicBezTo>
                  <a:pt x="1720" y="650"/>
                  <a:pt x="1717" y="648"/>
                  <a:pt x="1715" y="646"/>
                </a:cubicBezTo>
                <a:cubicBezTo>
                  <a:pt x="1712" y="645"/>
                  <a:pt x="1710" y="644"/>
                  <a:pt x="1707" y="644"/>
                </a:cubicBezTo>
                <a:cubicBezTo>
                  <a:pt x="1705" y="644"/>
                  <a:pt x="1703" y="645"/>
                  <a:pt x="1700" y="646"/>
                </a:cubicBezTo>
                <a:cubicBezTo>
                  <a:pt x="1697" y="647"/>
                  <a:pt x="1695" y="649"/>
                  <a:pt x="1692" y="652"/>
                </a:cubicBezTo>
                <a:cubicBezTo>
                  <a:pt x="1689" y="655"/>
                  <a:pt x="1687" y="658"/>
                  <a:pt x="1685" y="661"/>
                </a:cubicBezTo>
                <a:cubicBezTo>
                  <a:pt x="1684" y="664"/>
                  <a:pt x="1682" y="666"/>
                  <a:pt x="1682" y="669"/>
                </a:cubicBezTo>
                <a:cubicBezTo>
                  <a:pt x="1681" y="672"/>
                  <a:pt x="1680" y="674"/>
                  <a:pt x="1679" y="676"/>
                </a:cubicBezTo>
                <a:cubicBezTo>
                  <a:pt x="1679" y="678"/>
                  <a:pt x="1678" y="679"/>
                  <a:pt x="1678" y="679"/>
                </a:cubicBezTo>
                <a:cubicBezTo>
                  <a:pt x="1677" y="680"/>
                  <a:pt x="1677" y="680"/>
                  <a:pt x="1677" y="680"/>
                </a:cubicBezTo>
                <a:cubicBezTo>
                  <a:pt x="1676" y="680"/>
                  <a:pt x="1676" y="680"/>
                  <a:pt x="1675" y="680"/>
                </a:cubicBezTo>
                <a:cubicBezTo>
                  <a:pt x="1674" y="680"/>
                  <a:pt x="1674" y="679"/>
                  <a:pt x="1673" y="679"/>
                </a:cubicBezTo>
                <a:cubicBezTo>
                  <a:pt x="1672" y="678"/>
                  <a:pt x="1672" y="678"/>
                  <a:pt x="1671" y="677"/>
                </a:cubicBezTo>
                <a:cubicBezTo>
                  <a:pt x="1670" y="676"/>
                  <a:pt x="1669" y="675"/>
                  <a:pt x="1668" y="674"/>
                </a:cubicBezTo>
                <a:cubicBezTo>
                  <a:pt x="1668" y="673"/>
                  <a:pt x="1668" y="672"/>
                  <a:pt x="1668" y="671"/>
                </a:cubicBezTo>
                <a:cubicBezTo>
                  <a:pt x="1668" y="670"/>
                  <a:pt x="1668" y="668"/>
                  <a:pt x="1669" y="665"/>
                </a:cubicBezTo>
                <a:cubicBezTo>
                  <a:pt x="1669" y="663"/>
                  <a:pt x="1670" y="660"/>
                  <a:pt x="1672" y="658"/>
                </a:cubicBezTo>
                <a:cubicBezTo>
                  <a:pt x="1673" y="655"/>
                  <a:pt x="1675" y="652"/>
                  <a:pt x="1677" y="649"/>
                </a:cubicBezTo>
                <a:cubicBezTo>
                  <a:pt x="1679" y="646"/>
                  <a:pt x="1681" y="643"/>
                  <a:pt x="1684" y="641"/>
                </a:cubicBezTo>
                <a:cubicBezTo>
                  <a:pt x="1688" y="636"/>
                  <a:pt x="1693" y="633"/>
                  <a:pt x="1697" y="631"/>
                </a:cubicBezTo>
                <a:cubicBezTo>
                  <a:pt x="1701" y="628"/>
                  <a:pt x="1706" y="627"/>
                  <a:pt x="1710" y="627"/>
                </a:cubicBezTo>
                <a:cubicBezTo>
                  <a:pt x="1714" y="627"/>
                  <a:pt x="1718" y="629"/>
                  <a:pt x="1722" y="631"/>
                </a:cubicBezTo>
                <a:cubicBezTo>
                  <a:pt x="1725" y="633"/>
                  <a:pt x="1729" y="636"/>
                  <a:pt x="1733" y="640"/>
                </a:cubicBezTo>
                <a:lnTo>
                  <a:pt x="1777" y="683"/>
                </a:lnTo>
                <a:close/>
                <a:moveTo>
                  <a:pt x="1736" y="666"/>
                </a:moveTo>
                <a:lnTo>
                  <a:pt x="1726" y="676"/>
                </a:lnTo>
                <a:cubicBezTo>
                  <a:pt x="1722" y="679"/>
                  <a:pt x="1720" y="682"/>
                  <a:pt x="1718" y="685"/>
                </a:cubicBezTo>
                <a:cubicBezTo>
                  <a:pt x="1716" y="688"/>
                  <a:pt x="1715" y="691"/>
                  <a:pt x="1714" y="694"/>
                </a:cubicBezTo>
                <a:cubicBezTo>
                  <a:pt x="1714" y="696"/>
                  <a:pt x="1714" y="699"/>
                  <a:pt x="1715" y="701"/>
                </a:cubicBezTo>
                <a:cubicBezTo>
                  <a:pt x="1716" y="703"/>
                  <a:pt x="1717" y="705"/>
                  <a:pt x="1719" y="707"/>
                </a:cubicBezTo>
                <a:cubicBezTo>
                  <a:pt x="1722" y="711"/>
                  <a:pt x="1726" y="712"/>
                  <a:pt x="1730" y="712"/>
                </a:cubicBezTo>
                <a:cubicBezTo>
                  <a:pt x="1734" y="712"/>
                  <a:pt x="1738" y="710"/>
                  <a:pt x="1742" y="706"/>
                </a:cubicBezTo>
                <a:cubicBezTo>
                  <a:pt x="1745" y="703"/>
                  <a:pt x="1747" y="699"/>
                  <a:pt x="1748" y="695"/>
                </a:cubicBezTo>
                <a:cubicBezTo>
                  <a:pt x="1749" y="691"/>
                  <a:pt x="1750" y="686"/>
                  <a:pt x="1749" y="679"/>
                </a:cubicBezTo>
                <a:lnTo>
                  <a:pt x="1736" y="666"/>
                </a:lnTo>
                <a:close/>
                <a:moveTo>
                  <a:pt x="1852" y="608"/>
                </a:moveTo>
                <a:cubicBezTo>
                  <a:pt x="1852" y="609"/>
                  <a:pt x="1852" y="609"/>
                  <a:pt x="1852" y="610"/>
                </a:cubicBezTo>
                <a:cubicBezTo>
                  <a:pt x="1853" y="610"/>
                  <a:pt x="1852" y="611"/>
                  <a:pt x="1852" y="611"/>
                </a:cubicBezTo>
                <a:cubicBezTo>
                  <a:pt x="1852" y="612"/>
                  <a:pt x="1852" y="613"/>
                  <a:pt x="1851" y="614"/>
                </a:cubicBezTo>
                <a:cubicBezTo>
                  <a:pt x="1850" y="614"/>
                  <a:pt x="1849" y="615"/>
                  <a:pt x="1848" y="617"/>
                </a:cubicBezTo>
                <a:cubicBezTo>
                  <a:pt x="1847" y="618"/>
                  <a:pt x="1846" y="619"/>
                  <a:pt x="1845" y="619"/>
                </a:cubicBezTo>
                <a:cubicBezTo>
                  <a:pt x="1844" y="620"/>
                  <a:pt x="1843" y="621"/>
                  <a:pt x="1843" y="621"/>
                </a:cubicBezTo>
                <a:cubicBezTo>
                  <a:pt x="1842" y="621"/>
                  <a:pt x="1842" y="621"/>
                  <a:pt x="1841" y="621"/>
                </a:cubicBezTo>
                <a:cubicBezTo>
                  <a:pt x="1841" y="621"/>
                  <a:pt x="1840" y="621"/>
                  <a:pt x="1840" y="620"/>
                </a:cubicBezTo>
                <a:lnTo>
                  <a:pt x="1802" y="582"/>
                </a:lnTo>
                <a:cubicBezTo>
                  <a:pt x="1798" y="579"/>
                  <a:pt x="1795" y="576"/>
                  <a:pt x="1792" y="574"/>
                </a:cubicBezTo>
                <a:cubicBezTo>
                  <a:pt x="1790" y="573"/>
                  <a:pt x="1787" y="572"/>
                  <a:pt x="1784" y="571"/>
                </a:cubicBezTo>
                <a:cubicBezTo>
                  <a:pt x="1781" y="571"/>
                  <a:pt x="1779" y="571"/>
                  <a:pt x="1776" y="572"/>
                </a:cubicBezTo>
                <a:cubicBezTo>
                  <a:pt x="1773" y="573"/>
                  <a:pt x="1771" y="574"/>
                  <a:pt x="1769" y="576"/>
                </a:cubicBezTo>
                <a:cubicBezTo>
                  <a:pt x="1766" y="579"/>
                  <a:pt x="1764" y="583"/>
                  <a:pt x="1763" y="589"/>
                </a:cubicBezTo>
                <a:cubicBezTo>
                  <a:pt x="1762" y="594"/>
                  <a:pt x="1762" y="600"/>
                  <a:pt x="1763" y="607"/>
                </a:cubicBezTo>
                <a:lnTo>
                  <a:pt x="1808" y="652"/>
                </a:lnTo>
                <a:cubicBezTo>
                  <a:pt x="1808" y="653"/>
                  <a:pt x="1809" y="653"/>
                  <a:pt x="1809" y="654"/>
                </a:cubicBezTo>
                <a:cubicBezTo>
                  <a:pt x="1809" y="654"/>
                  <a:pt x="1809" y="655"/>
                  <a:pt x="1808" y="655"/>
                </a:cubicBezTo>
                <a:cubicBezTo>
                  <a:pt x="1808" y="656"/>
                  <a:pt x="1808" y="657"/>
                  <a:pt x="1807" y="657"/>
                </a:cubicBezTo>
                <a:cubicBezTo>
                  <a:pt x="1806" y="658"/>
                  <a:pt x="1805" y="659"/>
                  <a:pt x="1804" y="660"/>
                </a:cubicBezTo>
                <a:cubicBezTo>
                  <a:pt x="1803" y="662"/>
                  <a:pt x="1802" y="663"/>
                  <a:pt x="1801" y="663"/>
                </a:cubicBezTo>
                <a:cubicBezTo>
                  <a:pt x="1800" y="664"/>
                  <a:pt x="1800" y="664"/>
                  <a:pt x="1799" y="665"/>
                </a:cubicBezTo>
                <a:cubicBezTo>
                  <a:pt x="1798" y="665"/>
                  <a:pt x="1798" y="665"/>
                  <a:pt x="1797" y="665"/>
                </a:cubicBezTo>
                <a:cubicBezTo>
                  <a:pt x="1797" y="665"/>
                  <a:pt x="1797" y="665"/>
                  <a:pt x="1796" y="664"/>
                </a:cubicBezTo>
                <a:lnTo>
                  <a:pt x="1732" y="600"/>
                </a:lnTo>
                <a:cubicBezTo>
                  <a:pt x="1731" y="599"/>
                  <a:pt x="1731" y="599"/>
                  <a:pt x="1731" y="598"/>
                </a:cubicBezTo>
                <a:cubicBezTo>
                  <a:pt x="1731" y="598"/>
                  <a:pt x="1731" y="597"/>
                  <a:pt x="1731" y="597"/>
                </a:cubicBezTo>
                <a:cubicBezTo>
                  <a:pt x="1731" y="596"/>
                  <a:pt x="1732" y="595"/>
                  <a:pt x="1732" y="595"/>
                </a:cubicBezTo>
                <a:cubicBezTo>
                  <a:pt x="1733" y="594"/>
                  <a:pt x="1734" y="593"/>
                  <a:pt x="1735" y="592"/>
                </a:cubicBezTo>
                <a:cubicBezTo>
                  <a:pt x="1736" y="591"/>
                  <a:pt x="1737" y="590"/>
                  <a:pt x="1737" y="589"/>
                </a:cubicBezTo>
                <a:cubicBezTo>
                  <a:pt x="1738" y="589"/>
                  <a:pt x="1739" y="588"/>
                  <a:pt x="1739" y="588"/>
                </a:cubicBezTo>
                <a:cubicBezTo>
                  <a:pt x="1740" y="588"/>
                  <a:pt x="1741" y="588"/>
                  <a:pt x="1741" y="588"/>
                </a:cubicBezTo>
                <a:cubicBezTo>
                  <a:pt x="1741" y="588"/>
                  <a:pt x="1742" y="588"/>
                  <a:pt x="1742" y="589"/>
                </a:cubicBezTo>
                <a:lnTo>
                  <a:pt x="1751" y="597"/>
                </a:lnTo>
                <a:cubicBezTo>
                  <a:pt x="1750" y="590"/>
                  <a:pt x="1751" y="583"/>
                  <a:pt x="1753" y="578"/>
                </a:cubicBezTo>
                <a:cubicBezTo>
                  <a:pt x="1754" y="572"/>
                  <a:pt x="1757" y="567"/>
                  <a:pt x="1761" y="564"/>
                </a:cubicBezTo>
                <a:cubicBezTo>
                  <a:pt x="1765" y="559"/>
                  <a:pt x="1769" y="557"/>
                  <a:pt x="1774" y="555"/>
                </a:cubicBezTo>
                <a:cubicBezTo>
                  <a:pt x="1778" y="554"/>
                  <a:pt x="1783" y="553"/>
                  <a:pt x="1787" y="554"/>
                </a:cubicBezTo>
                <a:cubicBezTo>
                  <a:pt x="1791" y="554"/>
                  <a:pt x="1795" y="556"/>
                  <a:pt x="1799" y="558"/>
                </a:cubicBezTo>
                <a:cubicBezTo>
                  <a:pt x="1803" y="561"/>
                  <a:pt x="1808" y="564"/>
                  <a:pt x="1812" y="569"/>
                </a:cubicBezTo>
                <a:lnTo>
                  <a:pt x="1852" y="608"/>
                </a:lnTo>
                <a:close/>
                <a:moveTo>
                  <a:pt x="1924" y="536"/>
                </a:moveTo>
                <a:cubicBezTo>
                  <a:pt x="1925" y="537"/>
                  <a:pt x="1925" y="538"/>
                  <a:pt x="1925" y="538"/>
                </a:cubicBezTo>
                <a:cubicBezTo>
                  <a:pt x="1925" y="539"/>
                  <a:pt x="1924" y="540"/>
                  <a:pt x="1924" y="540"/>
                </a:cubicBezTo>
                <a:cubicBezTo>
                  <a:pt x="1923" y="541"/>
                  <a:pt x="1922" y="542"/>
                  <a:pt x="1921" y="544"/>
                </a:cubicBezTo>
                <a:cubicBezTo>
                  <a:pt x="1920" y="545"/>
                  <a:pt x="1919" y="546"/>
                  <a:pt x="1918" y="546"/>
                </a:cubicBezTo>
                <a:cubicBezTo>
                  <a:pt x="1917" y="547"/>
                  <a:pt x="1916" y="547"/>
                  <a:pt x="1916" y="547"/>
                </a:cubicBezTo>
                <a:cubicBezTo>
                  <a:pt x="1915" y="547"/>
                  <a:pt x="1914" y="547"/>
                  <a:pt x="1914" y="547"/>
                </a:cubicBezTo>
                <a:lnTo>
                  <a:pt x="1907" y="540"/>
                </a:lnTo>
                <a:cubicBezTo>
                  <a:pt x="1908" y="546"/>
                  <a:pt x="1907" y="551"/>
                  <a:pt x="1905" y="557"/>
                </a:cubicBezTo>
                <a:cubicBezTo>
                  <a:pt x="1903" y="562"/>
                  <a:pt x="1900" y="566"/>
                  <a:pt x="1897" y="570"/>
                </a:cubicBezTo>
                <a:cubicBezTo>
                  <a:pt x="1893" y="573"/>
                  <a:pt x="1890" y="576"/>
                  <a:pt x="1886" y="578"/>
                </a:cubicBezTo>
                <a:cubicBezTo>
                  <a:pt x="1882" y="580"/>
                  <a:pt x="1879" y="581"/>
                  <a:pt x="1875" y="581"/>
                </a:cubicBezTo>
                <a:cubicBezTo>
                  <a:pt x="1871" y="581"/>
                  <a:pt x="1868" y="581"/>
                  <a:pt x="1864" y="580"/>
                </a:cubicBezTo>
                <a:cubicBezTo>
                  <a:pt x="1861" y="578"/>
                  <a:pt x="1858" y="576"/>
                  <a:pt x="1854" y="573"/>
                </a:cubicBezTo>
                <a:cubicBezTo>
                  <a:pt x="1851" y="569"/>
                  <a:pt x="1848" y="565"/>
                  <a:pt x="1847" y="561"/>
                </a:cubicBezTo>
                <a:cubicBezTo>
                  <a:pt x="1846" y="557"/>
                  <a:pt x="1846" y="553"/>
                  <a:pt x="1847" y="548"/>
                </a:cubicBezTo>
                <a:cubicBezTo>
                  <a:pt x="1848" y="543"/>
                  <a:pt x="1850" y="539"/>
                  <a:pt x="1853" y="534"/>
                </a:cubicBezTo>
                <a:cubicBezTo>
                  <a:pt x="1856" y="529"/>
                  <a:pt x="1860" y="524"/>
                  <a:pt x="1865" y="519"/>
                </a:cubicBezTo>
                <a:lnTo>
                  <a:pt x="1874" y="510"/>
                </a:lnTo>
                <a:lnTo>
                  <a:pt x="1869" y="505"/>
                </a:lnTo>
                <a:cubicBezTo>
                  <a:pt x="1867" y="503"/>
                  <a:pt x="1864" y="501"/>
                  <a:pt x="1862" y="499"/>
                </a:cubicBezTo>
                <a:cubicBezTo>
                  <a:pt x="1859" y="498"/>
                  <a:pt x="1857" y="497"/>
                  <a:pt x="1855" y="497"/>
                </a:cubicBezTo>
                <a:cubicBezTo>
                  <a:pt x="1852" y="497"/>
                  <a:pt x="1850" y="497"/>
                  <a:pt x="1847" y="499"/>
                </a:cubicBezTo>
                <a:cubicBezTo>
                  <a:pt x="1845" y="500"/>
                  <a:pt x="1842" y="502"/>
                  <a:pt x="1839" y="505"/>
                </a:cubicBezTo>
                <a:cubicBezTo>
                  <a:pt x="1836" y="508"/>
                  <a:pt x="1834" y="510"/>
                  <a:pt x="1832" y="513"/>
                </a:cubicBezTo>
                <a:cubicBezTo>
                  <a:pt x="1831" y="517"/>
                  <a:pt x="1829" y="519"/>
                  <a:pt x="1829" y="522"/>
                </a:cubicBezTo>
                <a:cubicBezTo>
                  <a:pt x="1828" y="524"/>
                  <a:pt x="1827" y="527"/>
                  <a:pt x="1826" y="529"/>
                </a:cubicBezTo>
                <a:cubicBezTo>
                  <a:pt x="1826" y="530"/>
                  <a:pt x="1825" y="532"/>
                  <a:pt x="1825" y="532"/>
                </a:cubicBezTo>
                <a:cubicBezTo>
                  <a:pt x="1825" y="533"/>
                  <a:pt x="1824" y="533"/>
                  <a:pt x="1824" y="533"/>
                </a:cubicBezTo>
                <a:cubicBezTo>
                  <a:pt x="1823" y="533"/>
                  <a:pt x="1823" y="533"/>
                  <a:pt x="1822" y="533"/>
                </a:cubicBezTo>
                <a:cubicBezTo>
                  <a:pt x="1821" y="533"/>
                  <a:pt x="1821" y="532"/>
                  <a:pt x="1820" y="532"/>
                </a:cubicBezTo>
                <a:cubicBezTo>
                  <a:pt x="1819" y="531"/>
                  <a:pt x="1819" y="531"/>
                  <a:pt x="1818" y="530"/>
                </a:cubicBezTo>
                <a:cubicBezTo>
                  <a:pt x="1817" y="529"/>
                  <a:pt x="1816" y="528"/>
                  <a:pt x="1815" y="527"/>
                </a:cubicBezTo>
                <a:cubicBezTo>
                  <a:pt x="1815" y="526"/>
                  <a:pt x="1815" y="525"/>
                  <a:pt x="1815" y="524"/>
                </a:cubicBezTo>
                <a:cubicBezTo>
                  <a:pt x="1815" y="522"/>
                  <a:pt x="1815" y="521"/>
                  <a:pt x="1816" y="518"/>
                </a:cubicBezTo>
                <a:cubicBezTo>
                  <a:pt x="1817" y="516"/>
                  <a:pt x="1818" y="513"/>
                  <a:pt x="1819" y="510"/>
                </a:cubicBezTo>
                <a:cubicBezTo>
                  <a:pt x="1820" y="508"/>
                  <a:pt x="1822" y="505"/>
                  <a:pt x="1824" y="502"/>
                </a:cubicBezTo>
                <a:cubicBezTo>
                  <a:pt x="1826" y="499"/>
                  <a:pt x="1828" y="496"/>
                  <a:pt x="1831" y="494"/>
                </a:cubicBezTo>
                <a:cubicBezTo>
                  <a:pt x="1835" y="489"/>
                  <a:pt x="1840" y="486"/>
                  <a:pt x="1844" y="484"/>
                </a:cubicBezTo>
                <a:cubicBezTo>
                  <a:pt x="1848" y="481"/>
                  <a:pt x="1853" y="480"/>
                  <a:pt x="1857" y="480"/>
                </a:cubicBezTo>
                <a:cubicBezTo>
                  <a:pt x="1861" y="480"/>
                  <a:pt x="1865" y="481"/>
                  <a:pt x="1869" y="484"/>
                </a:cubicBezTo>
                <a:cubicBezTo>
                  <a:pt x="1873" y="486"/>
                  <a:pt x="1876" y="489"/>
                  <a:pt x="1881" y="493"/>
                </a:cubicBezTo>
                <a:lnTo>
                  <a:pt x="1924" y="536"/>
                </a:lnTo>
                <a:close/>
                <a:moveTo>
                  <a:pt x="1883" y="519"/>
                </a:moveTo>
                <a:lnTo>
                  <a:pt x="1873" y="529"/>
                </a:lnTo>
                <a:cubicBezTo>
                  <a:pt x="1869" y="532"/>
                  <a:pt x="1867" y="535"/>
                  <a:pt x="1865" y="538"/>
                </a:cubicBezTo>
                <a:cubicBezTo>
                  <a:pt x="1863" y="541"/>
                  <a:pt x="1862" y="544"/>
                  <a:pt x="1862" y="546"/>
                </a:cubicBezTo>
                <a:cubicBezTo>
                  <a:pt x="1861" y="549"/>
                  <a:pt x="1861" y="552"/>
                  <a:pt x="1862" y="554"/>
                </a:cubicBezTo>
                <a:cubicBezTo>
                  <a:pt x="1863" y="556"/>
                  <a:pt x="1864" y="558"/>
                  <a:pt x="1866" y="560"/>
                </a:cubicBezTo>
                <a:cubicBezTo>
                  <a:pt x="1869" y="563"/>
                  <a:pt x="1873" y="565"/>
                  <a:pt x="1877" y="565"/>
                </a:cubicBezTo>
                <a:cubicBezTo>
                  <a:pt x="1881" y="565"/>
                  <a:pt x="1885" y="563"/>
                  <a:pt x="1889" y="559"/>
                </a:cubicBezTo>
                <a:cubicBezTo>
                  <a:pt x="1892" y="556"/>
                  <a:pt x="1894" y="552"/>
                  <a:pt x="1895" y="548"/>
                </a:cubicBezTo>
                <a:cubicBezTo>
                  <a:pt x="1896" y="544"/>
                  <a:pt x="1897" y="538"/>
                  <a:pt x="1897" y="532"/>
                </a:cubicBezTo>
                <a:lnTo>
                  <a:pt x="1883" y="519"/>
                </a:lnTo>
                <a:close/>
                <a:moveTo>
                  <a:pt x="1936" y="401"/>
                </a:moveTo>
                <a:cubicBezTo>
                  <a:pt x="1937" y="403"/>
                  <a:pt x="1938" y="404"/>
                  <a:pt x="1938" y="406"/>
                </a:cubicBezTo>
                <a:cubicBezTo>
                  <a:pt x="1939" y="407"/>
                  <a:pt x="1939" y="408"/>
                  <a:pt x="1938" y="409"/>
                </a:cubicBezTo>
                <a:lnTo>
                  <a:pt x="1929" y="418"/>
                </a:lnTo>
                <a:cubicBezTo>
                  <a:pt x="1932" y="418"/>
                  <a:pt x="1935" y="419"/>
                  <a:pt x="1938" y="420"/>
                </a:cubicBezTo>
                <a:cubicBezTo>
                  <a:pt x="1941" y="421"/>
                  <a:pt x="1943" y="423"/>
                  <a:pt x="1945" y="426"/>
                </a:cubicBezTo>
                <a:cubicBezTo>
                  <a:pt x="1949" y="429"/>
                  <a:pt x="1952" y="433"/>
                  <a:pt x="1953" y="437"/>
                </a:cubicBezTo>
                <a:cubicBezTo>
                  <a:pt x="1955" y="441"/>
                  <a:pt x="1956" y="445"/>
                  <a:pt x="1956" y="450"/>
                </a:cubicBezTo>
                <a:cubicBezTo>
                  <a:pt x="1955" y="454"/>
                  <a:pt x="1954" y="458"/>
                  <a:pt x="1952" y="462"/>
                </a:cubicBezTo>
                <a:cubicBezTo>
                  <a:pt x="1950" y="466"/>
                  <a:pt x="1947" y="470"/>
                  <a:pt x="1944" y="474"/>
                </a:cubicBezTo>
                <a:cubicBezTo>
                  <a:pt x="1941" y="477"/>
                  <a:pt x="1938" y="479"/>
                  <a:pt x="1935" y="480"/>
                </a:cubicBezTo>
                <a:cubicBezTo>
                  <a:pt x="1932" y="482"/>
                  <a:pt x="1929" y="483"/>
                  <a:pt x="1927" y="483"/>
                </a:cubicBezTo>
                <a:cubicBezTo>
                  <a:pt x="1927" y="485"/>
                  <a:pt x="1927" y="487"/>
                  <a:pt x="1928" y="488"/>
                </a:cubicBezTo>
                <a:cubicBezTo>
                  <a:pt x="1928" y="490"/>
                  <a:pt x="1929" y="492"/>
                  <a:pt x="1931" y="493"/>
                </a:cubicBezTo>
                <a:cubicBezTo>
                  <a:pt x="1932" y="495"/>
                  <a:pt x="1935" y="495"/>
                  <a:pt x="1937" y="495"/>
                </a:cubicBezTo>
                <a:cubicBezTo>
                  <a:pt x="1940" y="494"/>
                  <a:pt x="1943" y="493"/>
                  <a:pt x="1945" y="490"/>
                </a:cubicBezTo>
                <a:lnTo>
                  <a:pt x="1963" y="474"/>
                </a:lnTo>
                <a:cubicBezTo>
                  <a:pt x="1966" y="471"/>
                  <a:pt x="1970" y="469"/>
                  <a:pt x="1973" y="467"/>
                </a:cubicBezTo>
                <a:cubicBezTo>
                  <a:pt x="1976" y="465"/>
                  <a:pt x="1980" y="464"/>
                  <a:pt x="1983" y="463"/>
                </a:cubicBezTo>
                <a:cubicBezTo>
                  <a:pt x="1987" y="463"/>
                  <a:pt x="1990" y="463"/>
                  <a:pt x="1993" y="464"/>
                </a:cubicBezTo>
                <a:cubicBezTo>
                  <a:pt x="1997" y="465"/>
                  <a:pt x="2000" y="467"/>
                  <a:pt x="2002" y="470"/>
                </a:cubicBezTo>
                <a:cubicBezTo>
                  <a:pt x="2005" y="473"/>
                  <a:pt x="2008" y="476"/>
                  <a:pt x="2009" y="480"/>
                </a:cubicBezTo>
                <a:cubicBezTo>
                  <a:pt x="2010" y="484"/>
                  <a:pt x="2011" y="488"/>
                  <a:pt x="2010" y="493"/>
                </a:cubicBezTo>
                <a:cubicBezTo>
                  <a:pt x="2010" y="497"/>
                  <a:pt x="2008" y="502"/>
                  <a:pt x="2005" y="507"/>
                </a:cubicBezTo>
                <a:cubicBezTo>
                  <a:pt x="2003" y="513"/>
                  <a:pt x="1998" y="518"/>
                  <a:pt x="1993" y="523"/>
                </a:cubicBezTo>
                <a:cubicBezTo>
                  <a:pt x="1988" y="528"/>
                  <a:pt x="1983" y="532"/>
                  <a:pt x="1978" y="535"/>
                </a:cubicBezTo>
                <a:cubicBezTo>
                  <a:pt x="1974" y="538"/>
                  <a:pt x="1970" y="540"/>
                  <a:pt x="1966" y="541"/>
                </a:cubicBezTo>
                <a:cubicBezTo>
                  <a:pt x="1962" y="541"/>
                  <a:pt x="1958" y="541"/>
                  <a:pt x="1955" y="540"/>
                </a:cubicBezTo>
                <a:cubicBezTo>
                  <a:pt x="1952" y="539"/>
                  <a:pt x="1949" y="537"/>
                  <a:pt x="1947" y="535"/>
                </a:cubicBezTo>
                <a:cubicBezTo>
                  <a:pt x="1945" y="533"/>
                  <a:pt x="1944" y="532"/>
                  <a:pt x="1943" y="530"/>
                </a:cubicBezTo>
                <a:cubicBezTo>
                  <a:pt x="1942" y="528"/>
                  <a:pt x="1941" y="526"/>
                  <a:pt x="1940" y="524"/>
                </a:cubicBezTo>
                <a:cubicBezTo>
                  <a:pt x="1940" y="522"/>
                  <a:pt x="1939" y="519"/>
                  <a:pt x="1939" y="517"/>
                </a:cubicBezTo>
                <a:cubicBezTo>
                  <a:pt x="1939" y="515"/>
                  <a:pt x="1939" y="512"/>
                  <a:pt x="1940" y="509"/>
                </a:cubicBezTo>
                <a:cubicBezTo>
                  <a:pt x="1936" y="510"/>
                  <a:pt x="1933" y="511"/>
                  <a:pt x="1930" y="510"/>
                </a:cubicBezTo>
                <a:cubicBezTo>
                  <a:pt x="1927" y="509"/>
                  <a:pt x="1924" y="508"/>
                  <a:pt x="1922" y="506"/>
                </a:cubicBezTo>
                <a:cubicBezTo>
                  <a:pt x="1919" y="503"/>
                  <a:pt x="1917" y="500"/>
                  <a:pt x="1916" y="496"/>
                </a:cubicBezTo>
                <a:cubicBezTo>
                  <a:pt x="1915" y="493"/>
                  <a:pt x="1915" y="489"/>
                  <a:pt x="1915" y="485"/>
                </a:cubicBezTo>
                <a:cubicBezTo>
                  <a:pt x="1911" y="485"/>
                  <a:pt x="1908" y="484"/>
                  <a:pt x="1905" y="483"/>
                </a:cubicBezTo>
                <a:cubicBezTo>
                  <a:pt x="1902" y="482"/>
                  <a:pt x="1899" y="479"/>
                  <a:pt x="1896" y="476"/>
                </a:cubicBezTo>
                <a:cubicBezTo>
                  <a:pt x="1892" y="473"/>
                  <a:pt x="1889" y="469"/>
                  <a:pt x="1888" y="464"/>
                </a:cubicBezTo>
                <a:cubicBezTo>
                  <a:pt x="1886" y="460"/>
                  <a:pt x="1885" y="456"/>
                  <a:pt x="1885" y="452"/>
                </a:cubicBezTo>
                <a:cubicBezTo>
                  <a:pt x="1886" y="448"/>
                  <a:pt x="1887" y="443"/>
                  <a:pt x="1889" y="439"/>
                </a:cubicBezTo>
                <a:cubicBezTo>
                  <a:pt x="1891" y="435"/>
                  <a:pt x="1894" y="431"/>
                  <a:pt x="1897" y="428"/>
                </a:cubicBezTo>
                <a:cubicBezTo>
                  <a:pt x="1899" y="426"/>
                  <a:pt x="1901" y="424"/>
                  <a:pt x="1903" y="422"/>
                </a:cubicBezTo>
                <a:cubicBezTo>
                  <a:pt x="1905" y="421"/>
                  <a:pt x="1907" y="420"/>
                  <a:pt x="1909" y="419"/>
                </a:cubicBezTo>
                <a:lnTo>
                  <a:pt x="1928" y="399"/>
                </a:lnTo>
                <a:cubicBezTo>
                  <a:pt x="1929" y="398"/>
                  <a:pt x="1930" y="398"/>
                  <a:pt x="1931" y="398"/>
                </a:cubicBezTo>
                <a:cubicBezTo>
                  <a:pt x="1932" y="399"/>
                  <a:pt x="1934" y="400"/>
                  <a:pt x="1936" y="401"/>
                </a:cubicBezTo>
                <a:close/>
                <a:moveTo>
                  <a:pt x="1934" y="437"/>
                </a:moveTo>
                <a:cubicBezTo>
                  <a:pt x="1930" y="433"/>
                  <a:pt x="1925" y="430"/>
                  <a:pt x="1920" y="430"/>
                </a:cubicBezTo>
                <a:cubicBezTo>
                  <a:pt x="1915" y="430"/>
                  <a:pt x="1911" y="432"/>
                  <a:pt x="1906" y="437"/>
                </a:cubicBezTo>
                <a:cubicBezTo>
                  <a:pt x="1904" y="439"/>
                  <a:pt x="1902" y="442"/>
                  <a:pt x="1901" y="444"/>
                </a:cubicBezTo>
                <a:cubicBezTo>
                  <a:pt x="1900" y="446"/>
                  <a:pt x="1900" y="449"/>
                  <a:pt x="1900" y="451"/>
                </a:cubicBezTo>
                <a:cubicBezTo>
                  <a:pt x="1900" y="454"/>
                  <a:pt x="1901" y="456"/>
                  <a:pt x="1902" y="459"/>
                </a:cubicBezTo>
                <a:cubicBezTo>
                  <a:pt x="1903" y="461"/>
                  <a:pt x="1905" y="463"/>
                  <a:pt x="1907" y="465"/>
                </a:cubicBezTo>
                <a:cubicBezTo>
                  <a:pt x="1911" y="469"/>
                  <a:pt x="1916" y="471"/>
                  <a:pt x="1921" y="471"/>
                </a:cubicBezTo>
                <a:cubicBezTo>
                  <a:pt x="1925" y="471"/>
                  <a:pt x="1930" y="469"/>
                  <a:pt x="1934" y="465"/>
                </a:cubicBezTo>
                <a:cubicBezTo>
                  <a:pt x="1937" y="462"/>
                  <a:pt x="1938" y="460"/>
                  <a:pt x="1939" y="458"/>
                </a:cubicBezTo>
                <a:cubicBezTo>
                  <a:pt x="1940" y="455"/>
                  <a:pt x="1941" y="453"/>
                  <a:pt x="1941" y="450"/>
                </a:cubicBezTo>
                <a:cubicBezTo>
                  <a:pt x="1940" y="448"/>
                  <a:pt x="1940" y="445"/>
                  <a:pt x="1939" y="443"/>
                </a:cubicBezTo>
                <a:cubicBezTo>
                  <a:pt x="1937" y="441"/>
                  <a:pt x="1936" y="439"/>
                  <a:pt x="1934" y="437"/>
                </a:cubicBezTo>
                <a:close/>
                <a:moveTo>
                  <a:pt x="1991" y="482"/>
                </a:moveTo>
                <a:cubicBezTo>
                  <a:pt x="1988" y="479"/>
                  <a:pt x="1985" y="478"/>
                  <a:pt x="1981" y="479"/>
                </a:cubicBezTo>
                <a:cubicBezTo>
                  <a:pt x="1978" y="480"/>
                  <a:pt x="1974" y="482"/>
                  <a:pt x="1970" y="486"/>
                </a:cubicBezTo>
                <a:lnTo>
                  <a:pt x="1952" y="502"/>
                </a:lnTo>
                <a:cubicBezTo>
                  <a:pt x="1952" y="505"/>
                  <a:pt x="1952" y="507"/>
                  <a:pt x="1952" y="509"/>
                </a:cubicBezTo>
                <a:cubicBezTo>
                  <a:pt x="1952" y="511"/>
                  <a:pt x="1952" y="513"/>
                  <a:pt x="1953" y="515"/>
                </a:cubicBezTo>
                <a:cubicBezTo>
                  <a:pt x="1953" y="516"/>
                  <a:pt x="1954" y="518"/>
                  <a:pt x="1955" y="519"/>
                </a:cubicBezTo>
                <a:cubicBezTo>
                  <a:pt x="1955" y="520"/>
                  <a:pt x="1956" y="521"/>
                  <a:pt x="1957" y="522"/>
                </a:cubicBezTo>
                <a:cubicBezTo>
                  <a:pt x="1960" y="525"/>
                  <a:pt x="1964" y="526"/>
                  <a:pt x="1969" y="524"/>
                </a:cubicBezTo>
                <a:cubicBezTo>
                  <a:pt x="1974" y="523"/>
                  <a:pt x="1979" y="519"/>
                  <a:pt x="1985" y="514"/>
                </a:cubicBezTo>
                <a:cubicBezTo>
                  <a:pt x="1988" y="510"/>
                  <a:pt x="1991" y="507"/>
                  <a:pt x="1993" y="504"/>
                </a:cubicBezTo>
                <a:cubicBezTo>
                  <a:pt x="1994" y="500"/>
                  <a:pt x="1995" y="498"/>
                  <a:pt x="1996" y="495"/>
                </a:cubicBezTo>
                <a:cubicBezTo>
                  <a:pt x="1996" y="492"/>
                  <a:pt x="1996" y="490"/>
                  <a:pt x="1995" y="488"/>
                </a:cubicBezTo>
                <a:cubicBezTo>
                  <a:pt x="1994" y="486"/>
                  <a:pt x="1993" y="484"/>
                  <a:pt x="1991" y="482"/>
                </a:cubicBezTo>
                <a:close/>
                <a:moveTo>
                  <a:pt x="2031" y="359"/>
                </a:moveTo>
                <a:cubicBezTo>
                  <a:pt x="2033" y="361"/>
                  <a:pt x="2034" y="363"/>
                  <a:pt x="2034" y="364"/>
                </a:cubicBezTo>
                <a:cubicBezTo>
                  <a:pt x="2034" y="366"/>
                  <a:pt x="2033" y="368"/>
                  <a:pt x="2032" y="369"/>
                </a:cubicBezTo>
                <a:lnTo>
                  <a:pt x="1989" y="411"/>
                </a:lnTo>
                <a:cubicBezTo>
                  <a:pt x="1993" y="415"/>
                  <a:pt x="1996" y="418"/>
                  <a:pt x="2000" y="420"/>
                </a:cubicBezTo>
                <a:cubicBezTo>
                  <a:pt x="2003" y="422"/>
                  <a:pt x="2007" y="423"/>
                  <a:pt x="2011" y="424"/>
                </a:cubicBezTo>
                <a:cubicBezTo>
                  <a:pt x="2015" y="424"/>
                  <a:pt x="2018" y="423"/>
                  <a:pt x="2022" y="422"/>
                </a:cubicBezTo>
                <a:cubicBezTo>
                  <a:pt x="2026" y="420"/>
                  <a:pt x="2030" y="418"/>
                  <a:pt x="2034" y="414"/>
                </a:cubicBezTo>
                <a:cubicBezTo>
                  <a:pt x="2037" y="411"/>
                  <a:pt x="2039" y="408"/>
                  <a:pt x="2041" y="405"/>
                </a:cubicBezTo>
                <a:cubicBezTo>
                  <a:pt x="2043" y="402"/>
                  <a:pt x="2045" y="399"/>
                  <a:pt x="2046" y="397"/>
                </a:cubicBezTo>
                <a:cubicBezTo>
                  <a:pt x="2047" y="394"/>
                  <a:pt x="2048" y="392"/>
                  <a:pt x="2048" y="391"/>
                </a:cubicBezTo>
                <a:cubicBezTo>
                  <a:pt x="2049" y="389"/>
                  <a:pt x="2050" y="388"/>
                  <a:pt x="2050" y="387"/>
                </a:cubicBezTo>
                <a:cubicBezTo>
                  <a:pt x="2051" y="387"/>
                  <a:pt x="2051" y="387"/>
                  <a:pt x="2051" y="387"/>
                </a:cubicBezTo>
                <a:cubicBezTo>
                  <a:pt x="2052" y="387"/>
                  <a:pt x="2052" y="387"/>
                  <a:pt x="2053" y="387"/>
                </a:cubicBezTo>
                <a:cubicBezTo>
                  <a:pt x="2053" y="387"/>
                  <a:pt x="2054" y="387"/>
                  <a:pt x="2054" y="388"/>
                </a:cubicBezTo>
                <a:cubicBezTo>
                  <a:pt x="2055" y="388"/>
                  <a:pt x="2056" y="389"/>
                  <a:pt x="2057" y="390"/>
                </a:cubicBezTo>
                <a:cubicBezTo>
                  <a:pt x="2057" y="391"/>
                  <a:pt x="2058" y="391"/>
                  <a:pt x="2058" y="392"/>
                </a:cubicBezTo>
                <a:cubicBezTo>
                  <a:pt x="2059" y="392"/>
                  <a:pt x="2059" y="393"/>
                  <a:pt x="2059" y="393"/>
                </a:cubicBezTo>
                <a:cubicBezTo>
                  <a:pt x="2060" y="394"/>
                  <a:pt x="2060" y="394"/>
                  <a:pt x="2060" y="394"/>
                </a:cubicBezTo>
                <a:cubicBezTo>
                  <a:pt x="2060" y="395"/>
                  <a:pt x="2060" y="395"/>
                  <a:pt x="2060" y="396"/>
                </a:cubicBezTo>
                <a:cubicBezTo>
                  <a:pt x="2060" y="396"/>
                  <a:pt x="2060" y="398"/>
                  <a:pt x="2059" y="400"/>
                </a:cubicBezTo>
                <a:cubicBezTo>
                  <a:pt x="2058" y="401"/>
                  <a:pt x="2057" y="404"/>
                  <a:pt x="2056" y="406"/>
                </a:cubicBezTo>
                <a:cubicBezTo>
                  <a:pt x="2054" y="409"/>
                  <a:pt x="2052" y="412"/>
                  <a:pt x="2050" y="415"/>
                </a:cubicBezTo>
                <a:cubicBezTo>
                  <a:pt x="2048" y="418"/>
                  <a:pt x="2045" y="421"/>
                  <a:pt x="2042" y="424"/>
                </a:cubicBezTo>
                <a:cubicBezTo>
                  <a:pt x="2037" y="430"/>
                  <a:pt x="2032" y="434"/>
                  <a:pt x="2026" y="436"/>
                </a:cubicBezTo>
                <a:cubicBezTo>
                  <a:pt x="2021" y="439"/>
                  <a:pt x="2015" y="440"/>
                  <a:pt x="2009" y="440"/>
                </a:cubicBezTo>
                <a:cubicBezTo>
                  <a:pt x="2004" y="439"/>
                  <a:pt x="1998" y="438"/>
                  <a:pt x="1992" y="435"/>
                </a:cubicBezTo>
                <a:cubicBezTo>
                  <a:pt x="1986" y="432"/>
                  <a:pt x="1981" y="427"/>
                  <a:pt x="1975" y="421"/>
                </a:cubicBezTo>
                <a:cubicBezTo>
                  <a:pt x="1969" y="416"/>
                  <a:pt x="1965" y="410"/>
                  <a:pt x="1962" y="404"/>
                </a:cubicBezTo>
                <a:cubicBezTo>
                  <a:pt x="1959" y="398"/>
                  <a:pt x="1957" y="393"/>
                  <a:pt x="1957" y="387"/>
                </a:cubicBezTo>
                <a:cubicBezTo>
                  <a:pt x="1956" y="381"/>
                  <a:pt x="1957" y="375"/>
                  <a:pt x="1960" y="370"/>
                </a:cubicBezTo>
                <a:cubicBezTo>
                  <a:pt x="1962" y="364"/>
                  <a:pt x="1965" y="359"/>
                  <a:pt x="1970" y="355"/>
                </a:cubicBezTo>
                <a:cubicBezTo>
                  <a:pt x="1975" y="350"/>
                  <a:pt x="1980" y="346"/>
                  <a:pt x="1985" y="344"/>
                </a:cubicBezTo>
                <a:cubicBezTo>
                  <a:pt x="1991" y="342"/>
                  <a:pt x="1996" y="341"/>
                  <a:pt x="2001" y="342"/>
                </a:cubicBezTo>
                <a:cubicBezTo>
                  <a:pt x="2006" y="342"/>
                  <a:pt x="2011" y="344"/>
                  <a:pt x="2015" y="346"/>
                </a:cubicBezTo>
                <a:cubicBezTo>
                  <a:pt x="2020" y="349"/>
                  <a:pt x="2025" y="353"/>
                  <a:pt x="2029" y="357"/>
                </a:cubicBezTo>
                <a:lnTo>
                  <a:pt x="2031" y="359"/>
                </a:lnTo>
                <a:close/>
                <a:moveTo>
                  <a:pt x="2016" y="367"/>
                </a:moveTo>
                <a:cubicBezTo>
                  <a:pt x="2010" y="361"/>
                  <a:pt x="2003" y="357"/>
                  <a:pt x="1997" y="357"/>
                </a:cubicBezTo>
                <a:cubicBezTo>
                  <a:pt x="1990" y="356"/>
                  <a:pt x="1984" y="359"/>
                  <a:pt x="1979" y="364"/>
                </a:cubicBezTo>
                <a:cubicBezTo>
                  <a:pt x="1976" y="367"/>
                  <a:pt x="1974" y="371"/>
                  <a:pt x="1973" y="374"/>
                </a:cubicBezTo>
                <a:cubicBezTo>
                  <a:pt x="1971" y="377"/>
                  <a:pt x="1971" y="380"/>
                  <a:pt x="1971" y="384"/>
                </a:cubicBezTo>
                <a:cubicBezTo>
                  <a:pt x="1972" y="387"/>
                  <a:pt x="1973" y="390"/>
                  <a:pt x="1974" y="394"/>
                </a:cubicBezTo>
                <a:cubicBezTo>
                  <a:pt x="1976" y="397"/>
                  <a:pt x="1978" y="400"/>
                  <a:pt x="1980" y="403"/>
                </a:cubicBezTo>
                <a:lnTo>
                  <a:pt x="2016" y="367"/>
                </a:lnTo>
                <a:close/>
                <a:moveTo>
                  <a:pt x="2186" y="274"/>
                </a:moveTo>
                <a:cubicBezTo>
                  <a:pt x="2187" y="275"/>
                  <a:pt x="2187" y="275"/>
                  <a:pt x="2187" y="275"/>
                </a:cubicBezTo>
                <a:cubicBezTo>
                  <a:pt x="2187" y="276"/>
                  <a:pt x="2187" y="276"/>
                  <a:pt x="2187" y="277"/>
                </a:cubicBezTo>
                <a:cubicBezTo>
                  <a:pt x="2186" y="278"/>
                  <a:pt x="2186" y="278"/>
                  <a:pt x="2185" y="279"/>
                </a:cubicBezTo>
                <a:cubicBezTo>
                  <a:pt x="2185" y="280"/>
                  <a:pt x="2184" y="281"/>
                  <a:pt x="2183" y="282"/>
                </a:cubicBezTo>
                <a:cubicBezTo>
                  <a:pt x="2181" y="283"/>
                  <a:pt x="2180" y="284"/>
                  <a:pt x="2179" y="285"/>
                </a:cubicBezTo>
                <a:cubicBezTo>
                  <a:pt x="2179" y="286"/>
                  <a:pt x="2178" y="286"/>
                  <a:pt x="2177" y="286"/>
                </a:cubicBezTo>
                <a:cubicBezTo>
                  <a:pt x="2177" y="287"/>
                  <a:pt x="2176" y="287"/>
                  <a:pt x="2176" y="287"/>
                </a:cubicBezTo>
                <a:cubicBezTo>
                  <a:pt x="2175" y="287"/>
                  <a:pt x="2175" y="286"/>
                  <a:pt x="2174" y="286"/>
                </a:cubicBezTo>
                <a:lnTo>
                  <a:pt x="2135" y="247"/>
                </a:lnTo>
                <a:cubicBezTo>
                  <a:pt x="2132" y="244"/>
                  <a:pt x="2130" y="242"/>
                  <a:pt x="2127" y="240"/>
                </a:cubicBezTo>
                <a:cubicBezTo>
                  <a:pt x="2124" y="238"/>
                  <a:pt x="2121" y="237"/>
                  <a:pt x="2119" y="236"/>
                </a:cubicBezTo>
                <a:cubicBezTo>
                  <a:pt x="2116" y="236"/>
                  <a:pt x="2113" y="236"/>
                  <a:pt x="2111" y="237"/>
                </a:cubicBezTo>
                <a:cubicBezTo>
                  <a:pt x="2108" y="238"/>
                  <a:pt x="2106" y="239"/>
                  <a:pt x="2104" y="241"/>
                </a:cubicBezTo>
                <a:cubicBezTo>
                  <a:pt x="2101" y="244"/>
                  <a:pt x="2099" y="248"/>
                  <a:pt x="2099" y="253"/>
                </a:cubicBezTo>
                <a:cubicBezTo>
                  <a:pt x="2098" y="257"/>
                  <a:pt x="2098" y="264"/>
                  <a:pt x="2099" y="271"/>
                </a:cubicBezTo>
                <a:lnTo>
                  <a:pt x="2144" y="316"/>
                </a:lnTo>
                <a:cubicBezTo>
                  <a:pt x="2145" y="317"/>
                  <a:pt x="2145" y="317"/>
                  <a:pt x="2145" y="317"/>
                </a:cubicBezTo>
                <a:cubicBezTo>
                  <a:pt x="2145" y="318"/>
                  <a:pt x="2145" y="318"/>
                  <a:pt x="2145" y="319"/>
                </a:cubicBezTo>
                <a:cubicBezTo>
                  <a:pt x="2144" y="320"/>
                  <a:pt x="2144" y="320"/>
                  <a:pt x="2143" y="321"/>
                </a:cubicBezTo>
                <a:cubicBezTo>
                  <a:pt x="2142" y="322"/>
                  <a:pt x="2142" y="323"/>
                  <a:pt x="2140" y="324"/>
                </a:cubicBezTo>
                <a:cubicBezTo>
                  <a:pt x="2139" y="325"/>
                  <a:pt x="2138" y="326"/>
                  <a:pt x="2137" y="327"/>
                </a:cubicBezTo>
                <a:cubicBezTo>
                  <a:pt x="2137" y="328"/>
                  <a:pt x="2136" y="328"/>
                  <a:pt x="2135" y="328"/>
                </a:cubicBezTo>
                <a:cubicBezTo>
                  <a:pt x="2134" y="329"/>
                  <a:pt x="2134" y="329"/>
                  <a:pt x="2134" y="329"/>
                </a:cubicBezTo>
                <a:cubicBezTo>
                  <a:pt x="2133" y="329"/>
                  <a:pt x="2133" y="328"/>
                  <a:pt x="2132" y="328"/>
                </a:cubicBezTo>
                <a:lnTo>
                  <a:pt x="2093" y="289"/>
                </a:lnTo>
                <a:cubicBezTo>
                  <a:pt x="2090" y="286"/>
                  <a:pt x="2088" y="284"/>
                  <a:pt x="2085" y="282"/>
                </a:cubicBezTo>
                <a:cubicBezTo>
                  <a:pt x="2082" y="280"/>
                  <a:pt x="2079" y="279"/>
                  <a:pt x="2077" y="279"/>
                </a:cubicBezTo>
                <a:cubicBezTo>
                  <a:pt x="2074" y="278"/>
                  <a:pt x="2071" y="278"/>
                  <a:pt x="2069" y="279"/>
                </a:cubicBezTo>
                <a:cubicBezTo>
                  <a:pt x="2066" y="280"/>
                  <a:pt x="2064" y="281"/>
                  <a:pt x="2062" y="283"/>
                </a:cubicBezTo>
                <a:cubicBezTo>
                  <a:pt x="2059" y="286"/>
                  <a:pt x="2057" y="290"/>
                  <a:pt x="2057" y="295"/>
                </a:cubicBezTo>
                <a:cubicBezTo>
                  <a:pt x="2056" y="300"/>
                  <a:pt x="2056" y="306"/>
                  <a:pt x="2057" y="313"/>
                </a:cubicBezTo>
                <a:lnTo>
                  <a:pt x="2102" y="358"/>
                </a:lnTo>
                <a:cubicBezTo>
                  <a:pt x="2103" y="359"/>
                  <a:pt x="2103" y="359"/>
                  <a:pt x="2103" y="359"/>
                </a:cubicBezTo>
                <a:cubicBezTo>
                  <a:pt x="2103" y="360"/>
                  <a:pt x="2103" y="360"/>
                  <a:pt x="2103" y="361"/>
                </a:cubicBezTo>
                <a:cubicBezTo>
                  <a:pt x="2102" y="362"/>
                  <a:pt x="2102" y="362"/>
                  <a:pt x="2101" y="363"/>
                </a:cubicBezTo>
                <a:cubicBezTo>
                  <a:pt x="2101" y="364"/>
                  <a:pt x="2100" y="365"/>
                  <a:pt x="2098" y="366"/>
                </a:cubicBezTo>
                <a:cubicBezTo>
                  <a:pt x="2097" y="367"/>
                  <a:pt x="2096" y="368"/>
                  <a:pt x="2095" y="369"/>
                </a:cubicBezTo>
                <a:cubicBezTo>
                  <a:pt x="2095" y="370"/>
                  <a:pt x="2094" y="370"/>
                  <a:pt x="2093" y="370"/>
                </a:cubicBezTo>
                <a:cubicBezTo>
                  <a:pt x="2092" y="371"/>
                  <a:pt x="2092" y="371"/>
                  <a:pt x="2092" y="371"/>
                </a:cubicBezTo>
                <a:cubicBezTo>
                  <a:pt x="2091" y="371"/>
                  <a:pt x="2091" y="370"/>
                  <a:pt x="2090" y="370"/>
                </a:cubicBezTo>
                <a:lnTo>
                  <a:pt x="2026" y="305"/>
                </a:lnTo>
                <a:cubicBezTo>
                  <a:pt x="2025" y="305"/>
                  <a:pt x="2025" y="305"/>
                  <a:pt x="2025" y="304"/>
                </a:cubicBezTo>
                <a:cubicBezTo>
                  <a:pt x="2025" y="304"/>
                  <a:pt x="2025" y="303"/>
                  <a:pt x="2025" y="303"/>
                </a:cubicBezTo>
                <a:cubicBezTo>
                  <a:pt x="2025" y="302"/>
                  <a:pt x="2026" y="301"/>
                  <a:pt x="2026" y="301"/>
                </a:cubicBezTo>
                <a:cubicBezTo>
                  <a:pt x="2027" y="300"/>
                  <a:pt x="2028" y="299"/>
                  <a:pt x="2029" y="298"/>
                </a:cubicBezTo>
                <a:cubicBezTo>
                  <a:pt x="2030" y="297"/>
                  <a:pt x="2031" y="296"/>
                  <a:pt x="2032" y="295"/>
                </a:cubicBezTo>
                <a:cubicBezTo>
                  <a:pt x="2032" y="295"/>
                  <a:pt x="2033" y="294"/>
                  <a:pt x="2034" y="294"/>
                </a:cubicBezTo>
                <a:cubicBezTo>
                  <a:pt x="2034" y="294"/>
                  <a:pt x="2035" y="294"/>
                  <a:pt x="2035" y="294"/>
                </a:cubicBezTo>
                <a:cubicBezTo>
                  <a:pt x="2036" y="294"/>
                  <a:pt x="2036" y="294"/>
                  <a:pt x="2036" y="295"/>
                </a:cubicBezTo>
                <a:lnTo>
                  <a:pt x="2045" y="303"/>
                </a:lnTo>
                <a:cubicBezTo>
                  <a:pt x="2044" y="295"/>
                  <a:pt x="2045" y="289"/>
                  <a:pt x="2047" y="284"/>
                </a:cubicBezTo>
                <a:cubicBezTo>
                  <a:pt x="2048" y="278"/>
                  <a:pt x="2051" y="274"/>
                  <a:pt x="2054" y="270"/>
                </a:cubicBezTo>
                <a:cubicBezTo>
                  <a:pt x="2057" y="268"/>
                  <a:pt x="2059" y="266"/>
                  <a:pt x="2062" y="264"/>
                </a:cubicBezTo>
                <a:cubicBezTo>
                  <a:pt x="2065" y="263"/>
                  <a:pt x="2068" y="262"/>
                  <a:pt x="2071" y="261"/>
                </a:cubicBezTo>
                <a:cubicBezTo>
                  <a:pt x="2073" y="261"/>
                  <a:pt x="2076" y="261"/>
                  <a:pt x="2079" y="261"/>
                </a:cubicBezTo>
                <a:cubicBezTo>
                  <a:pt x="2081" y="261"/>
                  <a:pt x="2084" y="262"/>
                  <a:pt x="2087" y="263"/>
                </a:cubicBezTo>
                <a:cubicBezTo>
                  <a:pt x="2087" y="259"/>
                  <a:pt x="2087" y="255"/>
                  <a:pt x="2087" y="251"/>
                </a:cubicBezTo>
                <a:cubicBezTo>
                  <a:pt x="2087" y="248"/>
                  <a:pt x="2088" y="244"/>
                  <a:pt x="2089" y="242"/>
                </a:cubicBezTo>
                <a:cubicBezTo>
                  <a:pt x="2089" y="239"/>
                  <a:pt x="2090" y="236"/>
                  <a:pt x="2092" y="234"/>
                </a:cubicBezTo>
                <a:cubicBezTo>
                  <a:pt x="2093" y="232"/>
                  <a:pt x="2094" y="230"/>
                  <a:pt x="2096" y="228"/>
                </a:cubicBezTo>
                <a:cubicBezTo>
                  <a:pt x="2100" y="224"/>
                  <a:pt x="2105" y="222"/>
                  <a:pt x="2109" y="220"/>
                </a:cubicBezTo>
                <a:cubicBezTo>
                  <a:pt x="2113" y="219"/>
                  <a:pt x="2117" y="218"/>
                  <a:pt x="2121" y="219"/>
                </a:cubicBezTo>
                <a:cubicBezTo>
                  <a:pt x="2126" y="220"/>
                  <a:pt x="2130" y="221"/>
                  <a:pt x="2134" y="224"/>
                </a:cubicBezTo>
                <a:cubicBezTo>
                  <a:pt x="2138" y="227"/>
                  <a:pt x="2142" y="230"/>
                  <a:pt x="2145" y="233"/>
                </a:cubicBezTo>
                <a:lnTo>
                  <a:pt x="2186" y="274"/>
                </a:lnTo>
                <a:close/>
                <a:moveTo>
                  <a:pt x="2223" y="167"/>
                </a:moveTo>
                <a:cubicBezTo>
                  <a:pt x="2225" y="168"/>
                  <a:pt x="2226" y="170"/>
                  <a:pt x="2226" y="172"/>
                </a:cubicBezTo>
                <a:cubicBezTo>
                  <a:pt x="2226" y="174"/>
                  <a:pt x="2225" y="175"/>
                  <a:pt x="2224" y="176"/>
                </a:cubicBezTo>
                <a:lnTo>
                  <a:pt x="2181" y="219"/>
                </a:lnTo>
                <a:cubicBezTo>
                  <a:pt x="2185" y="223"/>
                  <a:pt x="2189" y="225"/>
                  <a:pt x="2192" y="228"/>
                </a:cubicBezTo>
                <a:cubicBezTo>
                  <a:pt x="2196" y="230"/>
                  <a:pt x="2199" y="231"/>
                  <a:pt x="2203" y="231"/>
                </a:cubicBezTo>
                <a:cubicBezTo>
                  <a:pt x="2207" y="232"/>
                  <a:pt x="2211" y="231"/>
                  <a:pt x="2215" y="230"/>
                </a:cubicBezTo>
                <a:cubicBezTo>
                  <a:pt x="2218" y="228"/>
                  <a:pt x="2222" y="225"/>
                  <a:pt x="2226" y="221"/>
                </a:cubicBezTo>
                <a:cubicBezTo>
                  <a:pt x="2229" y="218"/>
                  <a:pt x="2232" y="215"/>
                  <a:pt x="2234" y="212"/>
                </a:cubicBezTo>
                <a:cubicBezTo>
                  <a:pt x="2235" y="209"/>
                  <a:pt x="2237" y="207"/>
                  <a:pt x="2238" y="204"/>
                </a:cubicBezTo>
                <a:cubicBezTo>
                  <a:pt x="2239" y="202"/>
                  <a:pt x="2240" y="200"/>
                  <a:pt x="2241" y="198"/>
                </a:cubicBezTo>
                <a:cubicBezTo>
                  <a:pt x="2241" y="197"/>
                  <a:pt x="2242" y="196"/>
                  <a:pt x="2243" y="195"/>
                </a:cubicBezTo>
                <a:cubicBezTo>
                  <a:pt x="2243" y="195"/>
                  <a:pt x="2243" y="194"/>
                  <a:pt x="2244" y="194"/>
                </a:cubicBezTo>
                <a:cubicBezTo>
                  <a:pt x="2244" y="194"/>
                  <a:pt x="2245" y="194"/>
                  <a:pt x="2245" y="195"/>
                </a:cubicBezTo>
                <a:cubicBezTo>
                  <a:pt x="2246" y="195"/>
                  <a:pt x="2246" y="195"/>
                  <a:pt x="2247" y="196"/>
                </a:cubicBezTo>
                <a:cubicBezTo>
                  <a:pt x="2247" y="196"/>
                  <a:pt x="2248" y="197"/>
                  <a:pt x="2249" y="198"/>
                </a:cubicBezTo>
                <a:cubicBezTo>
                  <a:pt x="2250" y="198"/>
                  <a:pt x="2250" y="199"/>
                  <a:pt x="2251" y="199"/>
                </a:cubicBezTo>
                <a:cubicBezTo>
                  <a:pt x="2251" y="200"/>
                  <a:pt x="2251" y="200"/>
                  <a:pt x="2252" y="201"/>
                </a:cubicBezTo>
                <a:cubicBezTo>
                  <a:pt x="2252" y="201"/>
                  <a:pt x="2252" y="202"/>
                  <a:pt x="2252" y="202"/>
                </a:cubicBezTo>
                <a:cubicBezTo>
                  <a:pt x="2252" y="203"/>
                  <a:pt x="2252" y="203"/>
                  <a:pt x="2252" y="204"/>
                </a:cubicBezTo>
                <a:cubicBezTo>
                  <a:pt x="2252" y="204"/>
                  <a:pt x="2252" y="205"/>
                  <a:pt x="2251" y="207"/>
                </a:cubicBezTo>
                <a:cubicBezTo>
                  <a:pt x="2251" y="209"/>
                  <a:pt x="2250" y="211"/>
                  <a:pt x="2248" y="214"/>
                </a:cubicBezTo>
                <a:cubicBezTo>
                  <a:pt x="2247" y="217"/>
                  <a:pt x="2245" y="220"/>
                  <a:pt x="2243" y="223"/>
                </a:cubicBezTo>
                <a:cubicBezTo>
                  <a:pt x="2240" y="226"/>
                  <a:pt x="2238" y="229"/>
                  <a:pt x="2235" y="232"/>
                </a:cubicBezTo>
                <a:cubicBezTo>
                  <a:pt x="2229" y="237"/>
                  <a:pt x="2224" y="241"/>
                  <a:pt x="2218" y="244"/>
                </a:cubicBezTo>
                <a:cubicBezTo>
                  <a:pt x="2213" y="246"/>
                  <a:pt x="2207" y="247"/>
                  <a:pt x="2202" y="247"/>
                </a:cubicBezTo>
                <a:cubicBezTo>
                  <a:pt x="2196" y="247"/>
                  <a:pt x="2190" y="245"/>
                  <a:pt x="2185" y="242"/>
                </a:cubicBezTo>
                <a:cubicBezTo>
                  <a:pt x="2179" y="239"/>
                  <a:pt x="2173" y="235"/>
                  <a:pt x="2167" y="229"/>
                </a:cubicBezTo>
                <a:cubicBezTo>
                  <a:pt x="2162" y="224"/>
                  <a:pt x="2157" y="218"/>
                  <a:pt x="2154" y="212"/>
                </a:cubicBezTo>
                <a:cubicBezTo>
                  <a:pt x="2151" y="206"/>
                  <a:pt x="2150" y="200"/>
                  <a:pt x="2149" y="195"/>
                </a:cubicBezTo>
                <a:cubicBezTo>
                  <a:pt x="2149" y="189"/>
                  <a:pt x="2150" y="183"/>
                  <a:pt x="2152" y="178"/>
                </a:cubicBezTo>
                <a:cubicBezTo>
                  <a:pt x="2154" y="172"/>
                  <a:pt x="2158" y="167"/>
                  <a:pt x="2162" y="162"/>
                </a:cubicBezTo>
                <a:cubicBezTo>
                  <a:pt x="2167" y="157"/>
                  <a:pt x="2172" y="154"/>
                  <a:pt x="2178" y="152"/>
                </a:cubicBezTo>
                <a:cubicBezTo>
                  <a:pt x="2183" y="150"/>
                  <a:pt x="2188" y="149"/>
                  <a:pt x="2193" y="150"/>
                </a:cubicBezTo>
                <a:cubicBezTo>
                  <a:pt x="2198" y="150"/>
                  <a:pt x="2203" y="152"/>
                  <a:pt x="2208" y="154"/>
                </a:cubicBezTo>
                <a:cubicBezTo>
                  <a:pt x="2213" y="157"/>
                  <a:pt x="2217" y="160"/>
                  <a:pt x="2221" y="164"/>
                </a:cubicBezTo>
                <a:lnTo>
                  <a:pt x="2223" y="167"/>
                </a:lnTo>
                <a:close/>
                <a:moveTo>
                  <a:pt x="2208" y="175"/>
                </a:moveTo>
                <a:cubicBezTo>
                  <a:pt x="2202" y="169"/>
                  <a:pt x="2196" y="165"/>
                  <a:pt x="2189" y="164"/>
                </a:cubicBezTo>
                <a:cubicBezTo>
                  <a:pt x="2183" y="164"/>
                  <a:pt x="2177" y="166"/>
                  <a:pt x="2171" y="172"/>
                </a:cubicBezTo>
                <a:cubicBezTo>
                  <a:pt x="2168" y="175"/>
                  <a:pt x="2166" y="178"/>
                  <a:pt x="2165" y="182"/>
                </a:cubicBezTo>
                <a:cubicBezTo>
                  <a:pt x="2164" y="185"/>
                  <a:pt x="2163" y="188"/>
                  <a:pt x="2164" y="191"/>
                </a:cubicBezTo>
                <a:cubicBezTo>
                  <a:pt x="2164" y="195"/>
                  <a:pt x="2165" y="198"/>
                  <a:pt x="2167" y="201"/>
                </a:cubicBezTo>
                <a:cubicBezTo>
                  <a:pt x="2168" y="205"/>
                  <a:pt x="2170" y="208"/>
                  <a:pt x="2173" y="210"/>
                </a:cubicBezTo>
                <a:lnTo>
                  <a:pt x="2208" y="175"/>
                </a:lnTo>
                <a:close/>
                <a:moveTo>
                  <a:pt x="2338" y="122"/>
                </a:moveTo>
                <a:cubicBezTo>
                  <a:pt x="2339" y="122"/>
                  <a:pt x="2339" y="123"/>
                  <a:pt x="2339" y="123"/>
                </a:cubicBezTo>
                <a:cubicBezTo>
                  <a:pt x="2339" y="124"/>
                  <a:pt x="2339" y="124"/>
                  <a:pt x="2339" y="125"/>
                </a:cubicBezTo>
                <a:cubicBezTo>
                  <a:pt x="2338" y="125"/>
                  <a:pt x="2338" y="126"/>
                  <a:pt x="2337" y="127"/>
                </a:cubicBezTo>
                <a:cubicBezTo>
                  <a:pt x="2337" y="128"/>
                  <a:pt x="2336" y="129"/>
                  <a:pt x="2335" y="130"/>
                </a:cubicBezTo>
                <a:cubicBezTo>
                  <a:pt x="2333" y="131"/>
                  <a:pt x="2332" y="132"/>
                  <a:pt x="2332" y="133"/>
                </a:cubicBezTo>
                <a:cubicBezTo>
                  <a:pt x="2331" y="134"/>
                  <a:pt x="2330" y="134"/>
                  <a:pt x="2329" y="134"/>
                </a:cubicBezTo>
                <a:cubicBezTo>
                  <a:pt x="2329" y="135"/>
                  <a:pt x="2328" y="135"/>
                  <a:pt x="2328" y="135"/>
                </a:cubicBezTo>
                <a:cubicBezTo>
                  <a:pt x="2327" y="134"/>
                  <a:pt x="2327" y="134"/>
                  <a:pt x="2326" y="134"/>
                </a:cubicBezTo>
                <a:lnTo>
                  <a:pt x="2289" y="96"/>
                </a:lnTo>
                <a:cubicBezTo>
                  <a:pt x="2285" y="92"/>
                  <a:pt x="2282" y="90"/>
                  <a:pt x="2279" y="88"/>
                </a:cubicBezTo>
                <a:cubicBezTo>
                  <a:pt x="2276" y="86"/>
                  <a:pt x="2273" y="85"/>
                  <a:pt x="2270" y="85"/>
                </a:cubicBezTo>
                <a:cubicBezTo>
                  <a:pt x="2268" y="84"/>
                  <a:pt x="2265" y="84"/>
                  <a:pt x="2262" y="85"/>
                </a:cubicBezTo>
                <a:cubicBezTo>
                  <a:pt x="2260" y="86"/>
                  <a:pt x="2257" y="88"/>
                  <a:pt x="2255" y="90"/>
                </a:cubicBezTo>
                <a:cubicBezTo>
                  <a:pt x="2252" y="93"/>
                  <a:pt x="2250" y="97"/>
                  <a:pt x="2249" y="102"/>
                </a:cubicBezTo>
                <a:cubicBezTo>
                  <a:pt x="2249" y="107"/>
                  <a:pt x="2248" y="113"/>
                  <a:pt x="2249" y="121"/>
                </a:cubicBezTo>
                <a:lnTo>
                  <a:pt x="2294" y="166"/>
                </a:lnTo>
                <a:cubicBezTo>
                  <a:pt x="2295" y="166"/>
                  <a:pt x="2295" y="167"/>
                  <a:pt x="2295" y="167"/>
                </a:cubicBezTo>
                <a:cubicBezTo>
                  <a:pt x="2295" y="168"/>
                  <a:pt x="2295" y="168"/>
                  <a:pt x="2295" y="169"/>
                </a:cubicBezTo>
                <a:cubicBezTo>
                  <a:pt x="2295" y="169"/>
                  <a:pt x="2294" y="170"/>
                  <a:pt x="2294" y="171"/>
                </a:cubicBezTo>
                <a:cubicBezTo>
                  <a:pt x="2293" y="172"/>
                  <a:pt x="2292" y="173"/>
                  <a:pt x="2291" y="174"/>
                </a:cubicBezTo>
                <a:cubicBezTo>
                  <a:pt x="2290" y="175"/>
                  <a:pt x="2289" y="176"/>
                  <a:pt x="2288" y="177"/>
                </a:cubicBezTo>
                <a:cubicBezTo>
                  <a:pt x="2287" y="177"/>
                  <a:pt x="2286" y="178"/>
                  <a:pt x="2285" y="178"/>
                </a:cubicBezTo>
                <a:cubicBezTo>
                  <a:pt x="2285" y="178"/>
                  <a:pt x="2284" y="178"/>
                  <a:pt x="2284" y="178"/>
                </a:cubicBezTo>
                <a:cubicBezTo>
                  <a:pt x="2283" y="178"/>
                  <a:pt x="2283" y="178"/>
                  <a:pt x="2283" y="178"/>
                </a:cubicBezTo>
                <a:lnTo>
                  <a:pt x="2218" y="113"/>
                </a:lnTo>
                <a:cubicBezTo>
                  <a:pt x="2218" y="113"/>
                  <a:pt x="2217" y="112"/>
                  <a:pt x="2217" y="112"/>
                </a:cubicBezTo>
                <a:cubicBezTo>
                  <a:pt x="2217" y="111"/>
                  <a:pt x="2217" y="111"/>
                  <a:pt x="2217" y="110"/>
                </a:cubicBezTo>
                <a:cubicBezTo>
                  <a:pt x="2218" y="110"/>
                  <a:pt x="2218" y="109"/>
                  <a:pt x="2219" y="108"/>
                </a:cubicBezTo>
                <a:cubicBezTo>
                  <a:pt x="2219" y="107"/>
                  <a:pt x="2220" y="107"/>
                  <a:pt x="2221" y="105"/>
                </a:cubicBezTo>
                <a:cubicBezTo>
                  <a:pt x="2222" y="104"/>
                  <a:pt x="2223" y="104"/>
                  <a:pt x="2224" y="103"/>
                </a:cubicBezTo>
                <a:cubicBezTo>
                  <a:pt x="2225" y="102"/>
                  <a:pt x="2225" y="102"/>
                  <a:pt x="2226" y="102"/>
                </a:cubicBezTo>
                <a:cubicBezTo>
                  <a:pt x="2227" y="102"/>
                  <a:pt x="2227" y="102"/>
                  <a:pt x="2227" y="102"/>
                </a:cubicBezTo>
                <a:cubicBezTo>
                  <a:pt x="2228" y="102"/>
                  <a:pt x="2228" y="102"/>
                  <a:pt x="2229" y="102"/>
                </a:cubicBezTo>
                <a:lnTo>
                  <a:pt x="2237" y="111"/>
                </a:lnTo>
                <a:cubicBezTo>
                  <a:pt x="2237" y="103"/>
                  <a:pt x="2237" y="97"/>
                  <a:pt x="2239" y="91"/>
                </a:cubicBezTo>
                <a:cubicBezTo>
                  <a:pt x="2241" y="86"/>
                  <a:pt x="2244" y="81"/>
                  <a:pt x="2247" y="77"/>
                </a:cubicBezTo>
                <a:cubicBezTo>
                  <a:pt x="2252" y="73"/>
                  <a:pt x="2256" y="70"/>
                  <a:pt x="2260" y="69"/>
                </a:cubicBezTo>
                <a:cubicBezTo>
                  <a:pt x="2265" y="67"/>
                  <a:pt x="2269" y="67"/>
                  <a:pt x="2273" y="67"/>
                </a:cubicBezTo>
                <a:cubicBezTo>
                  <a:pt x="2278" y="68"/>
                  <a:pt x="2282" y="69"/>
                  <a:pt x="2286" y="72"/>
                </a:cubicBezTo>
                <a:cubicBezTo>
                  <a:pt x="2290" y="74"/>
                  <a:pt x="2294" y="78"/>
                  <a:pt x="2299" y="83"/>
                </a:cubicBezTo>
                <a:lnTo>
                  <a:pt x="2338" y="122"/>
                </a:lnTo>
                <a:close/>
                <a:moveTo>
                  <a:pt x="2391" y="60"/>
                </a:moveTo>
                <a:cubicBezTo>
                  <a:pt x="2392" y="62"/>
                  <a:pt x="2393" y="63"/>
                  <a:pt x="2394" y="64"/>
                </a:cubicBezTo>
                <a:cubicBezTo>
                  <a:pt x="2394" y="65"/>
                  <a:pt x="2395" y="66"/>
                  <a:pt x="2395" y="66"/>
                </a:cubicBezTo>
                <a:cubicBezTo>
                  <a:pt x="2395" y="67"/>
                  <a:pt x="2394" y="68"/>
                  <a:pt x="2394" y="69"/>
                </a:cubicBezTo>
                <a:cubicBezTo>
                  <a:pt x="2394" y="70"/>
                  <a:pt x="2393" y="71"/>
                  <a:pt x="2392" y="73"/>
                </a:cubicBezTo>
                <a:cubicBezTo>
                  <a:pt x="2391" y="74"/>
                  <a:pt x="2391" y="75"/>
                  <a:pt x="2390" y="76"/>
                </a:cubicBezTo>
                <a:cubicBezTo>
                  <a:pt x="2389" y="78"/>
                  <a:pt x="2388" y="79"/>
                  <a:pt x="2387" y="80"/>
                </a:cubicBezTo>
                <a:cubicBezTo>
                  <a:pt x="2383" y="83"/>
                  <a:pt x="2380" y="86"/>
                  <a:pt x="2377" y="87"/>
                </a:cubicBezTo>
                <a:cubicBezTo>
                  <a:pt x="2373" y="89"/>
                  <a:pt x="2370" y="89"/>
                  <a:pt x="2367" y="89"/>
                </a:cubicBezTo>
                <a:cubicBezTo>
                  <a:pt x="2363" y="89"/>
                  <a:pt x="2360" y="88"/>
                  <a:pt x="2357" y="85"/>
                </a:cubicBezTo>
                <a:cubicBezTo>
                  <a:pt x="2353" y="83"/>
                  <a:pt x="2349" y="81"/>
                  <a:pt x="2346" y="77"/>
                </a:cubicBezTo>
                <a:lnTo>
                  <a:pt x="2308" y="39"/>
                </a:lnTo>
                <a:lnTo>
                  <a:pt x="2299" y="48"/>
                </a:lnTo>
                <a:cubicBezTo>
                  <a:pt x="2298" y="49"/>
                  <a:pt x="2297" y="49"/>
                  <a:pt x="2296" y="49"/>
                </a:cubicBezTo>
                <a:cubicBezTo>
                  <a:pt x="2295" y="48"/>
                  <a:pt x="2293" y="47"/>
                  <a:pt x="2292" y="46"/>
                </a:cubicBezTo>
                <a:cubicBezTo>
                  <a:pt x="2291" y="45"/>
                  <a:pt x="2290" y="44"/>
                  <a:pt x="2290" y="43"/>
                </a:cubicBezTo>
                <a:cubicBezTo>
                  <a:pt x="2289" y="42"/>
                  <a:pt x="2289" y="42"/>
                  <a:pt x="2288" y="41"/>
                </a:cubicBezTo>
                <a:cubicBezTo>
                  <a:pt x="2288" y="40"/>
                  <a:pt x="2288" y="40"/>
                  <a:pt x="2288" y="39"/>
                </a:cubicBezTo>
                <a:cubicBezTo>
                  <a:pt x="2288" y="39"/>
                  <a:pt x="2289" y="39"/>
                  <a:pt x="2289" y="38"/>
                </a:cubicBezTo>
                <a:lnTo>
                  <a:pt x="2298" y="29"/>
                </a:lnTo>
                <a:lnTo>
                  <a:pt x="2283" y="14"/>
                </a:lnTo>
                <a:cubicBezTo>
                  <a:pt x="2282" y="13"/>
                  <a:pt x="2282" y="13"/>
                  <a:pt x="2282" y="13"/>
                </a:cubicBezTo>
                <a:cubicBezTo>
                  <a:pt x="2282" y="12"/>
                  <a:pt x="2282" y="12"/>
                  <a:pt x="2282" y="11"/>
                </a:cubicBezTo>
                <a:cubicBezTo>
                  <a:pt x="2282" y="10"/>
                  <a:pt x="2283" y="9"/>
                  <a:pt x="2284" y="9"/>
                </a:cubicBezTo>
                <a:cubicBezTo>
                  <a:pt x="2284" y="8"/>
                  <a:pt x="2285" y="7"/>
                  <a:pt x="2286" y="6"/>
                </a:cubicBezTo>
                <a:cubicBezTo>
                  <a:pt x="2288" y="4"/>
                  <a:pt x="2289" y="3"/>
                  <a:pt x="2289" y="3"/>
                </a:cubicBezTo>
                <a:cubicBezTo>
                  <a:pt x="2290" y="2"/>
                  <a:pt x="2291" y="2"/>
                  <a:pt x="2292" y="1"/>
                </a:cubicBezTo>
                <a:cubicBezTo>
                  <a:pt x="2292" y="1"/>
                  <a:pt x="2293" y="1"/>
                  <a:pt x="2293" y="1"/>
                </a:cubicBezTo>
                <a:cubicBezTo>
                  <a:pt x="2294" y="1"/>
                  <a:pt x="2294" y="2"/>
                  <a:pt x="2295" y="2"/>
                </a:cubicBezTo>
                <a:lnTo>
                  <a:pt x="2310" y="17"/>
                </a:lnTo>
                <a:lnTo>
                  <a:pt x="2327" y="1"/>
                </a:lnTo>
                <a:cubicBezTo>
                  <a:pt x="2327" y="0"/>
                  <a:pt x="2327" y="0"/>
                  <a:pt x="2328" y="0"/>
                </a:cubicBezTo>
                <a:cubicBezTo>
                  <a:pt x="2328" y="0"/>
                  <a:pt x="2329" y="0"/>
                  <a:pt x="2329" y="0"/>
                </a:cubicBezTo>
                <a:cubicBezTo>
                  <a:pt x="2330" y="0"/>
                  <a:pt x="2331" y="1"/>
                  <a:pt x="2331" y="1"/>
                </a:cubicBezTo>
                <a:cubicBezTo>
                  <a:pt x="2332" y="2"/>
                  <a:pt x="2333" y="2"/>
                  <a:pt x="2334" y="3"/>
                </a:cubicBezTo>
                <a:cubicBezTo>
                  <a:pt x="2336" y="5"/>
                  <a:pt x="2337" y="6"/>
                  <a:pt x="2337" y="8"/>
                </a:cubicBezTo>
                <a:cubicBezTo>
                  <a:pt x="2337" y="9"/>
                  <a:pt x="2337" y="10"/>
                  <a:pt x="2336" y="11"/>
                </a:cubicBezTo>
                <a:lnTo>
                  <a:pt x="2320" y="27"/>
                </a:lnTo>
                <a:lnTo>
                  <a:pt x="2356" y="63"/>
                </a:lnTo>
                <a:cubicBezTo>
                  <a:pt x="2360" y="68"/>
                  <a:pt x="2364" y="70"/>
                  <a:pt x="2368" y="71"/>
                </a:cubicBezTo>
                <a:cubicBezTo>
                  <a:pt x="2372" y="72"/>
                  <a:pt x="2375" y="71"/>
                  <a:pt x="2378" y="68"/>
                </a:cubicBezTo>
                <a:cubicBezTo>
                  <a:pt x="2380" y="67"/>
                  <a:pt x="2380" y="65"/>
                  <a:pt x="2381" y="64"/>
                </a:cubicBezTo>
                <a:cubicBezTo>
                  <a:pt x="2382" y="63"/>
                  <a:pt x="2382" y="62"/>
                  <a:pt x="2383" y="61"/>
                </a:cubicBezTo>
                <a:cubicBezTo>
                  <a:pt x="2383" y="60"/>
                  <a:pt x="2383" y="60"/>
                  <a:pt x="2384" y="59"/>
                </a:cubicBezTo>
                <a:cubicBezTo>
                  <a:pt x="2384" y="58"/>
                  <a:pt x="2384" y="58"/>
                  <a:pt x="2385" y="57"/>
                </a:cubicBezTo>
                <a:cubicBezTo>
                  <a:pt x="2385" y="57"/>
                  <a:pt x="2385" y="57"/>
                  <a:pt x="2386" y="57"/>
                </a:cubicBezTo>
                <a:cubicBezTo>
                  <a:pt x="2386" y="57"/>
                  <a:pt x="2386" y="57"/>
                  <a:pt x="2387" y="57"/>
                </a:cubicBezTo>
                <a:cubicBezTo>
                  <a:pt x="2387" y="57"/>
                  <a:pt x="2388" y="58"/>
                  <a:pt x="2388" y="58"/>
                </a:cubicBezTo>
                <a:cubicBezTo>
                  <a:pt x="2389" y="59"/>
                  <a:pt x="2390" y="59"/>
                  <a:pt x="2391" y="60"/>
                </a:cubicBezTo>
                <a:close/>
              </a:path>
            </a:pathLst>
          </a:custGeom>
          <a:solidFill>
            <a:srgbClr val="000000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106" name="Freeform 50"/>
          <p:cNvSpPr>
            <a:spLocks noEditPoints="1"/>
          </p:cNvSpPr>
          <p:nvPr/>
        </p:nvSpPr>
        <p:spPr bwMode="auto">
          <a:xfrm>
            <a:off x="6632835" y="3990268"/>
            <a:ext cx="447675" cy="425450"/>
          </a:xfrm>
          <a:custGeom>
            <a:avLst/>
            <a:gdLst/>
            <a:ahLst/>
            <a:cxnLst>
              <a:cxn ang="0">
                <a:pos x="141" y="627"/>
              </a:cxn>
              <a:cxn ang="0">
                <a:pos x="70" y="615"/>
              </a:cxn>
              <a:cxn ang="0">
                <a:pos x="94" y="674"/>
              </a:cxn>
              <a:cxn ang="0">
                <a:pos x="22" y="560"/>
              </a:cxn>
              <a:cxn ang="0">
                <a:pos x="86" y="562"/>
              </a:cxn>
              <a:cxn ang="0">
                <a:pos x="115" y="598"/>
              </a:cxn>
              <a:cxn ang="0">
                <a:pos x="37" y="566"/>
              </a:cxn>
              <a:cxn ang="0">
                <a:pos x="72" y="574"/>
              </a:cxn>
              <a:cxn ang="0">
                <a:pos x="167" y="572"/>
              </a:cxn>
              <a:cxn ang="0">
                <a:pos x="207" y="535"/>
              </a:cxn>
              <a:cxn ang="0">
                <a:pos x="216" y="544"/>
              </a:cxn>
              <a:cxn ang="0">
                <a:pos x="148" y="583"/>
              </a:cxn>
              <a:cxn ang="0">
                <a:pos x="157" y="490"/>
              </a:cxn>
              <a:cxn ang="0">
                <a:pos x="128" y="522"/>
              </a:cxn>
              <a:cxn ang="0">
                <a:pos x="241" y="410"/>
              </a:cxn>
              <a:cxn ang="0">
                <a:pos x="246" y="475"/>
              </a:cxn>
              <a:cxn ang="0">
                <a:pos x="266" y="476"/>
              </a:cxn>
              <a:cxn ang="0">
                <a:pos x="308" y="509"/>
              </a:cxn>
              <a:cxn ang="0">
                <a:pos x="243" y="525"/>
              </a:cxn>
              <a:cxn ang="0">
                <a:pos x="208" y="484"/>
              </a:cxn>
              <a:cxn ang="0">
                <a:pos x="212" y="420"/>
              </a:cxn>
              <a:cxn ang="0">
                <a:pos x="204" y="446"/>
              </a:cxn>
              <a:cxn ang="0">
                <a:pos x="244" y="452"/>
              </a:cxn>
              <a:cxn ang="0">
                <a:pos x="255" y="511"/>
              </a:cxn>
              <a:cxn ang="0">
                <a:pos x="299" y="496"/>
              </a:cxn>
              <a:cxn ang="0">
                <a:pos x="366" y="403"/>
              </a:cxn>
              <a:cxn ang="0">
                <a:pos x="340" y="431"/>
              </a:cxn>
              <a:cxn ang="0">
                <a:pos x="249" y="384"/>
              </a:cxn>
              <a:cxn ang="0">
                <a:pos x="299" y="412"/>
              </a:cxn>
              <a:cxn ang="0">
                <a:pos x="293" y="343"/>
              </a:cxn>
              <a:cxn ang="0">
                <a:pos x="303" y="330"/>
              </a:cxn>
              <a:cxn ang="0">
                <a:pos x="401" y="368"/>
              </a:cxn>
              <a:cxn ang="0">
                <a:pos x="297" y="273"/>
              </a:cxn>
              <a:cxn ang="0">
                <a:pos x="405" y="360"/>
              </a:cxn>
              <a:cxn ang="0">
                <a:pos x="466" y="299"/>
              </a:cxn>
              <a:cxn ang="0">
                <a:pos x="406" y="325"/>
              </a:cxn>
              <a:cxn ang="0">
                <a:pos x="414" y="252"/>
              </a:cxn>
              <a:cxn ang="0">
                <a:pos x="377" y="285"/>
              </a:cxn>
              <a:cxn ang="0">
                <a:pos x="368" y="271"/>
              </a:cxn>
              <a:cxn ang="0">
                <a:pos x="432" y="245"/>
              </a:cxn>
              <a:cxn ang="0">
                <a:pos x="418" y="313"/>
              </a:cxn>
              <a:cxn ang="0">
                <a:pos x="527" y="235"/>
              </a:cxn>
              <a:cxn ang="0">
                <a:pos x="500" y="260"/>
              </a:cxn>
              <a:cxn ang="0">
                <a:pos x="423" y="214"/>
              </a:cxn>
              <a:cxn ang="0">
                <a:pos x="415" y="182"/>
              </a:cxn>
              <a:cxn ang="0">
                <a:pos x="443" y="189"/>
              </a:cxn>
              <a:cxn ang="0">
                <a:pos x="470" y="182"/>
              </a:cxn>
              <a:cxn ang="0">
                <a:pos x="517" y="230"/>
              </a:cxn>
              <a:cxn ang="0">
                <a:pos x="553" y="214"/>
              </a:cxn>
              <a:cxn ang="0">
                <a:pos x="540" y="224"/>
              </a:cxn>
              <a:cxn ang="0">
                <a:pos x="485" y="148"/>
              </a:cxn>
              <a:cxn ang="0">
                <a:pos x="460" y="144"/>
              </a:cxn>
              <a:cxn ang="0">
                <a:pos x="614" y="114"/>
              </a:cxn>
              <a:cxn ang="0">
                <a:pos x="538" y="163"/>
              </a:cxn>
              <a:cxn ang="0">
                <a:pos x="585" y="85"/>
              </a:cxn>
              <a:cxn ang="0">
                <a:pos x="537" y="116"/>
              </a:cxn>
              <a:cxn ang="0">
                <a:pos x="595" y="156"/>
              </a:cxn>
              <a:cxn ang="0">
                <a:pos x="709" y="58"/>
              </a:cxn>
              <a:cxn ang="0">
                <a:pos x="659" y="30"/>
              </a:cxn>
              <a:cxn ang="0">
                <a:pos x="665" y="99"/>
              </a:cxn>
              <a:cxn ang="0">
                <a:pos x="655" y="112"/>
              </a:cxn>
              <a:cxn ang="0">
                <a:pos x="595" y="37"/>
              </a:cxn>
              <a:cxn ang="0">
                <a:pos x="631" y="2"/>
              </a:cxn>
            </a:cxnLst>
            <a:rect l="0" t="0" r="r" b="b"/>
            <a:pathLst>
              <a:path w="710" h="676">
                <a:moveTo>
                  <a:pt x="151" y="614"/>
                </a:moveTo>
                <a:cubicBezTo>
                  <a:pt x="151" y="614"/>
                  <a:pt x="152" y="614"/>
                  <a:pt x="152" y="615"/>
                </a:cubicBezTo>
                <a:cubicBezTo>
                  <a:pt x="152" y="615"/>
                  <a:pt x="152" y="616"/>
                  <a:pt x="152" y="616"/>
                </a:cubicBezTo>
                <a:cubicBezTo>
                  <a:pt x="151" y="617"/>
                  <a:pt x="151" y="618"/>
                  <a:pt x="150" y="619"/>
                </a:cubicBezTo>
                <a:cubicBezTo>
                  <a:pt x="149" y="620"/>
                  <a:pt x="148" y="621"/>
                  <a:pt x="147" y="622"/>
                </a:cubicBezTo>
                <a:cubicBezTo>
                  <a:pt x="145" y="624"/>
                  <a:pt x="144" y="625"/>
                  <a:pt x="143" y="625"/>
                </a:cubicBezTo>
                <a:cubicBezTo>
                  <a:pt x="143" y="626"/>
                  <a:pt x="142" y="627"/>
                  <a:pt x="141" y="627"/>
                </a:cubicBezTo>
                <a:cubicBezTo>
                  <a:pt x="140" y="627"/>
                  <a:pt x="140" y="627"/>
                  <a:pt x="139" y="627"/>
                </a:cubicBezTo>
                <a:cubicBezTo>
                  <a:pt x="138" y="627"/>
                  <a:pt x="138" y="627"/>
                  <a:pt x="137" y="626"/>
                </a:cubicBezTo>
                <a:lnTo>
                  <a:pt x="107" y="613"/>
                </a:lnTo>
                <a:cubicBezTo>
                  <a:pt x="103" y="611"/>
                  <a:pt x="100" y="610"/>
                  <a:pt x="97" y="609"/>
                </a:cubicBezTo>
                <a:cubicBezTo>
                  <a:pt x="93" y="608"/>
                  <a:pt x="90" y="608"/>
                  <a:pt x="87" y="608"/>
                </a:cubicBezTo>
                <a:cubicBezTo>
                  <a:pt x="84" y="608"/>
                  <a:pt x="81" y="608"/>
                  <a:pt x="79" y="609"/>
                </a:cubicBezTo>
                <a:cubicBezTo>
                  <a:pt x="76" y="611"/>
                  <a:pt x="73" y="613"/>
                  <a:pt x="70" y="615"/>
                </a:cubicBezTo>
                <a:lnTo>
                  <a:pt x="62" y="624"/>
                </a:lnTo>
                <a:lnTo>
                  <a:pt x="101" y="663"/>
                </a:lnTo>
                <a:cubicBezTo>
                  <a:pt x="102" y="664"/>
                  <a:pt x="102" y="664"/>
                  <a:pt x="102" y="665"/>
                </a:cubicBezTo>
                <a:cubicBezTo>
                  <a:pt x="102" y="665"/>
                  <a:pt x="102" y="666"/>
                  <a:pt x="102" y="666"/>
                </a:cubicBezTo>
                <a:cubicBezTo>
                  <a:pt x="101" y="667"/>
                  <a:pt x="101" y="668"/>
                  <a:pt x="100" y="668"/>
                </a:cubicBezTo>
                <a:cubicBezTo>
                  <a:pt x="100" y="669"/>
                  <a:pt x="99" y="670"/>
                  <a:pt x="97" y="672"/>
                </a:cubicBezTo>
                <a:cubicBezTo>
                  <a:pt x="96" y="673"/>
                  <a:pt x="95" y="674"/>
                  <a:pt x="94" y="674"/>
                </a:cubicBezTo>
                <a:cubicBezTo>
                  <a:pt x="93" y="675"/>
                  <a:pt x="93" y="676"/>
                  <a:pt x="92" y="676"/>
                </a:cubicBezTo>
                <a:cubicBezTo>
                  <a:pt x="91" y="676"/>
                  <a:pt x="91" y="676"/>
                  <a:pt x="90" y="676"/>
                </a:cubicBezTo>
                <a:cubicBezTo>
                  <a:pt x="90" y="676"/>
                  <a:pt x="89" y="676"/>
                  <a:pt x="89" y="676"/>
                </a:cubicBezTo>
                <a:lnTo>
                  <a:pt x="3" y="589"/>
                </a:lnTo>
                <a:cubicBezTo>
                  <a:pt x="1" y="588"/>
                  <a:pt x="0" y="586"/>
                  <a:pt x="1" y="584"/>
                </a:cubicBezTo>
                <a:cubicBezTo>
                  <a:pt x="1" y="582"/>
                  <a:pt x="1" y="581"/>
                  <a:pt x="3" y="580"/>
                </a:cubicBezTo>
                <a:lnTo>
                  <a:pt x="22" y="560"/>
                </a:lnTo>
                <a:cubicBezTo>
                  <a:pt x="25" y="558"/>
                  <a:pt x="27" y="556"/>
                  <a:pt x="28" y="554"/>
                </a:cubicBezTo>
                <a:cubicBezTo>
                  <a:pt x="30" y="553"/>
                  <a:pt x="32" y="552"/>
                  <a:pt x="33" y="551"/>
                </a:cubicBezTo>
                <a:cubicBezTo>
                  <a:pt x="37" y="548"/>
                  <a:pt x="41" y="545"/>
                  <a:pt x="45" y="544"/>
                </a:cubicBezTo>
                <a:cubicBezTo>
                  <a:pt x="49" y="543"/>
                  <a:pt x="53" y="542"/>
                  <a:pt x="57" y="542"/>
                </a:cubicBezTo>
                <a:cubicBezTo>
                  <a:pt x="61" y="542"/>
                  <a:pt x="65" y="543"/>
                  <a:pt x="69" y="545"/>
                </a:cubicBezTo>
                <a:cubicBezTo>
                  <a:pt x="72" y="547"/>
                  <a:pt x="76" y="549"/>
                  <a:pt x="79" y="553"/>
                </a:cubicBezTo>
                <a:cubicBezTo>
                  <a:pt x="82" y="556"/>
                  <a:pt x="84" y="559"/>
                  <a:pt x="86" y="562"/>
                </a:cubicBezTo>
                <a:cubicBezTo>
                  <a:pt x="88" y="565"/>
                  <a:pt x="89" y="569"/>
                  <a:pt x="89" y="572"/>
                </a:cubicBezTo>
                <a:cubicBezTo>
                  <a:pt x="89" y="576"/>
                  <a:pt x="89" y="579"/>
                  <a:pt x="88" y="583"/>
                </a:cubicBezTo>
                <a:cubicBezTo>
                  <a:pt x="87" y="586"/>
                  <a:pt x="86" y="590"/>
                  <a:pt x="84" y="594"/>
                </a:cubicBezTo>
                <a:cubicBezTo>
                  <a:pt x="86" y="593"/>
                  <a:pt x="89" y="592"/>
                  <a:pt x="91" y="592"/>
                </a:cubicBezTo>
                <a:cubicBezTo>
                  <a:pt x="93" y="592"/>
                  <a:pt x="96" y="592"/>
                  <a:pt x="98" y="592"/>
                </a:cubicBezTo>
                <a:cubicBezTo>
                  <a:pt x="101" y="593"/>
                  <a:pt x="103" y="593"/>
                  <a:pt x="106" y="594"/>
                </a:cubicBezTo>
                <a:cubicBezTo>
                  <a:pt x="109" y="595"/>
                  <a:pt x="112" y="596"/>
                  <a:pt x="115" y="598"/>
                </a:cubicBezTo>
                <a:lnTo>
                  <a:pt x="144" y="610"/>
                </a:lnTo>
                <a:cubicBezTo>
                  <a:pt x="147" y="611"/>
                  <a:pt x="148" y="612"/>
                  <a:pt x="149" y="612"/>
                </a:cubicBezTo>
                <a:cubicBezTo>
                  <a:pt x="150" y="613"/>
                  <a:pt x="151" y="613"/>
                  <a:pt x="151" y="614"/>
                </a:cubicBezTo>
                <a:close/>
                <a:moveTo>
                  <a:pt x="67" y="567"/>
                </a:moveTo>
                <a:cubicBezTo>
                  <a:pt x="63" y="563"/>
                  <a:pt x="60" y="561"/>
                  <a:pt x="55" y="560"/>
                </a:cubicBezTo>
                <a:cubicBezTo>
                  <a:pt x="51" y="559"/>
                  <a:pt x="47" y="560"/>
                  <a:pt x="42" y="563"/>
                </a:cubicBezTo>
                <a:cubicBezTo>
                  <a:pt x="40" y="564"/>
                  <a:pt x="39" y="565"/>
                  <a:pt x="37" y="566"/>
                </a:cubicBezTo>
                <a:cubicBezTo>
                  <a:pt x="35" y="568"/>
                  <a:pt x="33" y="569"/>
                  <a:pt x="31" y="572"/>
                </a:cubicBezTo>
                <a:lnTo>
                  <a:pt x="20" y="582"/>
                </a:lnTo>
                <a:lnTo>
                  <a:pt x="52" y="614"/>
                </a:lnTo>
                <a:lnTo>
                  <a:pt x="64" y="602"/>
                </a:lnTo>
                <a:cubicBezTo>
                  <a:pt x="67" y="598"/>
                  <a:pt x="70" y="595"/>
                  <a:pt x="71" y="592"/>
                </a:cubicBezTo>
                <a:cubicBezTo>
                  <a:pt x="73" y="589"/>
                  <a:pt x="74" y="586"/>
                  <a:pt x="74" y="583"/>
                </a:cubicBezTo>
                <a:cubicBezTo>
                  <a:pt x="74" y="580"/>
                  <a:pt x="73" y="577"/>
                  <a:pt x="72" y="574"/>
                </a:cubicBezTo>
                <a:cubicBezTo>
                  <a:pt x="71" y="572"/>
                  <a:pt x="69" y="569"/>
                  <a:pt x="67" y="567"/>
                </a:cubicBezTo>
                <a:close/>
                <a:moveTo>
                  <a:pt x="187" y="507"/>
                </a:moveTo>
                <a:cubicBezTo>
                  <a:pt x="189" y="509"/>
                  <a:pt x="190" y="511"/>
                  <a:pt x="190" y="513"/>
                </a:cubicBezTo>
                <a:cubicBezTo>
                  <a:pt x="189" y="515"/>
                  <a:pt x="189" y="516"/>
                  <a:pt x="187" y="517"/>
                </a:cubicBezTo>
                <a:lnTo>
                  <a:pt x="145" y="560"/>
                </a:lnTo>
                <a:cubicBezTo>
                  <a:pt x="149" y="563"/>
                  <a:pt x="152" y="566"/>
                  <a:pt x="156" y="568"/>
                </a:cubicBezTo>
                <a:cubicBezTo>
                  <a:pt x="159" y="571"/>
                  <a:pt x="163" y="572"/>
                  <a:pt x="167" y="572"/>
                </a:cubicBezTo>
                <a:cubicBezTo>
                  <a:pt x="170" y="573"/>
                  <a:pt x="174" y="572"/>
                  <a:pt x="178" y="570"/>
                </a:cubicBezTo>
                <a:cubicBezTo>
                  <a:pt x="182" y="569"/>
                  <a:pt x="186" y="566"/>
                  <a:pt x="190" y="562"/>
                </a:cubicBezTo>
                <a:cubicBezTo>
                  <a:pt x="193" y="559"/>
                  <a:pt x="195" y="556"/>
                  <a:pt x="197" y="553"/>
                </a:cubicBezTo>
                <a:cubicBezTo>
                  <a:pt x="199" y="550"/>
                  <a:pt x="200" y="548"/>
                  <a:pt x="202" y="545"/>
                </a:cubicBezTo>
                <a:cubicBezTo>
                  <a:pt x="203" y="543"/>
                  <a:pt x="204" y="541"/>
                  <a:pt x="204" y="539"/>
                </a:cubicBezTo>
                <a:cubicBezTo>
                  <a:pt x="205" y="538"/>
                  <a:pt x="205" y="537"/>
                  <a:pt x="206" y="536"/>
                </a:cubicBezTo>
                <a:cubicBezTo>
                  <a:pt x="206" y="536"/>
                  <a:pt x="207" y="535"/>
                  <a:pt x="207" y="535"/>
                </a:cubicBezTo>
                <a:cubicBezTo>
                  <a:pt x="208" y="535"/>
                  <a:pt x="208" y="535"/>
                  <a:pt x="209" y="535"/>
                </a:cubicBezTo>
                <a:cubicBezTo>
                  <a:pt x="209" y="536"/>
                  <a:pt x="210" y="536"/>
                  <a:pt x="210" y="537"/>
                </a:cubicBezTo>
                <a:cubicBezTo>
                  <a:pt x="211" y="537"/>
                  <a:pt x="212" y="538"/>
                  <a:pt x="213" y="539"/>
                </a:cubicBezTo>
                <a:cubicBezTo>
                  <a:pt x="213" y="539"/>
                  <a:pt x="214" y="540"/>
                  <a:pt x="214" y="540"/>
                </a:cubicBezTo>
                <a:cubicBezTo>
                  <a:pt x="215" y="541"/>
                  <a:pt x="215" y="541"/>
                  <a:pt x="215" y="542"/>
                </a:cubicBezTo>
                <a:cubicBezTo>
                  <a:pt x="215" y="542"/>
                  <a:pt x="216" y="543"/>
                  <a:pt x="216" y="543"/>
                </a:cubicBezTo>
                <a:cubicBezTo>
                  <a:pt x="216" y="543"/>
                  <a:pt x="216" y="544"/>
                  <a:pt x="216" y="544"/>
                </a:cubicBezTo>
                <a:cubicBezTo>
                  <a:pt x="216" y="545"/>
                  <a:pt x="216" y="546"/>
                  <a:pt x="215" y="548"/>
                </a:cubicBezTo>
                <a:cubicBezTo>
                  <a:pt x="214" y="550"/>
                  <a:pt x="213" y="552"/>
                  <a:pt x="212" y="555"/>
                </a:cubicBezTo>
                <a:cubicBezTo>
                  <a:pt x="210" y="558"/>
                  <a:pt x="208" y="560"/>
                  <a:pt x="206" y="564"/>
                </a:cubicBezTo>
                <a:cubicBezTo>
                  <a:pt x="204" y="567"/>
                  <a:pt x="201" y="570"/>
                  <a:pt x="198" y="573"/>
                </a:cubicBezTo>
                <a:cubicBezTo>
                  <a:pt x="193" y="578"/>
                  <a:pt x="187" y="582"/>
                  <a:pt x="182" y="585"/>
                </a:cubicBezTo>
                <a:cubicBezTo>
                  <a:pt x="176" y="587"/>
                  <a:pt x="171" y="588"/>
                  <a:pt x="165" y="588"/>
                </a:cubicBezTo>
                <a:cubicBezTo>
                  <a:pt x="160" y="588"/>
                  <a:pt x="154" y="586"/>
                  <a:pt x="148" y="583"/>
                </a:cubicBezTo>
                <a:cubicBezTo>
                  <a:pt x="142" y="580"/>
                  <a:pt x="136" y="576"/>
                  <a:pt x="131" y="570"/>
                </a:cubicBezTo>
                <a:cubicBezTo>
                  <a:pt x="125" y="564"/>
                  <a:pt x="121" y="559"/>
                  <a:pt x="118" y="553"/>
                </a:cubicBezTo>
                <a:cubicBezTo>
                  <a:pt x="115" y="547"/>
                  <a:pt x="113" y="541"/>
                  <a:pt x="113" y="535"/>
                </a:cubicBezTo>
                <a:cubicBezTo>
                  <a:pt x="112" y="530"/>
                  <a:pt x="113" y="524"/>
                  <a:pt x="115" y="519"/>
                </a:cubicBezTo>
                <a:cubicBezTo>
                  <a:pt x="118" y="513"/>
                  <a:pt x="121" y="508"/>
                  <a:pt x="126" y="503"/>
                </a:cubicBezTo>
                <a:cubicBezTo>
                  <a:pt x="131" y="498"/>
                  <a:pt x="136" y="495"/>
                  <a:pt x="141" y="493"/>
                </a:cubicBezTo>
                <a:cubicBezTo>
                  <a:pt x="146" y="491"/>
                  <a:pt x="151" y="490"/>
                  <a:pt x="157" y="490"/>
                </a:cubicBezTo>
                <a:cubicBezTo>
                  <a:pt x="162" y="491"/>
                  <a:pt x="166" y="492"/>
                  <a:pt x="171" y="495"/>
                </a:cubicBezTo>
                <a:cubicBezTo>
                  <a:pt x="176" y="498"/>
                  <a:pt x="181" y="501"/>
                  <a:pt x="185" y="505"/>
                </a:cubicBezTo>
                <a:lnTo>
                  <a:pt x="187" y="507"/>
                </a:lnTo>
                <a:close/>
                <a:moveTo>
                  <a:pt x="171" y="516"/>
                </a:moveTo>
                <a:cubicBezTo>
                  <a:pt x="165" y="510"/>
                  <a:pt x="159" y="506"/>
                  <a:pt x="153" y="505"/>
                </a:cubicBezTo>
                <a:cubicBezTo>
                  <a:pt x="146" y="505"/>
                  <a:pt x="140" y="507"/>
                  <a:pt x="134" y="513"/>
                </a:cubicBezTo>
                <a:cubicBezTo>
                  <a:pt x="131" y="516"/>
                  <a:pt x="129" y="519"/>
                  <a:pt x="128" y="522"/>
                </a:cubicBezTo>
                <a:cubicBezTo>
                  <a:pt x="127" y="526"/>
                  <a:pt x="127" y="529"/>
                  <a:pt x="127" y="532"/>
                </a:cubicBezTo>
                <a:cubicBezTo>
                  <a:pt x="127" y="536"/>
                  <a:pt x="128" y="539"/>
                  <a:pt x="130" y="542"/>
                </a:cubicBezTo>
                <a:cubicBezTo>
                  <a:pt x="132" y="545"/>
                  <a:pt x="134" y="548"/>
                  <a:pt x="136" y="551"/>
                </a:cubicBezTo>
                <a:lnTo>
                  <a:pt x="171" y="516"/>
                </a:lnTo>
                <a:close/>
                <a:moveTo>
                  <a:pt x="238" y="403"/>
                </a:moveTo>
                <a:cubicBezTo>
                  <a:pt x="240" y="405"/>
                  <a:pt x="241" y="406"/>
                  <a:pt x="241" y="407"/>
                </a:cubicBezTo>
                <a:cubicBezTo>
                  <a:pt x="242" y="408"/>
                  <a:pt x="241" y="409"/>
                  <a:pt x="241" y="410"/>
                </a:cubicBezTo>
                <a:lnTo>
                  <a:pt x="231" y="419"/>
                </a:lnTo>
                <a:cubicBezTo>
                  <a:pt x="235" y="419"/>
                  <a:pt x="238" y="420"/>
                  <a:pt x="241" y="422"/>
                </a:cubicBezTo>
                <a:cubicBezTo>
                  <a:pt x="243" y="423"/>
                  <a:pt x="246" y="425"/>
                  <a:pt x="248" y="427"/>
                </a:cubicBezTo>
                <a:cubicBezTo>
                  <a:pt x="252" y="431"/>
                  <a:pt x="255" y="435"/>
                  <a:pt x="256" y="439"/>
                </a:cubicBezTo>
                <a:cubicBezTo>
                  <a:pt x="258" y="443"/>
                  <a:pt x="259" y="447"/>
                  <a:pt x="258" y="451"/>
                </a:cubicBezTo>
                <a:cubicBezTo>
                  <a:pt x="258" y="455"/>
                  <a:pt x="257" y="460"/>
                  <a:pt x="255" y="464"/>
                </a:cubicBezTo>
                <a:cubicBezTo>
                  <a:pt x="253" y="468"/>
                  <a:pt x="250" y="472"/>
                  <a:pt x="246" y="475"/>
                </a:cubicBezTo>
                <a:cubicBezTo>
                  <a:pt x="244" y="478"/>
                  <a:pt x="241" y="480"/>
                  <a:pt x="238" y="482"/>
                </a:cubicBezTo>
                <a:cubicBezTo>
                  <a:pt x="235" y="484"/>
                  <a:pt x="232" y="485"/>
                  <a:pt x="230" y="485"/>
                </a:cubicBezTo>
                <a:cubicBezTo>
                  <a:pt x="230" y="486"/>
                  <a:pt x="230" y="488"/>
                  <a:pt x="231" y="490"/>
                </a:cubicBezTo>
                <a:cubicBezTo>
                  <a:pt x="231" y="491"/>
                  <a:pt x="232" y="493"/>
                  <a:pt x="234" y="494"/>
                </a:cubicBezTo>
                <a:cubicBezTo>
                  <a:pt x="235" y="496"/>
                  <a:pt x="237" y="497"/>
                  <a:pt x="240" y="496"/>
                </a:cubicBezTo>
                <a:cubicBezTo>
                  <a:pt x="243" y="496"/>
                  <a:pt x="245" y="494"/>
                  <a:pt x="248" y="492"/>
                </a:cubicBezTo>
                <a:lnTo>
                  <a:pt x="266" y="476"/>
                </a:lnTo>
                <a:cubicBezTo>
                  <a:pt x="269" y="473"/>
                  <a:pt x="272" y="470"/>
                  <a:pt x="276" y="468"/>
                </a:cubicBezTo>
                <a:cubicBezTo>
                  <a:pt x="279" y="466"/>
                  <a:pt x="283" y="465"/>
                  <a:pt x="286" y="465"/>
                </a:cubicBezTo>
                <a:cubicBezTo>
                  <a:pt x="290" y="464"/>
                  <a:pt x="293" y="464"/>
                  <a:pt x="296" y="465"/>
                </a:cubicBezTo>
                <a:cubicBezTo>
                  <a:pt x="299" y="466"/>
                  <a:pt x="302" y="468"/>
                  <a:pt x="305" y="471"/>
                </a:cubicBezTo>
                <a:cubicBezTo>
                  <a:pt x="308" y="474"/>
                  <a:pt x="310" y="478"/>
                  <a:pt x="312" y="482"/>
                </a:cubicBezTo>
                <a:cubicBezTo>
                  <a:pt x="313" y="485"/>
                  <a:pt x="314" y="490"/>
                  <a:pt x="313" y="494"/>
                </a:cubicBezTo>
                <a:cubicBezTo>
                  <a:pt x="313" y="499"/>
                  <a:pt x="311" y="504"/>
                  <a:pt x="308" y="509"/>
                </a:cubicBezTo>
                <a:cubicBezTo>
                  <a:pt x="305" y="514"/>
                  <a:pt x="301" y="519"/>
                  <a:pt x="296" y="525"/>
                </a:cubicBezTo>
                <a:cubicBezTo>
                  <a:pt x="291" y="530"/>
                  <a:pt x="286" y="534"/>
                  <a:pt x="281" y="537"/>
                </a:cubicBezTo>
                <a:cubicBezTo>
                  <a:pt x="277" y="540"/>
                  <a:pt x="273" y="541"/>
                  <a:pt x="269" y="542"/>
                </a:cubicBezTo>
                <a:cubicBezTo>
                  <a:pt x="265" y="543"/>
                  <a:pt x="261" y="543"/>
                  <a:pt x="258" y="542"/>
                </a:cubicBezTo>
                <a:cubicBezTo>
                  <a:pt x="255" y="541"/>
                  <a:pt x="252" y="539"/>
                  <a:pt x="250" y="536"/>
                </a:cubicBezTo>
                <a:cubicBezTo>
                  <a:pt x="248" y="535"/>
                  <a:pt x="247" y="533"/>
                  <a:pt x="246" y="531"/>
                </a:cubicBezTo>
                <a:cubicBezTo>
                  <a:pt x="244" y="529"/>
                  <a:pt x="244" y="527"/>
                  <a:pt x="243" y="525"/>
                </a:cubicBezTo>
                <a:cubicBezTo>
                  <a:pt x="242" y="523"/>
                  <a:pt x="242" y="521"/>
                  <a:pt x="242" y="518"/>
                </a:cubicBezTo>
                <a:cubicBezTo>
                  <a:pt x="242" y="516"/>
                  <a:pt x="242" y="513"/>
                  <a:pt x="243" y="511"/>
                </a:cubicBezTo>
                <a:cubicBezTo>
                  <a:pt x="239" y="512"/>
                  <a:pt x="236" y="512"/>
                  <a:pt x="233" y="511"/>
                </a:cubicBezTo>
                <a:cubicBezTo>
                  <a:pt x="230" y="511"/>
                  <a:pt x="227" y="509"/>
                  <a:pt x="225" y="507"/>
                </a:cubicBezTo>
                <a:cubicBezTo>
                  <a:pt x="222" y="504"/>
                  <a:pt x="220" y="501"/>
                  <a:pt x="219" y="498"/>
                </a:cubicBezTo>
                <a:cubicBezTo>
                  <a:pt x="218" y="494"/>
                  <a:pt x="218" y="491"/>
                  <a:pt x="218" y="487"/>
                </a:cubicBezTo>
                <a:cubicBezTo>
                  <a:pt x="214" y="487"/>
                  <a:pt x="211" y="486"/>
                  <a:pt x="208" y="484"/>
                </a:cubicBezTo>
                <a:cubicBezTo>
                  <a:pt x="205" y="483"/>
                  <a:pt x="202" y="481"/>
                  <a:pt x="199" y="478"/>
                </a:cubicBezTo>
                <a:cubicBezTo>
                  <a:pt x="195" y="474"/>
                  <a:pt x="192" y="470"/>
                  <a:pt x="191" y="466"/>
                </a:cubicBezTo>
                <a:cubicBezTo>
                  <a:pt x="189" y="462"/>
                  <a:pt x="188" y="458"/>
                  <a:pt x="188" y="453"/>
                </a:cubicBezTo>
                <a:cubicBezTo>
                  <a:pt x="189" y="449"/>
                  <a:pt x="190" y="445"/>
                  <a:pt x="192" y="441"/>
                </a:cubicBezTo>
                <a:cubicBezTo>
                  <a:pt x="194" y="437"/>
                  <a:pt x="196" y="433"/>
                  <a:pt x="200" y="429"/>
                </a:cubicBezTo>
                <a:cubicBezTo>
                  <a:pt x="202" y="427"/>
                  <a:pt x="204" y="425"/>
                  <a:pt x="206" y="424"/>
                </a:cubicBezTo>
                <a:cubicBezTo>
                  <a:pt x="208" y="422"/>
                  <a:pt x="210" y="421"/>
                  <a:pt x="212" y="420"/>
                </a:cubicBezTo>
                <a:lnTo>
                  <a:pt x="231" y="401"/>
                </a:lnTo>
                <a:cubicBezTo>
                  <a:pt x="232" y="400"/>
                  <a:pt x="233" y="399"/>
                  <a:pt x="234" y="400"/>
                </a:cubicBezTo>
                <a:cubicBezTo>
                  <a:pt x="235" y="400"/>
                  <a:pt x="237" y="401"/>
                  <a:pt x="238" y="403"/>
                </a:cubicBezTo>
                <a:close/>
                <a:moveTo>
                  <a:pt x="237" y="438"/>
                </a:moveTo>
                <a:cubicBezTo>
                  <a:pt x="232" y="434"/>
                  <a:pt x="228" y="432"/>
                  <a:pt x="223" y="432"/>
                </a:cubicBezTo>
                <a:cubicBezTo>
                  <a:pt x="218" y="432"/>
                  <a:pt x="213" y="434"/>
                  <a:pt x="209" y="438"/>
                </a:cubicBezTo>
                <a:cubicBezTo>
                  <a:pt x="207" y="441"/>
                  <a:pt x="205" y="443"/>
                  <a:pt x="204" y="446"/>
                </a:cubicBezTo>
                <a:cubicBezTo>
                  <a:pt x="203" y="448"/>
                  <a:pt x="203" y="450"/>
                  <a:pt x="203" y="453"/>
                </a:cubicBezTo>
                <a:cubicBezTo>
                  <a:pt x="203" y="455"/>
                  <a:pt x="204" y="458"/>
                  <a:pt x="205" y="460"/>
                </a:cubicBezTo>
                <a:cubicBezTo>
                  <a:pt x="206" y="462"/>
                  <a:pt x="208" y="464"/>
                  <a:pt x="210" y="466"/>
                </a:cubicBezTo>
                <a:cubicBezTo>
                  <a:pt x="214" y="471"/>
                  <a:pt x="219" y="473"/>
                  <a:pt x="224" y="473"/>
                </a:cubicBezTo>
                <a:cubicBezTo>
                  <a:pt x="228" y="473"/>
                  <a:pt x="233" y="471"/>
                  <a:pt x="237" y="466"/>
                </a:cubicBezTo>
                <a:cubicBezTo>
                  <a:pt x="240" y="464"/>
                  <a:pt x="241" y="462"/>
                  <a:pt x="242" y="459"/>
                </a:cubicBezTo>
                <a:cubicBezTo>
                  <a:pt x="243" y="457"/>
                  <a:pt x="244" y="454"/>
                  <a:pt x="244" y="452"/>
                </a:cubicBezTo>
                <a:cubicBezTo>
                  <a:pt x="243" y="449"/>
                  <a:pt x="243" y="447"/>
                  <a:pt x="241" y="445"/>
                </a:cubicBezTo>
                <a:cubicBezTo>
                  <a:pt x="240" y="442"/>
                  <a:pt x="239" y="440"/>
                  <a:pt x="237" y="438"/>
                </a:cubicBezTo>
                <a:close/>
                <a:moveTo>
                  <a:pt x="294" y="484"/>
                </a:moveTo>
                <a:cubicBezTo>
                  <a:pt x="291" y="481"/>
                  <a:pt x="288" y="480"/>
                  <a:pt x="284" y="481"/>
                </a:cubicBezTo>
                <a:cubicBezTo>
                  <a:pt x="280" y="481"/>
                  <a:pt x="277" y="484"/>
                  <a:pt x="273" y="487"/>
                </a:cubicBezTo>
                <a:lnTo>
                  <a:pt x="255" y="504"/>
                </a:lnTo>
                <a:cubicBezTo>
                  <a:pt x="255" y="506"/>
                  <a:pt x="255" y="509"/>
                  <a:pt x="255" y="511"/>
                </a:cubicBezTo>
                <a:cubicBezTo>
                  <a:pt x="255" y="513"/>
                  <a:pt x="255" y="515"/>
                  <a:pt x="256" y="516"/>
                </a:cubicBezTo>
                <a:cubicBezTo>
                  <a:pt x="256" y="518"/>
                  <a:pt x="257" y="519"/>
                  <a:pt x="257" y="520"/>
                </a:cubicBezTo>
                <a:cubicBezTo>
                  <a:pt x="258" y="522"/>
                  <a:pt x="259" y="523"/>
                  <a:pt x="260" y="524"/>
                </a:cubicBezTo>
                <a:cubicBezTo>
                  <a:pt x="263" y="527"/>
                  <a:pt x="267" y="527"/>
                  <a:pt x="272" y="526"/>
                </a:cubicBezTo>
                <a:cubicBezTo>
                  <a:pt x="277" y="524"/>
                  <a:pt x="282" y="521"/>
                  <a:pt x="287" y="515"/>
                </a:cubicBezTo>
                <a:cubicBezTo>
                  <a:pt x="291" y="512"/>
                  <a:pt x="294" y="508"/>
                  <a:pt x="295" y="505"/>
                </a:cubicBezTo>
                <a:cubicBezTo>
                  <a:pt x="297" y="502"/>
                  <a:pt x="298" y="499"/>
                  <a:pt x="299" y="496"/>
                </a:cubicBezTo>
                <a:cubicBezTo>
                  <a:pt x="299" y="494"/>
                  <a:pt x="299" y="491"/>
                  <a:pt x="298" y="489"/>
                </a:cubicBezTo>
                <a:cubicBezTo>
                  <a:pt x="297" y="487"/>
                  <a:pt x="296" y="485"/>
                  <a:pt x="294" y="484"/>
                </a:cubicBezTo>
                <a:close/>
                <a:moveTo>
                  <a:pt x="369" y="395"/>
                </a:moveTo>
                <a:cubicBezTo>
                  <a:pt x="370" y="396"/>
                  <a:pt x="370" y="396"/>
                  <a:pt x="370" y="397"/>
                </a:cubicBezTo>
                <a:cubicBezTo>
                  <a:pt x="370" y="397"/>
                  <a:pt x="370" y="398"/>
                  <a:pt x="370" y="398"/>
                </a:cubicBezTo>
                <a:cubicBezTo>
                  <a:pt x="370" y="399"/>
                  <a:pt x="369" y="399"/>
                  <a:pt x="369" y="400"/>
                </a:cubicBezTo>
                <a:cubicBezTo>
                  <a:pt x="368" y="401"/>
                  <a:pt x="367" y="402"/>
                  <a:pt x="366" y="403"/>
                </a:cubicBezTo>
                <a:cubicBezTo>
                  <a:pt x="365" y="404"/>
                  <a:pt x="364" y="405"/>
                  <a:pt x="363" y="405"/>
                </a:cubicBezTo>
                <a:cubicBezTo>
                  <a:pt x="363" y="406"/>
                  <a:pt x="362" y="406"/>
                  <a:pt x="361" y="407"/>
                </a:cubicBezTo>
                <a:cubicBezTo>
                  <a:pt x="361" y="407"/>
                  <a:pt x="360" y="407"/>
                  <a:pt x="360" y="407"/>
                </a:cubicBezTo>
                <a:cubicBezTo>
                  <a:pt x="359" y="407"/>
                  <a:pt x="359" y="406"/>
                  <a:pt x="359" y="406"/>
                </a:cubicBezTo>
                <a:lnTo>
                  <a:pt x="350" y="398"/>
                </a:lnTo>
                <a:cubicBezTo>
                  <a:pt x="350" y="405"/>
                  <a:pt x="350" y="412"/>
                  <a:pt x="348" y="417"/>
                </a:cubicBezTo>
                <a:cubicBezTo>
                  <a:pt x="346" y="423"/>
                  <a:pt x="344" y="427"/>
                  <a:pt x="340" y="431"/>
                </a:cubicBezTo>
                <a:cubicBezTo>
                  <a:pt x="336" y="435"/>
                  <a:pt x="331" y="438"/>
                  <a:pt x="327" y="440"/>
                </a:cubicBezTo>
                <a:cubicBezTo>
                  <a:pt x="322" y="441"/>
                  <a:pt x="318" y="442"/>
                  <a:pt x="314" y="441"/>
                </a:cubicBezTo>
                <a:cubicBezTo>
                  <a:pt x="310" y="440"/>
                  <a:pt x="305" y="439"/>
                  <a:pt x="301" y="436"/>
                </a:cubicBezTo>
                <a:cubicBezTo>
                  <a:pt x="297" y="434"/>
                  <a:pt x="293" y="430"/>
                  <a:pt x="288" y="426"/>
                </a:cubicBezTo>
                <a:lnTo>
                  <a:pt x="249" y="386"/>
                </a:lnTo>
                <a:cubicBezTo>
                  <a:pt x="249" y="386"/>
                  <a:pt x="248" y="386"/>
                  <a:pt x="248" y="385"/>
                </a:cubicBezTo>
                <a:cubicBezTo>
                  <a:pt x="248" y="385"/>
                  <a:pt x="248" y="384"/>
                  <a:pt x="249" y="384"/>
                </a:cubicBezTo>
                <a:cubicBezTo>
                  <a:pt x="249" y="383"/>
                  <a:pt x="249" y="382"/>
                  <a:pt x="250" y="381"/>
                </a:cubicBezTo>
                <a:cubicBezTo>
                  <a:pt x="251" y="380"/>
                  <a:pt x="252" y="379"/>
                  <a:pt x="253" y="378"/>
                </a:cubicBezTo>
                <a:cubicBezTo>
                  <a:pt x="254" y="377"/>
                  <a:pt x="255" y="376"/>
                  <a:pt x="256" y="375"/>
                </a:cubicBezTo>
                <a:cubicBezTo>
                  <a:pt x="257" y="375"/>
                  <a:pt x="257" y="374"/>
                  <a:pt x="258" y="374"/>
                </a:cubicBezTo>
                <a:cubicBezTo>
                  <a:pt x="259" y="374"/>
                  <a:pt x="259" y="374"/>
                  <a:pt x="260" y="374"/>
                </a:cubicBezTo>
                <a:cubicBezTo>
                  <a:pt x="260" y="374"/>
                  <a:pt x="261" y="374"/>
                  <a:pt x="261" y="374"/>
                </a:cubicBezTo>
                <a:lnTo>
                  <a:pt x="299" y="412"/>
                </a:lnTo>
                <a:cubicBezTo>
                  <a:pt x="302" y="416"/>
                  <a:pt x="306" y="419"/>
                  <a:pt x="308" y="420"/>
                </a:cubicBezTo>
                <a:cubicBezTo>
                  <a:pt x="311" y="422"/>
                  <a:pt x="314" y="423"/>
                  <a:pt x="317" y="424"/>
                </a:cubicBezTo>
                <a:cubicBezTo>
                  <a:pt x="319" y="424"/>
                  <a:pt x="322" y="424"/>
                  <a:pt x="325" y="423"/>
                </a:cubicBezTo>
                <a:cubicBezTo>
                  <a:pt x="327" y="422"/>
                  <a:pt x="330" y="421"/>
                  <a:pt x="332" y="418"/>
                </a:cubicBezTo>
                <a:cubicBezTo>
                  <a:pt x="335" y="415"/>
                  <a:pt x="337" y="411"/>
                  <a:pt x="338" y="406"/>
                </a:cubicBezTo>
                <a:cubicBezTo>
                  <a:pt x="339" y="401"/>
                  <a:pt x="339" y="395"/>
                  <a:pt x="338" y="388"/>
                </a:cubicBezTo>
                <a:lnTo>
                  <a:pt x="293" y="343"/>
                </a:lnTo>
                <a:cubicBezTo>
                  <a:pt x="292" y="342"/>
                  <a:pt x="292" y="342"/>
                  <a:pt x="292" y="341"/>
                </a:cubicBezTo>
                <a:cubicBezTo>
                  <a:pt x="292" y="341"/>
                  <a:pt x="292" y="340"/>
                  <a:pt x="292" y="340"/>
                </a:cubicBezTo>
                <a:cubicBezTo>
                  <a:pt x="293" y="339"/>
                  <a:pt x="293" y="338"/>
                  <a:pt x="294" y="337"/>
                </a:cubicBezTo>
                <a:cubicBezTo>
                  <a:pt x="294" y="337"/>
                  <a:pt x="295" y="336"/>
                  <a:pt x="297" y="334"/>
                </a:cubicBezTo>
                <a:cubicBezTo>
                  <a:pt x="298" y="333"/>
                  <a:pt x="299" y="332"/>
                  <a:pt x="299" y="332"/>
                </a:cubicBezTo>
                <a:cubicBezTo>
                  <a:pt x="300" y="331"/>
                  <a:pt x="301" y="331"/>
                  <a:pt x="302" y="330"/>
                </a:cubicBezTo>
                <a:cubicBezTo>
                  <a:pt x="302" y="330"/>
                  <a:pt x="303" y="330"/>
                  <a:pt x="303" y="330"/>
                </a:cubicBezTo>
                <a:cubicBezTo>
                  <a:pt x="304" y="330"/>
                  <a:pt x="304" y="330"/>
                  <a:pt x="305" y="331"/>
                </a:cubicBezTo>
                <a:lnTo>
                  <a:pt x="369" y="395"/>
                </a:lnTo>
                <a:close/>
                <a:moveTo>
                  <a:pt x="405" y="360"/>
                </a:moveTo>
                <a:cubicBezTo>
                  <a:pt x="405" y="360"/>
                  <a:pt x="406" y="360"/>
                  <a:pt x="406" y="361"/>
                </a:cubicBezTo>
                <a:cubicBezTo>
                  <a:pt x="406" y="361"/>
                  <a:pt x="406" y="362"/>
                  <a:pt x="405" y="363"/>
                </a:cubicBezTo>
                <a:cubicBezTo>
                  <a:pt x="405" y="363"/>
                  <a:pt x="405" y="364"/>
                  <a:pt x="404" y="365"/>
                </a:cubicBezTo>
                <a:cubicBezTo>
                  <a:pt x="403" y="366"/>
                  <a:pt x="402" y="367"/>
                  <a:pt x="401" y="368"/>
                </a:cubicBezTo>
                <a:cubicBezTo>
                  <a:pt x="400" y="369"/>
                  <a:pt x="399" y="370"/>
                  <a:pt x="398" y="371"/>
                </a:cubicBezTo>
                <a:cubicBezTo>
                  <a:pt x="397" y="371"/>
                  <a:pt x="397" y="372"/>
                  <a:pt x="396" y="372"/>
                </a:cubicBezTo>
                <a:cubicBezTo>
                  <a:pt x="395" y="372"/>
                  <a:pt x="395" y="372"/>
                  <a:pt x="394" y="372"/>
                </a:cubicBezTo>
                <a:cubicBezTo>
                  <a:pt x="394" y="372"/>
                  <a:pt x="394" y="372"/>
                  <a:pt x="393" y="371"/>
                </a:cubicBezTo>
                <a:lnTo>
                  <a:pt x="297" y="276"/>
                </a:lnTo>
                <a:cubicBezTo>
                  <a:pt x="297" y="275"/>
                  <a:pt x="297" y="275"/>
                  <a:pt x="296" y="274"/>
                </a:cubicBezTo>
                <a:cubicBezTo>
                  <a:pt x="296" y="274"/>
                  <a:pt x="296" y="273"/>
                  <a:pt x="297" y="273"/>
                </a:cubicBezTo>
                <a:cubicBezTo>
                  <a:pt x="297" y="272"/>
                  <a:pt x="297" y="271"/>
                  <a:pt x="298" y="270"/>
                </a:cubicBezTo>
                <a:cubicBezTo>
                  <a:pt x="299" y="270"/>
                  <a:pt x="300" y="269"/>
                  <a:pt x="301" y="267"/>
                </a:cubicBezTo>
                <a:cubicBezTo>
                  <a:pt x="302" y="266"/>
                  <a:pt x="303" y="265"/>
                  <a:pt x="304" y="265"/>
                </a:cubicBezTo>
                <a:cubicBezTo>
                  <a:pt x="305" y="264"/>
                  <a:pt x="306" y="263"/>
                  <a:pt x="306" y="263"/>
                </a:cubicBezTo>
                <a:cubicBezTo>
                  <a:pt x="307" y="263"/>
                  <a:pt x="307" y="263"/>
                  <a:pt x="308" y="263"/>
                </a:cubicBezTo>
                <a:cubicBezTo>
                  <a:pt x="308" y="263"/>
                  <a:pt x="309" y="263"/>
                  <a:pt x="309" y="264"/>
                </a:cubicBezTo>
                <a:lnTo>
                  <a:pt x="405" y="360"/>
                </a:lnTo>
                <a:close/>
                <a:moveTo>
                  <a:pt x="476" y="289"/>
                </a:moveTo>
                <a:cubicBezTo>
                  <a:pt x="476" y="290"/>
                  <a:pt x="477" y="290"/>
                  <a:pt x="477" y="291"/>
                </a:cubicBezTo>
                <a:cubicBezTo>
                  <a:pt x="476" y="291"/>
                  <a:pt x="476" y="292"/>
                  <a:pt x="476" y="293"/>
                </a:cubicBezTo>
                <a:cubicBezTo>
                  <a:pt x="475" y="294"/>
                  <a:pt x="474" y="295"/>
                  <a:pt x="473" y="296"/>
                </a:cubicBezTo>
                <a:cubicBezTo>
                  <a:pt x="472" y="297"/>
                  <a:pt x="471" y="298"/>
                  <a:pt x="470" y="299"/>
                </a:cubicBezTo>
                <a:cubicBezTo>
                  <a:pt x="469" y="300"/>
                  <a:pt x="468" y="300"/>
                  <a:pt x="467" y="300"/>
                </a:cubicBezTo>
                <a:cubicBezTo>
                  <a:pt x="467" y="300"/>
                  <a:pt x="466" y="300"/>
                  <a:pt x="466" y="299"/>
                </a:cubicBezTo>
                <a:lnTo>
                  <a:pt x="459" y="293"/>
                </a:lnTo>
                <a:cubicBezTo>
                  <a:pt x="459" y="299"/>
                  <a:pt x="459" y="304"/>
                  <a:pt x="457" y="309"/>
                </a:cubicBezTo>
                <a:cubicBezTo>
                  <a:pt x="455" y="314"/>
                  <a:pt x="452" y="319"/>
                  <a:pt x="448" y="323"/>
                </a:cubicBezTo>
                <a:cubicBezTo>
                  <a:pt x="445" y="326"/>
                  <a:pt x="441" y="329"/>
                  <a:pt x="438" y="331"/>
                </a:cubicBezTo>
                <a:cubicBezTo>
                  <a:pt x="434" y="332"/>
                  <a:pt x="430" y="334"/>
                  <a:pt x="427" y="334"/>
                </a:cubicBezTo>
                <a:cubicBezTo>
                  <a:pt x="423" y="334"/>
                  <a:pt x="420" y="333"/>
                  <a:pt x="416" y="332"/>
                </a:cubicBezTo>
                <a:cubicBezTo>
                  <a:pt x="413" y="331"/>
                  <a:pt x="409" y="329"/>
                  <a:pt x="406" y="325"/>
                </a:cubicBezTo>
                <a:cubicBezTo>
                  <a:pt x="403" y="322"/>
                  <a:pt x="400" y="318"/>
                  <a:pt x="399" y="314"/>
                </a:cubicBezTo>
                <a:cubicBezTo>
                  <a:pt x="398" y="310"/>
                  <a:pt x="398" y="305"/>
                  <a:pt x="399" y="301"/>
                </a:cubicBezTo>
                <a:cubicBezTo>
                  <a:pt x="400" y="296"/>
                  <a:pt x="402" y="291"/>
                  <a:pt x="405" y="286"/>
                </a:cubicBezTo>
                <a:cubicBezTo>
                  <a:pt x="408" y="282"/>
                  <a:pt x="412" y="277"/>
                  <a:pt x="417" y="272"/>
                </a:cubicBezTo>
                <a:lnTo>
                  <a:pt x="426" y="263"/>
                </a:lnTo>
                <a:lnTo>
                  <a:pt x="421" y="258"/>
                </a:lnTo>
                <a:cubicBezTo>
                  <a:pt x="419" y="255"/>
                  <a:pt x="416" y="253"/>
                  <a:pt x="414" y="252"/>
                </a:cubicBezTo>
                <a:cubicBezTo>
                  <a:pt x="411" y="250"/>
                  <a:pt x="409" y="250"/>
                  <a:pt x="406" y="250"/>
                </a:cubicBezTo>
                <a:cubicBezTo>
                  <a:pt x="404" y="249"/>
                  <a:pt x="401" y="250"/>
                  <a:pt x="399" y="251"/>
                </a:cubicBezTo>
                <a:cubicBezTo>
                  <a:pt x="396" y="252"/>
                  <a:pt x="394" y="254"/>
                  <a:pt x="391" y="257"/>
                </a:cubicBezTo>
                <a:cubicBezTo>
                  <a:pt x="388" y="260"/>
                  <a:pt x="386" y="263"/>
                  <a:pt x="384" y="266"/>
                </a:cubicBezTo>
                <a:cubicBezTo>
                  <a:pt x="383" y="269"/>
                  <a:pt x="381" y="272"/>
                  <a:pt x="380" y="275"/>
                </a:cubicBezTo>
                <a:cubicBezTo>
                  <a:pt x="379" y="277"/>
                  <a:pt x="379" y="279"/>
                  <a:pt x="378" y="281"/>
                </a:cubicBezTo>
                <a:cubicBezTo>
                  <a:pt x="378" y="283"/>
                  <a:pt x="377" y="284"/>
                  <a:pt x="377" y="285"/>
                </a:cubicBezTo>
                <a:cubicBezTo>
                  <a:pt x="376" y="285"/>
                  <a:pt x="376" y="285"/>
                  <a:pt x="375" y="286"/>
                </a:cubicBezTo>
                <a:cubicBezTo>
                  <a:pt x="375" y="286"/>
                  <a:pt x="374" y="286"/>
                  <a:pt x="374" y="285"/>
                </a:cubicBezTo>
                <a:cubicBezTo>
                  <a:pt x="373" y="285"/>
                  <a:pt x="373" y="285"/>
                  <a:pt x="372" y="284"/>
                </a:cubicBezTo>
                <a:cubicBezTo>
                  <a:pt x="371" y="284"/>
                  <a:pt x="370" y="283"/>
                  <a:pt x="370" y="283"/>
                </a:cubicBezTo>
                <a:cubicBezTo>
                  <a:pt x="369" y="281"/>
                  <a:pt x="368" y="280"/>
                  <a:pt x="367" y="280"/>
                </a:cubicBezTo>
                <a:cubicBezTo>
                  <a:pt x="367" y="279"/>
                  <a:pt x="366" y="278"/>
                  <a:pt x="366" y="276"/>
                </a:cubicBezTo>
                <a:cubicBezTo>
                  <a:pt x="366" y="275"/>
                  <a:pt x="367" y="273"/>
                  <a:pt x="368" y="271"/>
                </a:cubicBezTo>
                <a:cubicBezTo>
                  <a:pt x="368" y="268"/>
                  <a:pt x="369" y="266"/>
                  <a:pt x="371" y="263"/>
                </a:cubicBezTo>
                <a:cubicBezTo>
                  <a:pt x="372" y="260"/>
                  <a:pt x="374" y="257"/>
                  <a:pt x="376" y="255"/>
                </a:cubicBezTo>
                <a:cubicBezTo>
                  <a:pt x="378" y="252"/>
                  <a:pt x="380" y="249"/>
                  <a:pt x="382" y="246"/>
                </a:cubicBezTo>
                <a:cubicBezTo>
                  <a:pt x="387" y="242"/>
                  <a:pt x="392" y="238"/>
                  <a:pt x="396" y="236"/>
                </a:cubicBezTo>
                <a:cubicBezTo>
                  <a:pt x="400" y="234"/>
                  <a:pt x="404" y="233"/>
                  <a:pt x="408" y="233"/>
                </a:cubicBezTo>
                <a:cubicBezTo>
                  <a:pt x="412" y="233"/>
                  <a:pt x="416" y="234"/>
                  <a:pt x="420" y="236"/>
                </a:cubicBezTo>
                <a:cubicBezTo>
                  <a:pt x="424" y="238"/>
                  <a:pt x="428" y="241"/>
                  <a:pt x="432" y="245"/>
                </a:cubicBezTo>
                <a:lnTo>
                  <a:pt x="476" y="289"/>
                </a:lnTo>
                <a:close/>
                <a:moveTo>
                  <a:pt x="435" y="271"/>
                </a:moveTo>
                <a:lnTo>
                  <a:pt x="424" y="281"/>
                </a:lnTo>
                <a:cubicBezTo>
                  <a:pt x="421" y="285"/>
                  <a:pt x="419" y="288"/>
                  <a:pt x="417" y="291"/>
                </a:cubicBezTo>
                <a:cubicBezTo>
                  <a:pt x="415" y="294"/>
                  <a:pt x="414" y="296"/>
                  <a:pt x="413" y="299"/>
                </a:cubicBezTo>
                <a:cubicBezTo>
                  <a:pt x="413" y="302"/>
                  <a:pt x="413" y="304"/>
                  <a:pt x="414" y="306"/>
                </a:cubicBezTo>
                <a:cubicBezTo>
                  <a:pt x="414" y="309"/>
                  <a:pt x="416" y="311"/>
                  <a:pt x="418" y="313"/>
                </a:cubicBezTo>
                <a:cubicBezTo>
                  <a:pt x="421" y="316"/>
                  <a:pt x="425" y="318"/>
                  <a:pt x="429" y="318"/>
                </a:cubicBezTo>
                <a:cubicBezTo>
                  <a:pt x="433" y="317"/>
                  <a:pt x="437" y="315"/>
                  <a:pt x="441" y="312"/>
                </a:cubicBezTo>
                <a:cubicBezTo>
                  <a:pt x="444" y="308"/>
                  <a:pt x="446" y="305"/>
                  <a:pt x="447" y="301"/>
                </a:cubicBezTo>
                <a:cubicBezTo>
                  <a:pt x="448" y="296"/>
                  <a:pt x="449" y="291"/>
                  <a:pt x="448" y="285"/>
                </a:cubicBezTo>
                <a:lnTo>
                  <a:pt x="435" y="271"/>
                </a:lnTo>
                <a:close/>
                <a:moveTo>
                  <a:pt x="524" y="231"/>
                </a:moveTo>
                <a:cubicBezTo>
                  <a:pt x="525" y="233"/>
                  <a:pt x="526" y="234"/>
                  <a:pt x="527" y="235"/>
                </a:cubicBezTo>
                <a:cubicBezTo>
                  <a:pt x="527" y="236"/>
                  <a:pt x="528" y="237"/>
                  <a:pt x="528" y="238"/>
                </a:cubicBezTo>
                <a:cubicBezTo>
                  <a:pt x="528" y="238"/>
                  <a:pt x="528" y="239"/>
                  <a:pt x="527" y="240"/>
                </a:cubicBezTo>
                <a:cubicBezTo>
                  <a:pt x="527" y="241"/>
                  <a:pt x="526" y="243"/>
                  <a:pt x="525" y="244"/>
                </a:cubicBezTo>
                <a:cubicBezTo>
                  <a:pt x="525" y="245"/>
                  <a:pt x="524" y="246"/>
                  <a:pt x="523" y="247"/>
                </a:cubicBezTo>
                <a:cubicBezTo>
                  <a:pt x="522" y="249"/>
                  <a:pt x="521" y="250"/>
                  <a:pt x="520" y="251"/>
                </a:cubicBezTo>
                <a:cubicBezTo>
                  <a:pt x="516" y="254"/>
                  <a:pt x="513" y="257"/>
                  <a:pt x="510" y="258"/>
                </a:cubicBezTo>
                <a:cubicBezTo>
                  <a:pt x="506" y="260"/>
                  <a:pt x="503" y="260"/>
                  <a:pt x="500" y="260"/>
                </a:cubicBezTo>
                <a:cubicBezTo>
                  <a:pt x="497" y="260"/>
                  <a:pt x="493" y="259"/>
                  <a:pt x="490" y="257"/>
                </a:cubicBezTo>
                <a:cubicBezTo>
                  <a:pt x="486" y="255"/>
                  <a:pt x="483" y="252"/>
                  <a:pt x="479" y="248"/>
                </a:cubicBezTo>
                <a:lnTo>
                  <a:pt x="441" y="210"/>
                </a:lnTo>
                <a:lnTo>
                  <a:pt x="432" y="219"/>
                </a:lnTo>
                <a:cubicBezTo>
                  <a:pt x="431" y="220"/>
                  <a:pt x="430" y="220"/>
                  <a:pt x="429" y="220"/>
                </a:cubicBezTo>
                <a:cubicBezTo>
                  <a:pt x="428" y="219"/>
                  <a:pt x="427" y="218"/>
                  <a:pt x="425" y="217"/>
                </a:cubicBezTo>
                <a:cubicBezTo>
                  <a:pt x="424" y="216"/>
                  <a:pt x="423" y="215"/>
                  <a:pt x="423" y="214"/>
                </a:cubicBezTo>
                <a:cubicBezTo>
                  <a:pt x="422" y="214"/>
                  <a:pt x="422" y="213"/>
                  <a:pt x="422" y="212"/>
                </a:cubicBezTo>
                <a:cubicBezTo>
                  <a:pt x="421" y="212"/>
                  <a:pt x="421" y="211"/>
                  <a:pt x="422" y="211"/>
                </a:cubicBezTo>
                <a:cubicBezTo>
                  <a:pt x="422" y="210"/>
                  <a:pt x="422" y="210"/>
                  <a:pt x="422" y="209"/>
                </a:cubicBezTo>
                <a:lnTo>
                  <a:pt x="431" y="200"/>
                </a:lnTo>
                <a:lnTo>
                  <a:pt x="416" y="185"/>
                </a:lnTo>
                <a:cubicBezTo>
                  <a:pt x="416" y="185"/>
                  <a:pt x="415" y="184"/>
                  <a:pt x="415" y="184"/>
                </a:cubicBezTo>
                <a:cubicBezTo>
                  <a:pt x="415" y="183"/>
                  <a:pt x="415" y="183"/>
                  <a:pt x="415" y="182"/>
                </a:cubicBezTo>
                <a:cubicBezTo>
                  <a:pt x="416" y="181"/>
                  <a:pt x="416" y="181"/>
                  <a:pt x="417" y="180"/>
                </a:cubicBezTo>
                <a:cubicBezTo>
                  <a:pt x="417" y="179"/>
                  <a:pt x="418" y="178"/>
                  <a:pt x="420" y="177"/>
                </a:cubicBezTo>
                <a:cubicBezTo>
                  <a:pt x="421" y="176"/>
                  <a:pt x="422" y="175"/>
                  <a:pt x="423" y="174"/>
                </a:cubicBezTo>
                <a:cubicBezTo>
                  <a:pt x="423" y="173"/>
                  <a:pt x="424" y="173"/>
                  <a:pt x="425" y="173"/>
                </a:cubicBezTo>
                <a:cubicBezTo>
                  <a:pt x="426" y="172"/>
                  <a:pt x="426" y="172"/>
                  <a:pt x="427" y="173"/>
                </a:cubicBezTo>
                <a:cubicBezTo>
                  <a:pt x="427" y="173"/>
                  <a:pt x="427" y="173"/>
                  <a:pt x="428" y="173"/>
                </a:cubicBezTo>
                <a:lnTo>
                  <a:pt x="443" y="189"/>
                </a:lnTo>
                <a:lnTo>
                  <a:pt x="460" y="172"/>
                </a:lnTo>
                <a:cubicBezTo>
                  <a:pt x="460" y="172"/>
                  <a:pt x="461" y="171"/>
                  <a:pt x="461" y="171"/>
                </a:cubicBezTo>
                <a:cubicBezTo>
                  <a:pt x="461" y="171"/>
                  <a:pt x="462" y="171"/>
                  <a:pt x="463" y="171"/>
                </a:cubicBezTo>
                <a:cubicBezTo>
                  <a:pt x="463" y="171"/>
                  <a:pt x="464" y="172"/>
                  <a:pt x="465" y="172"/>
                </a:cubicBezTo>
                <a:cubicBezTo>
                  <a:pt x="465" y="173"/>
                  <a:pt x="466" y="174"/>
                  <a:pt x="467" y="175"/>
                </a:cubicBezTo>
                <a:cubicBezTo>
                  <a:pt x="469" y="176"/>
                  <a:pt x="470" y="178"/>
                  <a:pt x="470" y="179"/>
                </a:cubicBezTo>
                <a:cubicBezTo>
                  <a:pt x="470" y="180"/>
                  <a:pt x="470" y="181"/>
                  <a:pt x="470" y="182"/>
                </a:cubicBezTo>
                <a:lnTo>
                  <a:pt x="453" y="198"/>
                </a:lnTo>
                <a:lnTo>
                  <a:pt x="489" y="234"/>
                </a:lnTo>
                <a:cubicBezTo>
                  <a:pt x="493" y="239"/>
                  <a:pt x="498" y="242"/>
                  <a:pt x="501" y="243"/>
                </a:cubicBezTo>
                <a:cubicBezTo>
                  <a:pt x="505" y="243"/>
                  <a:pt x="508" y="242"/>
                  <a:pt x="512" y="239"/>
                </a:cubicBezTo>
                <a:cubicBezTo>
                  <a:pt x="513" y="238"/>
                  <a:pt x="514" y="237"/>
                  <a:pt x="514" y="236"/>
                </a:cubicBezTo>
                <a:cubicBezTo>
                  <a:pt x="515" y="235"/>
                  <a:pt x="515" y="234"/>
                  <a:pt x="516" y="233"/>
                </a:cubicBezTo>
                <a:cubicBezTo>
                  <a:pt x="516" y="232"/>
                  <a:pt x="517" y="231"/>
                  <a:pt x="517" y="230"/>
                </a:cubicBezTo>
                <a:cubicBezTo>
                  <a:pt x="517" y="230"/>
                  <a:pt x="517" y="229"/>
                  <a:pt x="518" y="229"/>
                </a:cubicBezTo>
                <a:cubicBezTo>
                  <a:pt x="518" y="228"/>
                  <a:pt x="518" y="228"/>
                  <a:pt x="519" y="228"/>
                </a:cubicBezTo>
                <a:cubicBezTo>
                  <a:pt x="519" y="228"/>
                  <a:pt x="519" y="228"/>
                  <a:pt x="520" y="228"/>
                </a:cubicBezTo>
                <a:cubicBezTo>
                  <a:pt x="520" y="228"/>
                  <a:pt x="521" y="229"/>
                  <a:pt x="522" y="229"/>
                </a:cubicBezTo>
                <a:cubicBezTo>
                  <a:pt x="522" y="230"/>
                  <a:pt x="523" y="230"/>
                  <a:pt x="524" y="231"/>
                </a:cubicBezTo>
                <a:close/>
                <a:moveTo>
                  <a:pt x="552" y="213"/>
                </a:moveTo>
                <a:cubicBezTo>
                  <a:pt x="552" y="213"/>
                  <a:pt x="553" y="213"/>
                  <a:pt x="553" y="214"/>
                </a:cubicBezTo>
                <a:cubicBezTo>
                  <a:pt x="553" y="214"/>
                  <a:pt x="553" y="215"/>
                  <a:pt x="553" y="215"/>
                </a:cubicBezTo>
                <a:cubicBezTo>
                  <a:pt x="552" y="216"/>
                  <a:pt x="552" y="217"/>
                  <a:pt x="551" y="218"/>
                </a:cubicBezTo>
                <a:cubicBezTo>
                  <a:pt x="550" y="219"/>
                  <a:pt x="550" y="220"/>
                  <a:pt x="548" y="221"/>
                </a:cubicBezTo>
                <a:cubicBezTo>
                  <a:pt x="547" y="222"/>
                  <a:pt x="546" y="223"/>
                  <a:pt x="545" y="223"/>
                </a:cubicBezTo>
                <a:cubicBezTo>
                  <a:pt x="544" y="224"/>
                  <a:pt x="544" y="225"/>
                  <a:pt x="543" y="225"/>
                </a:cubicBezTo>
                <a:cubicBezTo>
                  <a:pt x="542" y="225"/>
                  <a:pt x="542" y="225"/>
                  <a:pt x="541" y="225"/>
                </a:cubicBezTo>
                <a:cubicBezTo>
                  <a:pt x="541" y="225"/>
                  <a:pt x="541" y="225"/>
                  <a:pt x="540" y="224"/>
                </a:cubicBezTo>
                <a:lnTo>
                  <a:pt x="476" y="160"/>
                </a:lnTo>
                <a:cubicBezTo>
                  <a:pt x="475" y="159"/>
                  <a:pt x="475" y="159"/>
                  <a:pt x="475" y="159"/>
                </a:cubicBezTo>
                <a:cubicBezTo>
                  <a:pt x="475" y="158"/>
                  <a:pt x="475" y="158"/>
                  <a:pt x="475" y="157"/>
                </a:cubicBezTo>
                <a:cubicBezTo>
                  <a:pt x="475" y="156"/>
                  <a:pt x="476" y="156"/>
                  <a:pt x="477" y="155"/>
                </a:cubicBezTo>
                <a:cubicBezTo>
                  <a:pt x="477" y="154"/>
                  <a:pt x="478" y="153"/>
                  <a:pt x="479" y="152"/>
                </a:cubicBezTo>
                <a:cubicBezTo>
                  <a:pt x="480" y="150"/>
                  <a:pt x="481" y="150"/>
                  <a:pt x="482" y="149"/>
                </a:cubicBezTo>
                <a:cubicBezTo>
                  <a:pt x="483" y="148"/>
                  <a:pt x="484" y="148"/>
                  <a:pt x="485" y="148"/>
                </a:cubicBezTo>
                <a:cubicBezTo>
                  <a:pt x="485" y="147"/>
                  <a:pt x="486" y="147"/>
                  <a:pt x="486" y="147"/>
                </a:cubicBezTo>
                <a:cubicBezTo>
                  <a:pt x="487" y="147"/>
                  <a:pt x="487" y="148"/>
                  <a:pt x="487" y="148"/>
                </a:cubicBezTo>
                <a:lnTo>
                  <a:pt x="552" y="213"/>
                </a:lnTo>
                <a:close/>
                <a:moveTo>
                  <a:pt x="467" y="125"/>
                </a:moveTo>
                <a:cubicBezTo>
                  <a:pt x="470" y="128"/>
                  <a:pt x="471" y="130"/>
                  <a:pt x="471" y="132"/>
                </a:cubicBezTo>
                <a:cubicBezTo>
                  <a:pt x="471" y="134"/>
                  <a:pt x="470" y="136"/>
                  <a:pt x="467" y="139"/>
                </a:cubicBezTo>
                <a:cubicBezTo>
                  <a:pt x="464" y="142"/>
                  <a:pt x="462" y="144"/>
                  <a:pt x="460" y="144"/>
                </a:cubicBezTo>
                <a:cubicBezTo>
                  <a:pt x="458" y="144"/>
                  <a:pt x="455" y="142"/>
                  <a:pt x="452" y="140"/>
                </a:cubicBezTo>
                <a:cubicBezTo>
                  <a:pt x="450" y="137"/>
                  <a:pt x="448" y="134"/>
                  <a:pt x="448" y="132"/>
                </a:cubicBezTo>
                <a:cubicBezTo>
                  <a:pt x="448" y="130"/>
                  <a:pt x="450" y="128"/>
                  <a:pt x="453" y="125"/>
                </a:cubicBezTo>
                <a:cubicBezTo>
                  <a:pt x="455" y="122"/>
                  <a:pt x="458" y="121"/>
                  <a:pt x="460" y="121"/>
                </a:cubicBezTo>
                <a:cubicBezTo>
                  <a:pt x="462" y="121"/>
                  <a:pt x="464" y="122"/>
                  <a:pt x="467" y="125"/>
                </a:cubicBezTo>
                <a:close/>
                <a:moveTo>
                  <a:pt x="601" y="97"/>
                </a:moveTo>
                <a:cubicBezTo>
                  <a:pt x="607" y="103"/>
                  <a:pt x="611" y="108"/>
                  <a:pt x="614" y="114"/>
                </a:cubicBezTo>
                <a:cubicBezTo>
                  <a:pt x="617" y="120"/>
                  <a:pt x="619" y="126"/>
                  <a:pt x="619" y="132"/>
                </a:cubicBezTo>
                <a:cubicBezTo>
                  <a:pt x="619" y="138"/>
                  <a:pt x="618" y="144"/>
                  <a:pt x="616" y="149"/>
                </a:cubicBezTo>
                <a:cubicBezTo>
                  <a:pt x="614" y="155"/>
                  <a:pt x="610" y="161"/>
                  <a:pt x="604" y="167"/>
                </a:cubicBezTo>
                <a:cubicBezTo>
                  <a:pt x="599" y="172"/>
                  <a:pt x="594" y="176"/>
                  <a:pt x="588" y="178"/>
                </a:cubicBezTo>
                <a:cubicBezTo>
                  <a:pt x="583" y="180"/>
                  <a:pt x="577" y="181"/>
                  <a:pt x="571" y="181"/>
                </a:cubicBezTo>
                <a:cubicBezTo>
                  <a:pt x="566" y="181"/>
                  <a:pt x="560" y="179"/>
                  <a:pt x="555" y="176"/>
                </a:cubicBezTo>
                <a:cubicBezTo>
                  <a:pt x="549" y="173"/>
                  <a:pt x="543" y="169"/>
                  <a:pt x="538" y="163"/>
                </a:cubicBezTo>
                <a:cubicBezTo>
                  <a:pt x="533" y="158"/>
                  <a:pt x="528" y="152"/>
                  <a:pt x="525" y="147"/>
                </a:cubicBezTo>
                <a:cubicBezTo>
                  <a:pt x="522" y="141"/>
                  <a:pt x="521" y="135"/>
                  <a:pt x="520" y="129"/>
                </a:cubicBezTo>
                <a:cubicBezTo>
                  <a:pt x="520" y="123"/>
                  <a:pt x="521" y="117"/>
                  <a:pt x="523" y="111"/>
                </a:cubicBezTo>
                <a:cubicBezTo>
                  <a:pt x="525" y="105"/>
                  <a:pt x="529" y="100"/>
                  <a:pt x="535" y="94"/>
                </a:cubicBezTo>
                <a:cubicBezTo>
                  <a:pt x="540" y="89"/>
                  <a:pt x="545" y="85"/>
                  <a:pt x="551" y="83"/>
                </a:cubicBezTo>
                <a:cubicBezTo>
                  <a:pt x="557" y="80"/>
                  <a:pt x="562" y="79"/>
                  <a:pt x="568" y="80"/>
                </a:cubicBezTo>
                <a:cubicBezTo>
                  <a:pt x="573" y="80"/>
                  <a:pt x="579" y="82"/>
                  <a:pt x="585" y="85"/>
                </a:cubicBezTo>
                <a:cubicBezTo>
                  <a:pt x="590" y="88"/>
                  <a:pt x="596" y="92"/>
                  <a:pt x="601" y="97"/>
                </a:cubicBezTo>
                <a:close/>
                <a:moveTo>
                  <a:pt x="590" y="110"/>
                </a:moveTo>
                <a:cubicBezTo>
                  <a:pt x="586" y="107"/>
                  <a:pt x="583" y="104"/>
                  <a:pt x="579" y="101"/>
                </a:cubicBezTo>
                <a:cubicBezTo>
                  <a:pt x="575" y="99"/>
                  <a:pt x="571" y="97"/>
                  <a:pt x="567" y="97"/>
                </a:cubicBezTo>
                <a:cubicBezTo>
                  <a:pt x="564" y="96"/>
                  <a:pt x="560" y="96"/>
                  <a:pt x="556" y="97"/>
                </a:cubicBezTo>
                <a:cubicBezTo>
                  <a:pt x="552" y="98"/>
                  <a:pt x="548" y="101"/>
                  <a:pt x="544" y="105"/>
                </a:cubicBezTo>
                <a:cubicBezTo>
                  <a:pt x="541" y="108"/>
                  <a:pt x="538" y="112"/>
                  <a:pt x="537" y="116"/>
                </a:cubicBezTo>
                <a:cubicBezTo>
                  <a:pt x="536" y="119"/>
                  <a:pt x="535" y="123"/>
                  <a:pt x="536" y="127"/>
                </a:cubicBezTo>
                <a:cubicBezTo>
                  <a:pt x="537" y="131"/>
                  <a:pt x="538" y="135"/>
                  <a:pt x="540" y="139"/>
                </a:cubicBezTo>
                <a:cubicBezTo>
                  <a:pt x="543" y="143"/>
                  <a:pt x="546" y="147"/>
                  <a:pt x="549" y="150"/>
                </a:cubicBezTo>
                <a:cubicBezTo>
                  <a:pt x="553" y="154"/>
                  <a:pt x="557" y="157"/>
                  <a:pt x="560" y="159"/>
                </a:cubicBezTo>
                <a:cubicBezTo>
                  <a:pt x="564" y="162"/>
                  <a:pt x="568" y="163"/>
                  <a:pt x="572" y="164"/>
                </a:cubicBezTo>
                <a:cubicBezTo>
                  <a:pt x="576" y="165"/>
                  <a:pt x="580" y="165"/>
                  <a:pt x="583" y="163"/>
                </a:cubicBezTo>
                <a:cubicBezTo>
                  <a:pt x="587" y="162"/>
                  <a:pt x="591" y="160"/>
                  <a:pt x="595" y="156"/>
                </a:cubicBezTo>
                <a:cubicBezTo>
                  <a:pt x="599" y="152"/>
                  <a:pt x="601" y="149"/>
                  <a:pt x="602" y="145"/>
                </a:cubicBezTo>
                <a:cubicBezTo>
                  <a:pt x="604" y="141"/>
                  <a:pt x="604" y="137"/>
                  <a:pt x="603" y="134"/>
                </a:cubicBezTo>
                <a:cubicBezTo>
                  <a:pt x="603" y="130"/>
                  <a:pt x="601" y="126"/>
                  <a:pt x="599" y="122"/>
                </a:cubicBezTo>
                <a:cubicBezTo>
                  <a:pt x="597" y="118"/>
                  <a:pt x="594" y="114"/>
                  <a:pt x="590" y="110"/>
                </a:cubicBezTo>
                <a:close/>
                <a:moveTo>
                  <a:pt x="709" y="56"/>
                </a:moveTo>
                <a:cubicBezTo>
                  <a:pt x="709" y="56"/>
                  <a:pt x="710" y="56"/>
                  <a:pt x="710" y="57"/>
                </a:cubicBezTo>
                <a:cubicBezTo>
                  <a:pt x="710" y="57"/>
                  <a:pt x="710" y="58"/>
                  <a:pt x="709" y="58"/>
                </a:cubicBezTo>
                <a:cubicBezTo>
                  <a:pt x="709" y="59"/>
                  <a:pt x="709" y="60"/>
                  <a:pt x="708" y="61"/>
                </a:cubicBezTo>
                <a:cubicBezTo>
                  <a:pt x="707" y="62"/>
                  <a:pt x="707" y="63"/>
                  <a:pt x="705" y="64"/>
                </a:cubicBezTo>
                <a:cubicBezTo>
                  <a:pt x="704" y="65"/>
                  <a:pt x="703" y="66"/>
                  <a:pt x="702" y="67"/>
                </a:cubicBezTo>
                <a:cubicBezTo>
                  <a:pt x="701" y="67"/>
                  <a:pt x="701" y="68"/>
                  <a:pt x="700" y="68"/>
                </a:cubicBezTo>
                <a:cubicBezTo>
                  <a:pt x="699" y="68"/>
                  <a:pt x="699" y="68"/>
                  <a:pt x="698" y="68"/>
                </a:cubicBezTo>
                <a:cubicBezTo>
                  <a:pt x="698" y="68"/>
                  <a:pt x="698" y="68"/>
                  <a:pt x="697" y="67"/>
                </a:cubicBezTo>
                <a:lnTo>
                  <a:pt x="659" y="30"/>
                </a:lnTo>
                <a:cubicBezTo>
                  <a:pt x="656" y="26"/>
                  <a:pt x="652" y="23"/>
                  <a:pt x="650" y="22"/>
                </a:cubicBezTo>
                <a:cubicBezTo>
                  <a:pt x="647" y="20"/>
                  <a:pt x="644" y="19"/>
                  <a:pt x="641" y="18"/>
                </a:cubicBezTo>
                <a:cubicBezTo>
                  <a:pt x="639" y="18"/>
                  <a:pt x="636" y="18"/>
                  <a:pt x="633" y="19"/>
                </a:cubicBezTo>
                <a:cubicBezTo>
                  <a:pt x="631" y="20"/>
                  <a:pt x="628" y="21"/>
                  <a:pt x="626" y="24"/>
                </a:cubicBezTo>
                <a:cubicBezTo>
                  <a:pt x="623" y="27"/>
                  <a:pt x="621" y="31"/>
                  <a:pt x="620" y="36"/>
                </a:cubicBezTo>
                <a:cubicBezTo>
                  <a:pt x="619" y="41"/>
                  <a:pt x="619" y="47"/>
                  <a:pt x="620" y="54"/>
                </a:cubicBezTo>
                <a:lnTo>
                  <a:pt x="665" y="99"/>
                </a:lnTo>
                <a:cubicBezTo>
                  <a:pt x="666" y="100"/>
                  <a:pt x="666" y="100"/>
                  <a:pt x="666" y="101"/>
                </a:cubicBezTo>
                <a:cubicBezTo>
                  <a:pt x="666" y="101"/>
                  <a:pt x="666" y="102"/>
                  <a:pt x="666" y="102"/>
                </a:cubicBezTo>
                <a:cubicBezTo>
                  <a:pt x="665" y="103"/>
                  <a:pt x="665" y="104"/>
                  <a:pt x="664" y="105"/>
                </a:cubicBezTo>
                <a:cubicBezTo>
                  <a:pt x="664" y="105"/>
                  <a:pt x="663" y="106"/>
                  <a:pt x="661" y="108"/>
                </a:cubicBezTo>
                <a:cubicBezTo>
                  <a:pt x="660" y="109"/>
                  <a:pt x="659" y="110"/>
                  <a:pt x="658" y="110"/>
                </a:cubicBezTo>
                <a:cubicBezTo>
                  <a:pt x="658" y="111"/>
                  <a:pt x="657" y="111"/>
                  <a:pt x="656" y="112"/>
                </a:cubicBezTo>
                <a:cubicBezTo>
                  <a:pt x="656" y="112"/>
                  <a:pt x="655" y="112"/>
                  <a:pt x="655" y="112"/>
                </a:cubicBezTo>
                <a:cubicBezTo>
                  <a:pt x="654" y="112"/>
                  <a:pt x="654" y="112"/>
                  <a:pt x="653" y="111"/>
                </a:cubicBezTo>
                <a:lnTo>
                  <a:pt x="589" y="47"/>
                </a:lnTo>
                <a:cubicBezTo>
                  <a:pt x="588" y="46"/>
                  <a:pt x="588" y="46"/>
                  <a:pt x="588" y="45"/>
                </a:cubicBezTo>
                <a:cubicBezTo>
                  <a:pt x="588" y="45"/>
                  <a:pt x="588" y="45"/>
                  <a:pt x="588" y="44"/>
                </a:cubicBezTo>
                <a:cubicBezTo>
                  <a:pt x="588" y="43"/>
                  <a:pt x="589" y="43"/>
                  <a:pt x="589" y="42"/>
                </a:cubicBezTo>
                <a:cubicBezTo>
                  <a:pt x="590" y="41"/>
                  <a:pt x="591" y="40"/>
                  <a:pt x="592" y="39"/>
                </a:cubicBezTo>
                <a:cubicBezTo>
                  <a:pt x="593" y="38"/>
                  <a:pt x="594" y="37"/>
                  <a:pt x="595" y="37"/>
                </a:cubicBezTo>
                <a:cubicBezTo>
                  <a:pt x="595" y="36"/>
                  <a:pt x="596" y="36"/>
                  <a:pt x="597" y="35"/>
                </a:cubicBezTo>
                <a:cubicBezTo>
                  <a:pt x="597" y="35"/>
                  <a:pt x="598" y="35"/>
                  <a:pt x="598" y="35"/>
                </a:cubicBezTo>
                <a:cubicBezTo>
                  <a:pt x="599" y="35"/>
                  <a:pt x="599" y="36"/>
                  <a:pt x="599" y="36"/>
                </a:cubicBezTo>
                <a:lnTo>
                  <a:pt x="608" y="44"/>
                </a:lnTo>
                <a:cubicBezTo>
                  <a:pt x="608" y="37"/>
                  <a:pt x="608" y="30"/>
                  <a:pt x="610" y="25"/>
                </a:cubicBezTo>
                <a:cubicBezTo>
                  <a:pt x="612" y="19"/>
                  <a:pt x="614" y="15"/>
                  <a:pt x="618" y="11"/>
                </a:cubicBezTo>
                <a:cubicBezTo>
                  <a:pt x="622" y="7"/>
                  <a:pt x="627" y="4"/>
                  <a:pt x="631" y="2"/>
                </a:cubicBezTo>
                <a:cubicBezTo>
                  <a:pt x="636" y="1"/>
                  <a:pt x="640" y="0"/>
                  <a:pt x="644" y="1"/>
                </a:cubicBezTo>
                <a:cubicBezTo>
                  <a:pt x="648" y="2"/>
                  <a:pt x="653" y="3"/>
                  <a:pt x="657" y="6"/>
                </a:cubicBezTo>
                <a:cubicBezTo>
                  <a:pt x="661" y="8"/>
                  <a:pt x="665" y="12"/>
                  <a:pt x="670" y="16"/>
                </a:cubicBezTo>
                <a:lnTo>
                  <a:pt x="709" y="56"/>
                </a:lnTo>
                <a:close/>
              </a:path>
            </a:pathLst>
          </a:custGeom>
          <a:solidFill>
            <a:srgbClr val="000000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107" name="Freeform 51"/>
          <p:cNvSpPr>
            <a:spLocks noEditPoints="1"/>
          </p:cNvSpPr>
          <p:nvPr/>
        </p:nvSpPr>
        <p:spPr bwMode="auto">
          <a:xfrm>
            <a:off x="6399472" y="3979156"/>
            <a:ext cx="971550" cy="977900"/>
          </a:xfrm>
          <a:custGeom>
            <a:avLst/>
            <a:gdLst/>
            <a:ahLst/>
            <a:cxnLst>
              <a:cxn ang="0">
                <a:pos x="64" y="1540"/>
              </a:cxn>
              <a:cxn ang="0">
                <a:pos x="22" y="1495"/>
              </a:cxn>
              <a:cxn ang="0">
                <a:pos x="51" y="1429"/>
              </a:cxn>
              <a:cxn ang="0">
                <a:pos x="74" y="1467"/>
              </a:cxn>
              <a:cxn ang="0">
                <a:pos x="176" y="1464"/>
              </a:cxn>
              <a:cxn ang="0">
                <a:pos x="145" y="1453"/>
              </a:cxn>
              <a:cxn ang="0">
                <a:pos x="206" y="1428"/>
              </a:cxn>
              <a:cxn ang="0">
                <a:pos x="235" y="1404"/>
              </a:cxn>
              <a:cxn ang="0">
                <a:pos x="187" y="1316"/>
              </a:cxn>
              <a:cxn ang="0">
                <a:pos x="197" y="1347"/>
              </a:cxn>
              <a:cxn ang="0">
                <a:pos x="307" y="1326"/>
              </a:cxn>
              <a:cxn ang="0">
                <a:pos x="321" y="1280"/>
              </a:cxn>
              <a:cxn ang="0">
                <a:pos x="277" y="1227"/>
              </a:cxn>
              <a:cxn ang="0">
                <a:pos x="264" y="1258"/>
              </a:cxn>
              <a:cxn ang="0">
                <a:pos x="396" y="1243"/>
              </a:cxn>
              <a:cxn ang="0">
                <a:pos x="302" y="1199"/>
              </a:cxn>
              <a:cxn ang="0">
                <a:pos x="338" y="1173"/>
              </a:cxn>
              <a:cxn ang="0">
                <a:pos x="459" y="1175"/>
              </a:cxn>
              <a:cxn ang="0">
                <a:pos x="382" y="1186"/>
              </a:cxn>
              <a:cxn ang="0">
                <a:pos x="355" y="1170"/>
              </a:cxn>
              <a:cxn ang="0">
                <a:pos x="400" y="1176"/>
              </a:cxn>
              <a:cxn ang="0">
                <a:pos x="503" y="1137"/>
              </a:cxn>
              <a:cxn ang="0">
                <a:pos x="399" y="1070"/>
              </a:cxn>
              <a:cxn ang="0">
                <a:pos x="453" y="1068"/>
              </a:cxn>
              <a:cxn ang="0">
                <a:pos x="536" y="1101"/>
              </a:cxn>
              <a:cxn ang="0">
                <a:pos x="471" y="1034"/>
              </a:cxn>
              <a:cxn ang="0">
                <a:pos x="588" y="1052"/>
              </a:cxn>
              <a:cxn ang="0">
                <a:pos x="551" y="982"/>
              </a:cxn>
              <a:cxn ang="0">
                <a:pos x="693" y="941"/>
              </a:cxn>
              <a:cxn ang="0">
                <a:pos x="604" y="940"/>
              </a:cxn>
              <a:cxn ang="0">
                <a:pos x="578" y="922"/>
              </a:cxn>
              <a:cxn ang="0">
                <a:pos x="817" y="817"/>
              </a:cxn>
              <a:cxn ang="0">
                <a:pos x="767" y="748"/>
              </a:cxn>
              <a:cxn ang="0">
                <a:pos x="783" y="762"/>
              </a:cxn>
              <a:cxn ang="0">
                <a:pos x="830" y="695"/>
              </a:cxn>
              <a:cxn ang="0">
                <a:pos x="802" y="699"/>
              </a:cxn>
              <a:cxn ang="0">
                <a:pos x="974" y="656"/>
              </a:cxn>
              <a:cxn ang="0">
                <a:pos x="944" y="676"/>
              </a:cxn>
              <a:cxn ang="0">
                <a:pos x="883" y="627"/>
              </a:cxn>
              <a:cxn ang="0">
                <a:pos x="922" y="604"/>
              </a:cxn>
              <a:cxn ang="0">
                <a:pos x="965" y="633"/>
              </a:cxn>
              <a:cxn ang="0">
                <a:pos x="941" y="559"/>
              </a:cxn>
              <a:cxn ang="0">
                <a:pos x="1065" y="566"/>
              </a:cxn>
              <a:cxn ang="0">
                <a:pos x="960" y="544"/>
              </a:cxn>
              <a:cxn ang="0">
                <a:pos x="999" y="503"/>
              </a:cxn>
              <a:cxn ang="0">
                <a:pos x="1058" y="560"/>
              </a:cxn>
              <a:cxn ang="0">
                <a:pos x="1119" y="493"/>
              </a:cxn>
              <a:cxn ang="0">
                <a:pos x="1042" y="528"/>
              </a:cxn>
              <a:cxn ang="0">
                <a:pos x="1041" y="500"/>
              </a:cxn>
              <a:cxn ang="0">
                <a:pos x="1196" y="442"/>
              </a:cxn>
              <a:cxn ang="0">
                <a:pos x="1151" y="326"/>
              </a:cxn>
              <a:cxn ang="0">
                <a:pos x="1285" y="351"/>
              </a:cxn>
              <a:cxn ang="0">
                <a:pos x="1252" y="270"/>
              </a:cxn>
              <a:cxn ang="0">
                <a:pos x="1376" y="130"/>
              </a:cxn>
              <a:cxn ang="0">
                <a:pos x="1378" y="258"/>
              </a:cxn>
              <a:cxn ang="0">
                <a:pos x="1285" y="216"/>
              </a:cxn>
              <a:cxn ang="0">
                <a:pos x="1333" y="172"/>
              </a:cxn>
              <a:cxn ang="0">
                <a:pos x="1472" y="102"/>
              </a:cxn>
              <a:cxn ang="0">
                <a:pos x="1500" y="126"/>
              </a:cxn>
              <a:cxn ang="0">
                <a:pos x="1426" y="77"/>
              </a:cxn>
              <a:cxn ang="0">
                <a:pos x="1512" y="10"/>
              </a:cxn>
              <a:cxn ang="0">
                <a:pos x="1539" y="100"/>
              </a:cxn>
              <a:cxn ang="0">
                <a:pos x="1485" y="26"/>
              </a:cxn>
            </a:cxnLst>
            <a:rect l="0" t="0" r="r" b="b"/>
            <a:pathLst>
              <a:path w="1543" h="1552">
                <a:moveTo>
                  <a:pt x="110" y="1476"/>
                </a:moveTo>
                <a:cubicBezTo>
                  <a:pt x="114" y="1480"/>
                  <a:pt x="117" y="1485"/>
                  <a:pt x="119" y="1490"/>
                </a:cubicBezTo>
                <a:cubicBezTo>
                  <a:pt x="121" y="1495"/>
                  <a:pt x="121" y="1500"/>
                  <a:pt x="121" y="1505"/>
                </a:cubicBezTo>
                <a:cubicBezTo>
                  <a:pt x="120" y="1510"/>
                  <a:pt x="119" y="1516"/>
                  <a:pt x="116" y="1521"/>
                </a:cubicBezTo>
                <a:cubicBezTo>
                  <a:pt x="113" y="1526"/>
                  <a:pt x="110" y="1530"/>
                  <a:pt x="105" y="1535"/>
                </a:cubicBezTo>
                <a:cubicBezTo>
                  <a:pt x="102" y="1538"/>
                  <a:pt x="99" y="1541"/>
                  <a:pt x="96" y="1543"/>
                </a:cubicBezTo>
                <a:cubicBezTo>
                  <a:pt x="93" y="1545"/>
                  <a:pt x="90" y="1547"/>
                  <a:pt x="87" y="1548"/>
                </a:cubicBezTo>
                <a:cubicBezTo>
                  <a:pt x="84" y="1549"/>
                  <a:pt x="82" y="1550"/>
                  <a:pt x="79" y="1551"/>
                </a:cubicBezTo>
                <a:cubicBezTo>
                  <a:pt x="77" y="1551"/>
                  <a:pt x="75" y="1552"/>
                  <a:pt x="74" y="1552"/>
                </a:cubicBezTo>
                <a:cubicBezTo>
                  <a:pt x="73" y="1552"/>
                  <a:pt x="72" y="1551"/>
                  <a:pt x="71" y="1551"/>
                </a:cubicBezTo>
                <a:cubicBezTo>
                  <a:pt x="70" y="1550"/>
                  <a:pt x="68" y="1549"/>
                  <a:pt x="67" y="1548"/>
                </a:cubicBezTo>
                <a:cubicBezTo>
                  <a:pt x="66" y="1546"/>
                  <a:pt x="65" y="1546"/>
                  <a:pt x="65" y="1545"/>
                </a:cubicBezTo>
                <a:cubicBezTo>
                  <a:pt x="64" y="1544"/>
                  <a:pt x="63" y="1543"/>
                  <a:pt x="63" y="1543"/>
                </a:cubicBezTo>
                <a:cubicBezTo>
                  <a:pt x="63" y="1542"/>
                  <a:pt x="63" y="1541"/>
                  <a:pt x="63" y="1541"/>
                </a:cubicBezTo>
                <a:cubicBezTo>
                  <a:pt x="63" y="1541"/>
                  <a:pt x="63" y="1540"/>
                  <a:pt x="64" y="1540"/>
                </a:cubicBezTo>
                <a:cubicBezTo>
                  <a:pt x="64" y="1539"/>
                  <a:pt x="66" y="1539"/>
                  <a:pt x="68" y="1538"/>
                </a:cubicBezTo>
                <a:cubicBezTo>
                  <a:pt x="70" y="1538"/>
                  <a:pt x="72" y="1537"/>
                  <a:pt x="75" y="1536"/>
                </a:cubicBezTo>
                <a:cubicBezTo>
                  <a:pt x="78" y="1535"/>
                  <a:pt x="81" y="1534"/>
                  <a:pt x="85" y="1532"/>
                </a:cubicBezTo>
                <a:cubicBezTo>
                  <a:pt x="88" y="1530"/>
                  <a:pt x="92" y="1527"/>
                  <a:pt x="95" y="1524"/>
                </a:cubicBezTo>
                <a:cubicBezTo>
                  <a:pt x="98" y="1521"/>
                  <a:pt x="100" y="1518"/>
                  <a:pt x="102" y="1515"/>
                </a:cubicBezTo>
                <a:cubicBezTo>
                  <a:pt x="103" y="1512"/>
                  <a:pt x="104" y="1509"/>
                  <a:pt x="104" y="1507"/>
                </a:cubicBezTo>
                <a:cubicBezTo>
                  <a:pt x="105" y="1504"/>
                  <a:pt x="104" y="1501"/>
                  <a:pt x="103" y="1498"/>
                </a:cubicBezTo>
                <a:cubicBezTo>
                  <a:pt x="102" y="1495"/>
                  <a:pt x="101" y="1493"/>
                  <a:pt x="98" y="1490"/>
                </a:cubicBezTo>
                <a:cubicBezTo>
                  <a:pt x="95" y="1488"/>
                  <a:pt x="93" y="1486"/>
                  <a:pt x="90" y="1485"/>
                </a:cubicBezTo>
                <a:cubicBezTo>
                  <a:pt x="86" y="1485"/>
                  <a:pt x="83" y="1484"/>
                  <a:pt x="80" y="1485"/>
                </a:cubicBezTo>
                <a:cubicBezTo>
                  <a:pt x="76" y="1486"/>
                  <a:pt x="73" y="1486"/>
                  <a:pt x="69" y="1488"/>
                </a:cubicBezTo>
                <a:cubicBezTo>
                  <a:pt x="66" y="1489"/>
                  <a:pt x="62" y="1491"/>
                  <a:pt x="58" y="1492"/>
                </a:cubicBezTo>
                <a:cubicBezTo>
                  <a:pt x="54" y="1493"/>
                  <a:pt x="50" y="1495"/>
                  <a:pt x="46" y="1496"/>
                </a:cubicBezTo>
                <a:cubicBezTo>
                  <a:pt x="42" y="1497"/>
                  <a:pt x="38" y="1497"/>
                  <a:pt x="34" y="1497"/>
                </a:cubicBezTo>
                <a:cubicBezTo>
                  <a:pt x="30" y="1497"/>
                  <a:pt x="26" y="1496"/>
                  <a:pt x="22" y="1495"/>
                </a:cubicBezTo>
                <a:cubicBezTo>
                  <a:pt x="19" y="1493"/>
                  <a:pt x="15" y="1491"/>
                  <a:pt x="11" y="1487"/>
                </a:cubicBezTo>
                <a:cubicBezTo>
                  <a:pt x="7" y="1483"/>
                  <a:pt x="4" y="1479"/>
                  <a:pt x="3" y="1474"/>
                </a:cubicBezTo>
                <a:cubicBezTo>
                  <a:pt x="1" y="1470"/>
                  <a:pt x="0" y="1465"/>
                  <a:pt x="1" y="1461"/>
                </a:cubicBezTo>
                <a:cubicBezTo>
                  <a:pt x="1" y="1456"/>
                  <a:pt x="3" y="1452"/>
                  <a:pt x="5" y="1447"/>
                </a:cubicBezTo>
                <a:cubicBezTo>
                  <a:pt x="8" y="1443"/>
                  <a:pt x="11" y="1438"/>
                  <a:pt x="15" y="1434"/>
                </a:cubicBezTo>
                <a:cubicBezTo>
                  <a:pt x="17" y="1432"/>
                  <a:pt x="19" y="1430"/>
                  <a:pt x="22" y="1429"/>
                </a:cubicBezTo>
                <a:cubicBezTo>
                  <a:pt x="24" y="1427"/>
                  <a:pt x="26" y="1425"/>
                  <a:pt x="29" y="1424"/>
                </a:cubicBezTo>
                <a:cubicBezTo>
                  <a:pt x="31" y="1423"/>
                  <a:pt x="34" y="1422"/>
                  <a:pt x="36" y="1421"/>
                </a:cubicBezTo>
                <a:cubicBezTo>
                  <a:pt x="38" y="1421"/>
                  <a:pt x="40" y="1420"/>
                  <a:pt x="40" y="1420"/>
                </a:cubicBezTo>
                <a:cubicBezTo>
                  <a:pt x="41" y="1420"/>
                  <a:pt x="42" y="1420"/>
                  <a:pt x="42" y="1420"/>
                </a:cubicBezTo>
                <a:cubicBezTo>
                  <a:pt x="43" y="1420"/>
                  <a:pt x="43" y="1421"/>
                  <a:pt x="44" y="1421"/>
                </a:cubicBezTo>
                <a:cubicBezTo>
                  <a:pt x="44" y="1421"/>
                  <a:pt x="45" y="1422"/>
                  <a:pt x="45" y="1422"/>
                </a:cubicBezTo>
                <a:cubicBezTo>
                  <a:pt x="46" y="1423"/>
                  <a:pt x="47" y="1424"/>
                  <a:pt x="48" y="1424"/>
                </a:cubicBezTo>
                <a:cubicBezTo>
                  <a:pt x="49" y="1425"/>
                  <a:pt x="49" y="1426"/>
                  <a:pt x="50" y="1427"/>
                </a:cubicBezTo>
                <a:cubicBezTo>
                  <a:pt x="51" y="1428"/>
                  <a:pt x="51" y="1428"/>
                  <a:pt x="51" y="1429"/>
                </a:cubicBezTo>
                <a:cubicBezTo>
                  <a:pt x="52" y="1429"/>
                  <a:pt x="52" y="1430"/>
                  <a:pt x="52" y="1430"/>
                </a:cubicBezTo>
                <a:cubicBezTo>
                  <a:pt x="52" y="1431"/>
                  <a:pt x="51" y="1431"/>
                  <a:pt x="51" y="1432"/>
                </a:cubicBezTo>
                <a:cubicBezTo>
                  <a:pt x="51" y="1432"/>
                  <a:pt x="49" y="1433"/>
                  <a:pt x="48" y="1433"/>
                </a:cubicBezTo>
                <a:cubicBezTo>
                  <a:pt x="46" y="1434"/>
                  <a:pt x="44" y="1434"/>
                  <a:pt x="41" y="1435"/>
                </a:cubicBezTo>
                <a:cubicBezTo>
                  <a:pt x="39" y="1436"/>
                  <a:pt x="36" y="1437"/>
                  <a:pt x="33" y="1439"/>
                </a:cubicBezTo>
                <a:cubicBezTo>
                  <a:pt x="30" y="1440"/>
                  <a:pt x="27" y="1442"/>
                  <a:pt x="25" y="1445"/>
                </a:cubicBezTo>
                <a:cubicBezTo>
                  <a:pt x="22" y="1448"/>
                  <a:pt x="20" y="1450"/>
                  <a:pt x="19" y="1453"/>
                </a:cubicBezTo>
                <a:cubicBezTo>
                  <a:pt x="18" y="1455"/>
                  <a:pt x="17" y="1458"/>
                  <a:pt x="17" y="1460"/>
                </a:cubicBezTo>
                <a:cubicBezTo>
                  <a:pt x="17" y="1463"/>
                  <a:pt x="17" y="1465"/>
                  <a:pt x="18" y="1467"/>
                </a:cubicBezTo>
                <a:cubicBezTo>
                  <a:pt x="19" y="1469"/>
                  <a:pt x="21" y="1471"/>
                  <a:pt x="22" y="1473"/>
                </a:cubicBezTo>
                <a:cubicBezTo>
                  <a:pt x="25" y="1476"/>
                  <a:pt x="28" y="1477"/>
                  <a:pt x="31" y="1478"/>
                </a:cubicBezTo>
                <a:cubicBezTo>
                  <a:pt x="34" y="1479"/>
                  <a:pt x="37" y="1479"/>
                  <a:pt x="41" y="1478"/>
                </a:cubicBezTo>
                <a:cubicBezTo>
                  <a:pt x="44" y="1478"/>
                  <a:pt x="48" y="1477"/>
                  <a:pt x="51" y="1475"/>
                </a:cubicBezTo>
                <a:cubicBezTo>
                  <a:pt x="55" y="1474"/>
                  <a:pt x="59" y="1473"/>
                  <a:pt x="63" y="1471"/>
                </a:cubicBezTo>
                <a:cubicBezTo>
                  <a:pt x="66" y="1470"/>
                  <a:pt x="70" y="1469"/>
                  <a:pt x="74" y="1467"/>
                </a:cubicBezTo>
                <a:cubicBezTo>
                  <a:pt x="78" y="1466"/>
                  <a:pt x="82" y="1466"/>
                  <a:pt x="86" y="1466"/>
                </a:cubicBezTo>
                <a:cubicBezTo>
                  <a:pt x="90" y="1466"/>
                  <a:pt x="94" y="1467"/>
                  <a:pt x="98" y="1468"/>
                </a:cubicBezTo>
                <a:cubicBezTo>
                  <a:pt x="102" y="1470"/>
                  <a:pt x="106" y="1472"/>
                  <a:pt x="110" y="1476"/>
                </a:cubicBezTo>
                <a:close/>
                <a:moveTo>
                  <a:pt x="206" y="1428"/>
                </a:moveTo>
                <a:cubicBezTo>
                  <a:pt x="206" y="1429"/>
                  <a:pt x="207" y="1429"/>
                  <a:pt x="207" y="1429"/>
                </a:cubicBezTo>
                <a:cubicBezTo>
                  <a:pt x="207" y="1430"/>
                  <a:pt x="207" y="1430"/>
                  <a:pt x="206" y="1431"/>
                </a:cubicBezTo>
                <a:cubicBezTo>
                  <a:pt x="206" y="1432"/>
                  <a:pt x="206" y="1432"/>
                  <a:pt x="205" y="1433"/>
                </a:cubicBezTo>
                <a:cubicBezTo>
                  <a:pt x="205" y="1434"/>
                  <a:pt x="204" y="1435"/>
                  <a:pt x="203" y="1436"/>
                </a:cubicBezTo>
                <a:cubicBezTo>
                  <a:pt x="202" y="1437"/>
                  <a:pt x="201" y="1438"/>
                  <a:pt x="200" y="1438"/>
                </a:cubicBezTo>
                <a:cubicBezTo>
                  <a:pt x="199" y="1439"/>
                  <a:pt x="198" y="1439"/>
                  <a:pt x="198" y="1440"/>
                </a:cubicBezTo>
                <a:cubicBezTo>
                  <a:pt x="197" y="1440"/>
                  <a:pt x="197" y="1440"/>
                  <a:pt x="196" y="1440"/>
                </a:cubicBezTo>
                <a:cubicBezTo>
                  <a:pt x="196" y="1440"/>
                  <a:pt x="196" y="1439"/>
                  <a:pt x="195" y="1439"/>
                </a:cubicBezTo>
                <a:lnTo>
                  <a:pt x="187" y="1430"/>
                </a:lnTo>
                <a:cubicBezTo>
                  <a:pt x="187" y="1438"/>
                  <a:pt x="186" y="1445"/>
                  <a:pt x="185" y="1450"/>
                </a:cubicBezTo>
                <a:cubicBezTo>
                  <a:pt x="183" y="1456"/>
                  <a:pt x="180" y="1460"/>
                  <a:pt x="176" y="1464"/>
                </a:cubicBezTo>
                <a:cubicBezTo>
                  <a:pt x="172" y="1468"/>
                  <a:pt x="168" y="1471"/>
                  <a:pt x="163" y="1473"/>
                </a:cubicBezTo>
                <a:cubicBezTo>
                  <a:pt x="159" y="1474"/>
                  <a:pt x="155" y="1475"/>
                  <a:pt x="150" y="1474"/>
                </a:cubicBezTo>
                <a:cubicBezTo>
                  <a:pt x="146" y="1473"/>
                  <a:pt x="142" y="1472"/>
                  <a:pt x="138" y="1469"/>
                </a:cubicBezTo>
                <a:cubicBezTo>
                  <a:pt x="134" y="1467"/>
                  <a:pt x="129" y="1463"/>
                  <a:pt x="125" y="1458"/>
                </a:cubicBezTo>
                <a:lnTo>
                  <a:pt x="86" y="1419"/>
                </a:lnTo>
                <a:cubicBezTo>
                  <a:pt x="85" y="1419"/>
                  <a:pt x="85" y="1418"/>
                  <a:pt x="85" y="1418"/>
                </a:cubicBezTo>
                <a:cubicBezTo>
                  <a:pt x="85" y="1418"/>
                  <a:pt x="85" y="1417"/>
                  <a:pt x="85" y="1416"/>
                </a:cubicBezTo>
                <a:cubicBezTo>
                  <a:pt x="85" y="1416"/>
                  <a:pt x="86" y="1415"/>
                  <a:pt x="86" y="1414"/>
                </a:cubicBezTo>
                <a:cubicBezTo>
                  <a:pt x="87" y="1413"/>
                  <a:pt x="88" y="1412"/>
                  <a:pt x="89" y="1411"/>
                </a:cubicBezTo>
                <a:cubicBezTo>
                  <a:pt x="90" y="1410"/>
                  <a:pt x="91" y="1409"/>
                  <a:pt x="92" y="1408"/>
                </a:cubicBezTo>
                <a:cubicBezTo>
                  <a:pt x="93" y="1408"/>
                  <a:pt x="94" y="1407"/>
                  <a:pt x="95" y="1407"/>
                </a:cubicBezTo>
                <a:cubicBezTo>
                  <a:pt x="95" y="1407"/>
                  <a:pt x="96" y="1407"/>
                  <a:pt x="96" y="1407"/>
                </a:cubicBezTo>
                <a:cubicBezTo>
                  <a:pt x="97" y="1407"/>
                  <a:pt x="97" y="1407"/>
                  <a:pt x="97" y="1407"/>
                </a:cubicBezTo>
                <a:lnTo>
                  <a:pt x="135" y="1445"/>
                </a:lnTo>
                <a:cubicBezTo>
                  <a:pt x="139" y="1449"/>
                  <a:pt x="142" y="1451"/>
                  <a:pt x="145" y="1453"/>
                </a:cubicBezTo>
                <a:cubicBezTo>
                  <a:pt x="148" y="1455"/>
                  <a:pt x="151" y="1456"/>
                  <a:pt x="153" y="1457"/>
                </a:cubicBezTo>
                <a:cubicBezTo>
                  <a:pt x="156" y="1457"/>
                  <a:pt x="159" y="1457"/>
                  <a:pt x="161" y="1456"/>
                </a:cubicBezTo>
                <a:cubicBezTo>
                  <a:pt x="164" y="1455"/>
                  <a:pt x="166" y="1454"/>
                  <a:pt x="169" y="1451"/>
                </a:cubicBezTo>
                <a:cubicBezTo>
                  <a:pt x="172" y="1448"/>
                  <a:pt x="174" y="1444"/>
                  <a:pt x="174" y="1439"/>
                </a:cubicBezTo>
                <a:cubicBezTo>
                  <a:pt x="175" y="1434"/>
                  <a:pt x="175" y="1428"/>
                  <a:pt x="175" y="1421"/>
                </a:cubicBezTo>
                <a:lnTo>
                  <a:pt x="129" y="1375"/>
                </a:lnTo>
                <a:cubicBezTo>
                  <a:pt x="129" y="1375"/>
                  <a:pt x="129" y="1375"/>
                  <a:pt x="129" y="1374"/>
                </a:cubicBezTo>
                <a:cubicBezTo>
                  <a:pt x="129" y="1374"/>
                  <a:pt x="129" y="1373"/>
                  <a:pt x="129" y="1373"/>
                </a:cubicBezTo>
                <a:cubicBezTo>
                  <a:pt x="129" y="1372"/>
                  <a:pt x="130" y="1371"/>
                  <a:pt x="130" y="1370"/>
                </a:cubicBezTo>
                <a:cubicBezTo>
                  <a:pt x="131" y="1369"/>
                  <a:pt x="132" y="1368"/>
                  <a:pt x="133" y="1367"/>
                </a:cubicBezTo>
                <a:cubicBezTo>
                  <a:pt x="134" y="1366"/>
                  <a:pt x="135" y="1365"/>
                  <a:pt x="136" y="1364"/>
                </a:cubicBezTo>
                <a:cubicBezTo>
                  <a:pt x="137" y="1364"/>
                  <a:pt x="138" y="1363"/>
                  <a:pt x="138" y="1363"/>
                </a:cubicBezTo>
                <a:cubicBezTo>
                  <a:pt x="139" y="1363"/>
                  <a:pt x="139" y="1363"/>
                  <a:pt x="140" y="1363"/>
                </a:cubicBezTo>
                <a:cubicBezTo>
                  <a:pt x="140" y="1363"/>
                  <a:pt x="141" y="1363"/>
                  <a:pt x="141" y="1364"/>
                </a:cubicBezTo>
                <a:lnTo>
                  <a:pt x="206" y="1428"/>
                </a:lnTo>
                <a:close/>
                <a:moveTo>
                  <a:pt x="256" y="1312"/>
                </a:moveTo>
                <a:cubicBezTo>
                  <a:pt x="262" y="1317"/>
                  <a:pt x="266" y="1323"/>
                  <a:pt x="269" y="1329"/>
                </a:cubicBezTo>
                <a:cubicBezTo>
                  <a:pt x="273" y="1334"/>
                  <a:pt x="275" y="1340"/>
                  <a:pt x="275" y="1345"/>
                </a:cubicBezTo>
                <a:cubicBezTo>
                  <a:pt x="276" y="1351"/>
                  <a:pt x="276" y="1356"/>
                  <a:pt x="274" y="1361"/>
                </a:cubicBezTo>
                <a:cubicBezTo>
                  <a:pt x="272" y="1367"/>
                  <a:pt x="269" y="1371"/>
                  <a:pt x="265" y="1376"/>
                </a:cubicBezTo>
                <a:cubicBezTo>
                  <a:pt x="262" y="1378"/>
                  <a:pt x="260" y="1380"/>
                  <a:pt x="258" y="1381"/>
                </a:cubicBezTo>
                <a:cubicBezTo>
                  <a:pt x="256" y="1382"/>
                  <a:pt x="254" y="1383"/>
                  <a:pt x="251" y="1384"/>
                </a:cubicBezTo>
                <a:cubicBezTo>
                  <a:pt x="249" y="1385"/>
                  <a:pt x="246" y="1385"/>
                  <a:pt x="243" y="1386"/>
                </a:cubicBezTo>
                <a:cubicBezTo>
                  <a:pt x="240" y="1386"/>
                  <a:pt x="236" y="1386"/>
                  <a:pt x="232" y="1386"/>
                </a:cubicBezTo>
                <a:lnTo>
                  <a:pt x="240" y="1394"/>
                </a:lnTo>
                <a:cubicBezTo>
                  <a:pt x="241" y="1394"/>
                  <a:pt x="241" y="1395"/>
                  <a:pt x="241" y="1395"/>
                </a:cubicBezTo>
                <a:cubicBezTo>
                  <a:pt x="241" y="1396"/>
                  <a:pt x="241" y="1396"/>
                  <a:pt x="241" y="1397"/>
                </a:cubicBezTo>
                <a:cubicBezTo>
                  <a:pt x="240" y="1397"/>
                  <a:pt x="240" y="1398"/>
                  <a:pt x="239" y="1399"/>
                </a:cubicBezTo>
                <a:cubicBezTo>
                  <a:pt x="239" y="1399"/>
                  <a:pt x="238" y="1400"/>
                  <a:pt x="237" y="1401"/>
                </a:cubicBezTo>
                <a:cubicBezTo>
                  <a:pt x="236" y="1402"/>
                  <a:pt x="235" y="1403"/>
                  <a:pt x="235" y="1404"/>
                </a:cubicBezTo>
                <a:cubicBezTo>
                  <a:pt x="234" y="1404"/>
                  <a:pt x="233" y="1405"/>
                  <a:pt x="232" y="1405"/>
                </a:cubicBezTo>
                <a:cubicBezTo>
                  <a:pt x="232" y="1405"/>
                  <a:pt x="231" y="1405"/>
                  <a:pt x="231" y="1405"/>
                </a:cubicBezTo>
                <a:cubicBezTo>
                  <a:pt x="231" y="1405"/>
                  <a:pt x="230" y="1405"/>
                  <a:pt x="230" y="1404"/>
                </a:cubicBezTo>
                <a:lnTo>
                  <a:pt x="134" y="1308"/>
                </a:lnTo>
                <a:cubicBezTo>
                  <a:pt x="133" y="1308"/>
                  <a:pt x="133" y="1308"/>
                  <a:pt x="133" y="1307"/>
                </a:cubicBezTo>
                <a:cubicBezTo>
                  <a:pt x="133" y="1307"/>
                  <a:pt x="133" y="1306"/>
                  <a:pt x="133" y="1305"/>
                </a:cubicBezTo>
                <a:cubicBezTo>
                  <a:pt x="133" y="1305"/>
                  <a:pt x="134" y="1304"/>
                  <a:pt x="135" y="1303"/>
                </a:cubicBezTo>
                <a:cubicBezTo>
                  <a:pt x="135" y="1302"/>
                  <a:pt x="136" y="1301"/>
                  <a:pt x="137" y="1300"/>
                </a:cubicBezTo>
                <a:cubicBezTo>
                  <a:pt x="139" y="1299"/>
                  <a:pt x="140" y="1298"/>
                  <a:pt x="140" y="1297"/>
                </a:cubicBezTo>
                <a:cubicBezTo>
                  <a:pt x="141" y="1297"/>
                  <a:pt x="142" y="1296"/>
                  <a:pt x="143" y="1296"/>
                </a:cubicBezTo>
                <a:cubicBezTo>
                  <a:pt x="143" y="1296"/>
                  <a:pt x="144" y="1296"/>
                  <a:pt x="144" y="1296"/>
                </a:cubicBezTo>
                <a:cubicBezTo>
                  <a:pt x="145" y="1296"/>
                  <a:pt x="145" y="1296"/>
                  <a:pt x="146" y="1297"/>
                </a:cubicBezTo>
                <a:lnTo>
                  <a:pt x="184" y="1335"/>
                </a:lnTo>
                <a:cubicBezTo>
                  <a:pt x="184" y="1331"/>
                  <a:pt x="184" y="1328"/>
                  <a:pt x="185" y="1325"/>
                </a:cubicBezTo>
                <a:cubicBezTo>
                  <a:pt x="185" y="1322"/>
                  <a:pt x="186" y="1319"/>
                  <a:pt x="187" y="1316"/>
                </a:cubicBezTo>
                <a:cubicBezTo>
                  <a:pt x="188" y="1314"/>
                  <a:pt x="189" y="1311"/>
                  <a:pt x="190" y="1309"/>
                </a:cubicBezTo>
                <a:cubicBezTo>
                  <a:pt x="192" y="1307"/>
                  <a:pt x="193" y="1305"/>
                  <a:pt x="195" y="1303"/>
                </a:cubicBezTo>
                <a:cubicBezTo>
                  <a:pt x="200" y="1298"/>
                  <a:pt x="205" y="1295"/>
                  <a:pt x="210" y="1294"/>
                </a:cubicBezTo>
                <a:cubicBezTo>
                  <a:pt x="215" y="1292"/>
                  <a:pt x="220" y="1292"/>
                  <a:pt x="226" y="1293"/>
                </a:cubicBezTo>
                <a:cubicBezTo>
                  <a:pt x="231" y="1294"/>
                  <a:pt x="236" y="1297"/>
                  <a:pt x="241" y="1300"/>
                </a:cubicBezTo>
                <a:cubicBezTo>
                  <a:pt x="246" y="1303"/>
                  <a:pt x="251" y="1307"/>
                  <a:pt x="256" y="1312"/>
                </a:cubicBezTo>
                <a:close/>
                <a:moveTo>
                  <a:pt x="245" y="1325"/>
                </a:moveTo>
                <a:cubicBezTo>
                  <a:pt x="242" y="1322"/>
                  <a:pt x="238" y="1319"/>
                  <a:pt x="235" y="1316"/>
                </a:cubicBezTo>
                <a:cubicBezTo>
                  <a:pt x="231" y="1314"/>
                  <a:pt x="227" y="1312"/>
                  <a:pt x="224" y="1311"/>
                </a:cubicBezTo>
                <a:cubicBezTo>
                  <a:pt x="220" y="1310"/>
                  <a:pt x="217" y="1309"/>
                  <a:pt x="213" y="1310"/>
                </a:cubicBezTo>
                <a:cubicBezTo>
                  <a:pt x="210" y="1311"/>
                  <a:pt x="206" y="1312"/>
                  <a:pt x="203" y="1316"/>
                </a:cubicBezTo>
                <a:cubicBezTo>
                  <a:pt x="202" y="1317"/>
                  <a:pt x="200" y="1319"/>
                  <a:pt x="199" y="1321"/>
                </a:cubicBezTo>
                <a:cubicBezTo>
                  <a:pt x="198" y="1323"/>
                  <a:pt x="197" y="1325"/>
                  <a:pt x="197" y="1327"/>
                </a:cubicBezTo>
                <a:cubicBezTo>
                  <a:pt x="196" y="1330"/>
                  <a:pt x="196" y="1333"/>
                  <a:pt x="196" y="1336"/>
                </a:cubicBezTo>
                <a:cubicBezTo>
                  <a:pt x="196" y="1339"/>
                  <a:pt x="196" y="1343"/>
                  <a:pt x="197" y="1347"/>
                </a:cubicBezTo>
                <a:lnTo>
                  <a:pt x="222" y="1373"/>
                </a:lnTo>
                <a:cubicBezTo>
                  <a:pt x="230" y="1374"/>
                  <a:pt x="236" y="1374"/>
                  <a:pt x="241" y="1373"/>
                </a:cubicBezTo>
                <a:cubicBezTo>
                  <a:pt x="246" y="1372"/>
                  <a:pt x="250" y="1370"/>
                  <a:pt x="253" y="1367"/>
                </a:cubicBezTo>
                <a:cubicBezTo>
                  <a:pt x="256" y="1364"/>
                  <a:pt x="258" y="1360"/>
                  <a:pt x="259" y="1357"/>
                </a:cubicBezTo>
                <a:cubicBezTo>
                  <a:pt x="259" y="1353"/>
                  <a:pt x="259" y="1350"/>
                  <a:pt x="258" y="1346"/>
                </a:cubicBezTo>
                <a:cubicBezTo>
                  <a:pt x="257" y="1342"/>
                  <a:pt x="255" y="1339"/>
                  <a:pt x="253" y="1335"/>
                </a:cubicBezTo>
                <a:cubicBezTo>
                  <a:pt x="251" y="1332"/>
                  <a:pt x="248" y="1328"/>
                  <a:pt x="245" y="1325"/>
                </a:cubicBezTo>
                <a:close/>
                <a:moveTo>
                  <a:pt x="332" y="1267"/>
                </a:moveTo>
                <a:cubicBezTo>
                  <a:pt x="335" y="1270"/>
                  <a:pt x="338" y="1274"/>
                  <a:pt x="339" y="1278"/>
                </a:cubicBezTo>
                <a:cubicBezTo>
                  <a:pt x="340" y="1281"/>
                  <a:pt x="341" y="1285"/>
                  <a:pt x="340" y="1289"/>
                </a:cubicBezTo>
                <a:cubicBezTo>
                  <a:pt x="340" y="1293"/>
                  <a:pt x="338" y="1297"/>
                  <a:pt x="336" y="1301"/>
                </a:cubicBezTo>
                <a:cubicBezTo>
                  <a:pt x="334" y="1305"/>
                  <a:pt x="331" y="1309"/>
                  <a:pt x="327" y="1313"/>
                </a:cubicBezTo>
                <a:cubicBezTo>
                  <a:pt x="325" y="1315"/>
                  <a:pt x="323" y="1317"/>
                  <a:pt x="320" y="1319"/>
                </a:cubicBezTo>
                <a:cubicBezTo>
                  <a:pt x="318" y="1321"/>
                  <a:pt x="315" y="1322"/>
                  <a:pt x="313" y="1323"/>
                </a:cubicBezTo>
                <a:cubicBezTo>
                  <a:pt x="311" y="1324"/>
                  <a:pt x="309" y="1325"/>
                  <a:pt x="307" y="1326"/>
                </a:cubicBezTo>
                <a:cubicBezTo>
                  <a:pt x="306" y="1326"/>
                  <a:pt x="304" y="1327"/>
                  <a:pt x="303" y="1327"/>
                </a:cubicBezTo>
                <a:cubicBezTo>
                  <a:pt x="302" y="1327"/>
                  <a:pt x="301" y="1326"/>
                  <a:pt x="300" y="1326"/>
                </a:cubicBezTo>
                <a:cubicBezTo>
                  <a:pt x="299" y="1325"/>
                  <a:pt x="298" y="1324"/>
                  <a:pt x="296" y="1323"/>
                </a:cubicBezTo>
                <a:cubicBezTo>
                  <a:pt x="295" y="1322"/>
                  <a:pt x="295" y="1321"/>
                  <a:pt x="294" y="1320"/>
                </a:cubicBezTo>
                <a:cubicBezTo>
                  <a:pt x="293" y="1320"/>
                  <a:pt x="293" y="1319"/>
                  <a:pt x="293" y="1318"/>
                </a:cubicBezTo>
                <a:cubicBezTo>
                  <a:pt x="293" y="1318"/>
                  <a:pt x="293" y="1317"/>
                  <a:pt x="293" y="1317"/>
                </a:cubicBezTo>
                <a:cubicBezTo>
                  <a:pt x="293" y="1317"/>
                  <a:pt x="293" y="1316"/>
                  <a:pt x="293" y="1316"/>
                </a:cubicBezTo>
                <a:cubicBezTo>
                  <a:pt x="294" y="1315"/>
                  <a:pt x="295" y="1315"/>
                  <a:pt x="297" y="1314"/>
                </a:cubicBezTo>
                <a:cubicBezTo>
                  <a:pt x="298" y="1314"/>
                  <a:pt x="300" y="1313"/>
                  <a:pt x="302" y="1313"/>
                </a:cubicBezTo>
                <a:cubicBezTo>
                  <a:pt x="305" y="1312"/>
                  <a:pt x="307" y="1311"/>
                  <a:pt x="310" y="1310"/>
                </a:cubicBezTo>
                <a:cubicBezTo>
                  <a:pt x="313" y="1308"/>
                  <a:pt x="315" y="1306"/>
                  <a:pt x="318" y="1303"/>
                </a:cubicBezTo>
                <a:cubicBezTo>
                  <a:pt x="320" y="1301"/>
                  <a:pt x="322" y="1299"/>
                  <a:pt x="323" y="1297"/>
                </a:cubicBezTo>
                <a:cubicBezTo>
                  <a:pt x="324" y="1295"/>
                  <a:pt x="325" y="1293"/>
                  <a:pt x="325" y="1291"/>
                </a:cubicBezTo>
                <a:cubicBezTo>
                  <a:pt x="326" y="1289"/>
                  <a:pt x="325" y="1287"/>
                  <a:pt x="325" y="1285"/>
                </a:cubicBezTo>
                <a:cubicBezTo>
                  <a:pt x="324" y="1283"/>
                  <a:pt x="323" y="1281"/>
                  <a:pt x="321" y="1280"/>
                </a:cubicBezTo>
                <a:cubicBezTo>
                  <a:pt x="319" y="1278"/>
                  <a:pt x="317" y="1277"/>
                  <a:pt x="315" y="1276"/>
                </a:cubicBezTo>
                <a:cubicBezTo>
                  <a:pt x="313" y="1276"/>
                  <a:pt x="311" y="1276"/>
                  <a:pt x="308" y="1277"/>
                </a:cubicBezTo>
                <a:cubicBezTo>
                  <a:pt x="306" y="1277"/>
                  <a:pt x="303" y="1278"/>
                  <a:pt x="300" y="1279"/>
                </a:cubicBezTo>
                <a:cubicBezTo>
                  <a:pt x="298" y="1281"/>
                  <a:pt x="295" y="1282"/>
                  <a:pt x="292" y="1283"/>
                </a:cubicBezTo>
                <a:cubicBezTo>
                  <a:pt x="289" y="1284"/>
                  <a:pt x="286" y="1285"/>
                  <a:pt x="283" y="1286"/>
                </a:cubicBezTo>
                <a:cubicBezTo>
                  <a:pt x="280" y="1287"/>
                  <a:pt x="277" y="1288"/>
                  <a:pt x="274" y="1288"/>
                </a:cubicBezTo>
                <a:cubicBezTo>
                  <a:pt x="271" y="1288"/>
                  <a:pt x="268" y="1287"/>
                  <a:pt x="265" y="1286"/>
                </a:cubicBezTo>
                <a:cubicBezTo>
                  <a:pt x="262" y="1285"/>
                  <a:pt x="260" y="1283"/>
                  <a:pt x="257" y="1280"/>
                </a:cubicBezTo>
                <a:cubicBezTo>
                  <a:pt x="254" y="1277"/>
                  <a:pt x="252" y="1275"/>
                  <a:pt x="251" y="1271"/>
                </a:cubicBezTo>
                <a:cubicBezTo>
                  <a:pt x="249" y="1268"/>
                  <a:pt x="249" y="1264"/>
                  <a:pt x="249" y="1261"/>
                </a:cubicBezTo>
                <a:cubicBezTo>
                  <a:pt x="249" y="1257"/>
                  <a:pt x="250" y="1253"/>
                  <a:pt x="252" y="1249"/>
                </a:cubicBezTo>
                <a:cubicBezTo>
                  <a:pt x="254" y="1245"/>
                  <a:pt x="257" y="1241"/>
                  <a:pt x="261" y="1237"/>
                </a:cubicBezTo>
                <a:cubicBezTo>
                  <a:pt x="263" y="1236"/>
                  <a:pt x="265" y="1234"/>
                  <a:pt x="267" y="1233"/>
                </a:cubicBezTo>
                <a:cubicBezTo>
                  <a:pt x="269" y="1231"/>
                  <a:pt x="271" y="1230"/>
                  <a:pt x="272" y="1229"/>
                </a:cubicBezTo>
                <a:cubicBezTo>
                  <a:pt x="274" y="1228"/>
                  <a:pt x="276" y="1227"/>
                  <a:pt x="277" y="1227"/>
                </a:cubicBezTo>
                <a:cubicBezTo>
                  <a:pt x="279" y="1226"/>
                  <a:pt x="280" y="1226"/>
                  <a:pt x="281" y="1226"/>
                </a:cubicBezTo>
                <a:cubicBezTo>
                  <a:pt x="282" y="1226"/>
                  <a:pt x="282" y="1226"/>
                  <a:pt x="283" y="1226"/>
                </a:cubicBezTo>
                <a:cubicBezTo>
                  <a:pt x="283" y="1226"/>
                  <a:pt x="284" y="1226"/>
                  <a:pt x="284" y="1227"/>
                </a:cubicBezTo>
                <a:cubicBezTo>
                  <a:pt x="285" y="1227"/>
                  <a:pt x="285" y="1227"/>
                  <a:pt x="286" y="1228"/>
                </a:cubicBezTo>
                <a:cubicBezTo>
                  <a:pt x="286" y="1228"/>
                  <a:pt x="287" y="1229"/>
                  <a:pt x="288" y="1229"/>
                </a:cubicBezTo>
                <a:cubicBezTo>
                  <a:pt x="289" y="1230"/>
                  <a:pt x="289" y="1231"/>
                  <a:pt x="290" y="1232"/>
                </a:cubicBezTo>
                <a:cubicBezTo>
                  <a:pt x="290" y="1232"/>
                  <a:pt x="291" y="1233"/>
                  <a:pt x="291" y="1234"/>
                </a:cubicBezTo>
                <a:cubicBezTo>
                  <a:pt x="291" y="1234"/>
                  <a:pt x="291" y="1235"/>
                  <a:pt x="291" y="1235"/>
                </a:cubicBezTo>
                <a:cubicBezTo>
                  <a:pt x="291" y="1235"/>
                  <a:pt x="291" y="1236"/>
                  <a:pt x="291" y="1236"/>
                </a:cubicBezTo>
                <a:cubicBezTo>
                  <a:pt x="290" y="1236"/>
                  <a:pt x="289" y="1237"/>
                  <a:pt x="288" y="1237"/>
                </a:cubicBezTo>
                <a:cubicBezTo>
                  <a:pt x="287" y="1237"/>
                  <a:pt x="285" y="1238"/>
                  <a:pt x="283" y="1239"/>
                </a:cubicBezTo>
                <a:cubicBezTo>
                  <a:pt x="281" y="1239"/>
                  <a:pt x="279" y="1240"/>
                  <a:pt x="277" y="1241"/>
                </a:cubicBezTo>
                <a:cubicBezTo>
                  <a:pt x="275" y="1243"/>
                  <a:pt x="272" y="1244"/>
                  <a:pt x="270" y="1247"/>
                </a:cubicBezTo>
                <a:cubicBezTo>
                  <a:pt x="268" y="1249"/>
                  <a:pt x="267" y="1251"/>
                  <a:pt x="265" y="1253"/>
                </a:cubicBezTo>
                <a:cubicBezTo>
                  <a:pt x="264" y="1255"/>
                  <a:pt x="264" y="1257"/>
                  <a:pt x="264" y="1258"/>
                </a:cubicBezTo>
                <a:cubicBezTo>
                  <a:pt x="263" y="1260"/>
                  <a:pt x="264" y="1262"/>
                  <a:pt x="264" y="1264"/>
                </a:cubicBezTo>
                <a:cubicBezTo>
                  <a:pt x="265" y="1265"/>
                  <a:pt x="266" y="1267"/>
                  <a:pt x="267" y="1268"/>
                </a:cubicBezTo>
                <a:cubicBezTo>
                  <a:pt x="269" y="1270"/>
                  <a:pt x="271" y="1271"/>
                  <a:pt x="273" y="1271"/>
                </a:cubicBezTo>
                <a:cubicBezTo>
                  <a:pt x="276" y="1272"/>
                  <a:pt x="278" y="1271"/>
                  <a:pt x="281" y="1271"/>
                </a:cubicBezTo>
                <a:cubicBezTo>
                  <a:pt x="283" y="1270"/>
                  <a:pt x="286" y="1269"/>
                  <a:pt x="288" y="1268"/>
                </a:cubicBezTo>
                <a:cubicBezTo>
                  <a:pt x="291" y="1267"/>
                  <a:pt x="294" y="1266"/>
                  <a:pt x="297" y="1265"/>
                </a:cubicBezTo>
                <a:cubicBezTo>
                  <a:pt x="300" y="1263"/>
                  <a:pt x="303" y="1262"/>
                  <a:pt x="306" y="1261"/>
                </a:cubicBezTo>
                <a:cubicBezTo>
                  <a:pt x="308" y="1260"/>
                  <a:pt x="311" y="1260"/>
                  <a:pt x="314" y="1260"/>
                </a:cubicBezTo>
                <a:cubicBezTo>
                  <a:pt x="317" y="1260"/>
                  <a:pt x="320" y="1260"/>
                  <a:pt x="323" y="1261"/>
                </a:cubicBezTo>
                <a:cubicBezTo>
                  <a:pt x="326" y="1262"/>
                  <a:pt x="329" y="1264"/>
                  <a:pt x="332" y="1267"/>
                </a:cubicBezTo>
                <a:close/>
                <a:moveTo>
                  <a:pt x="394" y="1230"/>
                </a:moveTo>
                <a:cubicBezTo>
                  <a:pt x="396" y="1232"/>
                  <a:pt x="397" y="1233"/>
                  <a:pt x="397" y="1234"/>
                </a:cubicBezTo>
                <a:cubicBezTo>
                  <a:pt x="398" y="1235"/>
                  <a:pt x="398" y="1236"/>
                  <a:pt x="398" y="1236"/>
                </a:cubicBezTo>
                <a:cubicBezTo>
                  <a:pt x="398" y="1237"/>
                  <a:pt x="398" y="1238"/>
                  <a:pt x="398" y="1239"/>
                </a:cubicBezTo>
                <a:cubicBezTo>
                  <a:pt x="397" y="1240"/>
                  <a:pt x="397" y="1242"/>
                  <a:pt x="396" y="1243"/>
                </a:cubicBezTo>
                <a:cubicBezTo>
                  <a:pt x="395" y="1244"/>
                  <a:pt x="394" y="1245"/>
                  <a:pt x="393" y="1246"/>
                </a:cubicBezTo>
                <a:cubicBezTo>
                  <a:pt x="392" y="1248"/>
                  <a:pt x="391" y="1249"/>
                  <a:pt x="390" y="1250"/>
                </a:cubicBezTo>
                <a:cubicBezTo>
                  <a:pt x="387" y="1253"/>
                  <a:pt x="384" y="1256"/>
                  <a:pt x="380" y="1257"/>
                </a:cubicBezTo>
                <a:cubicBezTo>
                  <a:pt x="377" y="1259"/>
                  <a:pt x="374" y="1259"/>
                  <a:pt x="370" y="1259"/>
                </a:cubicBezTo>
                <a:cubicBezTo>
                  <a:pt x="367" y="1259"/>
                  <a:pt x="364" y="1258"/>
                  <a:pt x="360" y="1256"/>
                </a:cubicBezTo>
                <a:cubicBezTo>
                  <a:pt x="357" y="1253"/>
                  <a:pt x="353" y="1251"/>
                  <a:pt x="349" y="1247"/>
                </a:cubicBezTo>
                <a:lnTo>
                  <a:pt x="312" y="1209"/>
                </a:lnTo>
                <a:lnTo>
                  <a:pt x="303" y="1218"/>
                </a:lnTo>
                <a:cubicBezTo>
                  <a:pt x="302" y="1219"/>
                  <a:pt x="301" y="1219"/>
                  <a:pt x="300" y="1219"/>
                </a:cubicBezTo>
                <a:cubicBezTo>
                  <a:pt x="299" y="1218"/>
                  <a:pt x="297" y="1217"/>
                  <a:pt x="295" y="1216"/>
                </a:cubicBezTo>
                <a:cubicBezTo>
                  <a:pt x="294" y="1215"/>
                  <a:pt x="294" y="1214"/>
                  <a:pt x="293" y="1213"/>
                </a:cubicBezTo>
                <a:cubicBezTo>
                  <a:pt x="293" y="1212"/>
                  <a:pt x="292" y="1212"/>
                  <a:pt x="292" y="1211"/>
                </a:cubicBezTo>
                <a:cubicBezTo>
                  <a:pt x="292" y="1211"/>
                  <a:pt x="292" y="1210"/>
                  <a:pt x="292" y="1210"/>
                </a:cubicBezTo>
                <a:cubicBezTo>
                  <a:pt x="292" y="1209"/>
                  <a:pt x="292" y="1209"/>
                  <a:pt x="293" y="1208"/>
                </a:cubicBezTo>
                <a:lnTo>
                  <a:pt x="302" y="1199"/>
                </a:lnTo>
                <a:lnTo>
                  <a:pt x="286" y="1184"/>
                </a:lnTo>
                <a:cubicBezTo>
                  <a:pt x="286" y="1184"/>
                  <a:pt x="286" y="1183"/>
                  <a:pt x="286" y="1183"/>
                </a:cubicBezTo>
                <a:cubicBezTo>
                  <a:pt x="286" y="1182"/>
                  <a:pt x="286" y="1182"/>
                  <a:pt x="286" y="1181"/>
                </a:cubicBezTo>
                <a:cubicBezTo>
                  <a:pt x="286" y="1180"/>
                  <a:pt x="287" y="1180"/>
                  <a:pt x="287" y="1179"/>
                </a:cubicBezTo>
                <a:cubicBezTo>
                  <a:pt x="288" y="1178"/>
                  <a:pt x="289" y="1177"/>
                  <a:pt x="290" y="1176"/>
                </a:cubicBezTo>
                <a:cubicBezTo>
                  <a:pt x="291" y="1175"/>
                  <a:pt x="292" y="1174"/>
                  <a:pt x="293" y="1173"/>
                </a:cubicBezTo>
                <a:cubicBezTo>
                  <a:pt x="294" y="1172"/>
                  <a:pt x="295" y="1172"/>
                  <a:pt x="295" y="1172"/>
                </a:cubicBezTo>
                <a:cubicBezTo>
                  <a:pt x="296" y="1171"/>
                  <a:pt x="297" y="1171"/>
                  <a:pt x="297" y="1171"/>
                </a:cubicBezTo>
                <a:cubicBezTo>
                  <a:pt x="298" y="1171"/>
                  <a:pt x="298" y="1172"/>
                  <a:pt x="298" y="1172"/>
                </a:cubicBezTo>
                <a:lnTo>
                  <a:pt x="314" y="1187"/>
                </a:lnTo>
                <a:lnTo>
                  <a:pt x="330" y="1171"/>
                </a:lnTo>
                <a:cubicBezTo>
                  <a:pt x="331" y="1170"/>
                  <a:pt x="331" y="1170"/>
                  <a:pt x="331" y="1170"/>
                </a:cubicBezTo>
                <a:cubicBezTo>
                  <a:pt x="332" y="1170"/>
                  <a:pt x="332" y="1170"/>
                  <a:pt x="333" y="1170"/>
                </a:cubicBezTo>
                <a:cubicBezTo>
                  <a:pt x="334" y="1170"/>
                  <a:pt x="334" y="1171"/>
                  <a:pt x="335" y="1171"/>
                </a:cubicBezTo>
                <a:cubicBezTo>
                  <a:pt x="336" y="1172"/>
                  <a:pt x="337" y="1172"/>
                  <a:pt x="338" y="1173"/>
                </a:cubicBezTo>
                <a:cubicBezTo>
                  <a:pt x="339" y="1175"/>
                  <a:pt x="340" y="1177"/>
                  <a:pt x="341" y="1178"/>
                </a:cubicBezTo>
                <a:cubicBezTo>
                  <a:pt x="341" y="1179"/>
                  <a:pt x="341" y="1180"/>
                  <a:pt x="340" y="1181"/>
                </a:cubicBezTo>
                <a:lnTo>
                  <a:pt x="323" y="1197"/>
                </a:lnTo>
                <a:lnTo>
                  <a:pt x="360" y="1233"/>
                </a:lnTo>
                <a:cubicBezTo>
                  <a:pt x="364" y="1238"/>
                  <a:pt x="368" y="1240"/>
                  <a:pt x="372" y="1241"/>
                </a:cubicBezTo>
                <a:cubicBezTo>
                  <a:pt x="375" y="1242"/>
                  <a:pt x="379" y="1241"/>
                  <a:pt x="382" y="1238"/>
                </a:cubicBezTo>
                <a:cubicBezTo>
                  <a:pt x="383" y="1237"/>
                  <a:pt x="384" y="1236"/>
                  <a:pt x="385" y="1234"/>
                </a:cubicBezTo>
                <a:cubicBezTo>
                  <a:pt x="385" y="1233"/>
                  <a:pt x="386" y="1232"/>
                  <a:pt x="386" y="1231"/>
                </a:cubicBezTo>
                <a:cubicBezTo>
                  <a:pt x="387" y="1231"/>
                  <a:pt x="387" y="1230"/>
                  <a:pt x="387" y="1229"/>
                </a:cubicBezTo>
                <a:cubicBezTo>
                  <a:pt x="388" y="1228"/>
                  <a:pt x="388" y="1228"/>
                  <a:pt x="388" y="1227"/>
                </a:cubicBezTo>
                <a:cubicBezTo>
                  <a:pt x="389" y="1227"/>
                  <a:pt x="389" y="1227"/>
                  <a:pt x="389" y="1227"/>
                </a:cubicBezTo>
                <a:cubicBezTo>
                  <a:pt x="390" y="1227"/>
                  <a:pt x="390" y="1227"/>
                  <a:pt x="390" y="1227"/>
                </a:cubicBezTo>
                <a:cubicBezTo>
                  <a:pt x="391" y="1227"/>
                  <a:pt x="391" y="1228"/>
                  <a:pt x="392" y="1228"/>
                </a:cubicBezTo>
                <a:cubicBezTo>
                  <a:pt x="393" y="1229"/>
                  <a:pt x="393" y="1229"/>
                  <a:pt x="394" y="1230"/>
                </a:cubicBezTo>
                <a:close/>
                <a:moveTo>
                  <a:pt x="459" y="1175"/>
                </a:moveTo>
                <a:cubicBezTo>
                  <a:pt x="460" y="1175"/>
                  <a:pt x="460" y="1176"/>
                  <a:pt x="460" y="1177"/>
                </a:cubicBezTo>
                <a:cubicBezTo>
                  <a:pt x="460" y="1177"/>
                  <a:pt x="460" y="1178"/>
                  <a:pt x="459" y="1179"/>
                </a:cubicBezTo>
                <a:cubicBezTo>
                  <a:pt x="459" y="1180"/>
                  <a:pt x="458" y="1181"/>
                  <a:pt x="457" y="1182"/>
                </a:cubicBezTo>
                <a:cubicBezTo>
                  <a:pt x="455" y="1183"/>
                  <a:pt x="454" y="1184"/>
                  <a:pt x="453" y="1185"/>
                </a:cubicBezTo>
                <a:cubicBezTo>
                  <a:pt x="452" y="1185"/>
                  <a:pt x="452" y="1186"/>
                  <a:pt x="451" y="1186"/>
                </a:cubicBezTo>
                <a:cubicBezTo>
                  <a:pt x="450" y="1186"/>
                  <a:pt x="450" y="1185"/>
                  <a:pt x="449" y="1185"/>
                </a:cubicBezTo>
                <a:lnTo>
                  <a:pt x="443" y="1178"/>
                </a:lnTo>
                <a:cubicBezTo>
                  <a:pt x="443" y="1184"/>
                  <a:pt x="442" y="1190"/>
                  <a:pt x="440" y="1195"/>
                </a:cubicBezTo>
                <a:cubicBezTo>
                  <a:pt x="439" y="1200"/>
                  <a:pt x="436" y="1205"/>
                  <a:pt x="432" y="1208"/>
                </a:cubicBezTo>
                <a:cubicBezTo>
                  <a:pt x="429" y="1212"/>
                  <a:pt x="425" y="1214"/>
                  <a:pt x="421" y="1216"/>
                </a:cubicBezTo>
                <a:cubicBezTo>
                  <a:pt x="418" y="1218"/>
                  <a:pt x="414" y="1219"/>
                  <a:pt x="410" y="1220"/>
                </a:cubicBezTo>
                <a:cubicBezTo>
                  <a:pt x="407" y="1220"/>
                  <a:pt x="403" y="1219"/>
                  <a:pt x="400" y="1218"/>
                </a:cubicBezTo>
                <a:cubicBezTo>
                  <a:pt x="396" y="1217"/>
                  <a:pt x="393" y="1214"/>
                  <a:pt x="390" y="1211"/>
                </a:cubicBezTo>
                <a:cubicBezTo>
                  <a:pt x="386" y="1208"/>
                  <a:pt x="384" y="1204"/>
                  <a:pt x="383" y="1199"/>
                </a:cubicBezTo>
                <a:cubicBezTo>
                  <a:pt x="381" y="1195"/>
                  <a:pt x="381" y="1191"/>
                  <a:pt x="382" y="1186"/>
                </a:cubicBezTo>
                <a:cubicBezTo>
                  <a:pt x="383" y="1182"/>
                  <a:pt x="385" y="1177"/>
                  <a:pt x="389" y="1172"/>
                </a:cubicBezTo>
                <a:cubicBezTo>
                  <a:pt x="392" y="1167"/>
                  <a:pt x="396" y="1162"/>
                  <a:pt x="401" y="1157"/>
                </a:cubicBezTo>
                <a:lnTo>
                  <a:pt x="410" y="1148"/>
                </a:lnTo>
                <a:lnTo>
                  <a:pt x="405" y="1143"/>
                </a:lnTo>
                <a:cubicBezTo>
                  <a:pt x="402" y="1141"/>
                  <a:pt x="400" y="1139"/>
                  <a:pt x="397" y="1138"/>
                </a:cubicBezTo>
                <a:cubicBezTo>
                  <a:pt x="395" y="1136"/>
                  <a:pt x="392" y="1135"/>
                  <a:pt x="390" y="1135"/>
                </a:cubicBezTo>
                <a:cubicBezTo>
                  <a:pt x="387" y="1135"/>
                  <a:pt x="385" y="1136"/>
                  <a:pt x="382" y="1137"/>
                </a:cubicBezTo>
                <a:cubicBezTo>
                  <a:pt x="380" y="1138"/>
                  <a:pt x="377" y="1140"/>
                  <a:pt x="375" y="1143"/>
                </a:cubicBezTo>
                <a:cubicBezTo>
                  <a:pt x="372" y="1146"/>
                  <a:pt x="369" y="1149"/>
                  <a:pt x="368" y="1152"/>
                </a:cubicBezTo>
                <a:cubicBezTo>
                  <a:pt x="366" y="1155"/>
                  <a:pt x="365" y="1158"/>
                  <a:pt x="364" y="1160"/>
                </a:cubicBezTo>
                <a:cubicBezTo>
                  <a:pt x="363" y="1163"/>
                  <a:pt x="362" y="1165"/>
                  <a:pt x="362" y="1167"/>
                </a:cubicBezTo>
                <a:cubicBezTo>
                  <a:pt x="361" y="1169"/>
                  <a:pt x="361" y="1170"/>
                  <a:pt x="360" y="1171"/>
                </a:cubicBezTo>
                <a:cubicBezTo>
                  <a:pt x="360" y="1171"/>
                  <a:pt x="360" y="1171"/>
                  <a:pt x="359" y="1171"/>
                </a:cubicBezTo>
                <a:cubicBezTo>
                  <a:pt x="359" y="1171"/>
                  <a:pt x="358" y="1171"/>
                  <a:pt x="357" y="1171"/>
                </a:cubicBezTo>
                <a:cubicBezTo>
                  <a:pt x="357" y="1171"/>
                  <a:pt x="356" y="1171"/>
                  <a:pt x="355" y="1170"/>
                </a:cubicBezTo>
                <a:cubicBezTo>
                  <a:pt x="355" y="1170"/>
                  <a:pt x="354" y="1169"/>
                  <a:pt x="353" y="1168"/>
                </a:cubicBezTo>
                <a:cubicBezTo>
                  <a:pt x="352" y="1167"/>
                  <a:pt x="351" y="1166"/>
                  <a:pt x="351" y="1165"/>
                </a:cubicBezTo>
                <a:cubicBezTo>
                  <a:pt x="350" y="1164"/>
                  <a:pt x="350" y="1163"/>
                  <a:pt x="350" y="1162"/>
                </a:cubicBezTo>
                <a:cubicBezTo>
                  <a:pt x="350" y="1161"/>
                  <a:pt x="350" y="1159"/>
                  <a:pt x="351" y="1157"/>
                </a:cubicBezTo>
                <a:cubicBezTo>
                  <a:pt x="352" y="1154"/>
                  <a:pt x="353" y="1152"/>
                  <a:pt x="354" y="1149"/>
                </a:cubicBezTo>
                <a:cubicBezTo>
                  <a:pt x="356" y="1146"/>
                  <a:pt x="357" y="1143"/>
                  <a:pt x="359" y="1140"/>
                </a:cubicBezTo>
                <a:cubicBezTo>
                  <a:pt x="361" y="1137"/>
                  <a:pt x="364" y="1135"/>
                  <a:pt x="366" y="1132"/>
                </a:cubicBezTo>
                <a:cubicBezTo>
                  <a:pt x="371" y="1128"/>
                  <a:pt x="375" y="1124"/>
                  <a:pt x="379" y="1122"/>
                </a:cubicBezTo>
                <a:cubicBezTo>
                  <a:pt x="384" y="1120"/>
                  <a:pt x="388" y="1119"/>
                  <a:pt x="392" y="1119"/>
                </a:cubicBezTo>
                <a:cubicBezTo>
                  <a:pt x="396" y="1119"/>
                  <a:pt x="400" y="1120"/>
                  <a:pt x="404" y="1122"/>
                </a:cubicBezTo>
                <a:cubicBezTo>
                  <a:pt x="408" y="1124"/>
                  <a:pt x="412" y="1127"/>
                  <a:pt x="416" y="1131"/>
                </a:cubicBezTo>
                <a:lnTo>
                  <a:pt x="459" y="1175"/>
                </a:lnTo>
                <a:close/>
                <a:moveTo>
                  <a:pt x="418" y="1157"/>
                </a:moveTo>
                <a:lnTo>
                  <a:pt x="408" y="1167"/>
                </a:lnTo>
                <a:cubicBezTo>
                  <a:pt x="405" y="1170"/>
                  <a:pt x="402" y="1173"/>
                  <a:pt x="400" y="1176"/>
                </a:cubicBezTo>
                <a:cubicBezTo>
                  <a:pt x="399" y="1179"/>
                  <a:pt x="397" y="1182"/>
                  <a:pt x="397" y="1185"/>
                </a:cubicBezTo>
                <a:cubicBezTo>
                  <a:pt x="396" y="1187"/>
                  <a:pt x="397" y="1190"/>
                  <a:pt x="397" y="1192"/>
                </a:cubicBezTo>
                <a:cubicBezTo>
                  <a:pt x="398" y="1194"/>
                  <a:pt x="399" y="1196"/>
                  <a:pt x="401" y="1198"/>
                </a:cubicBezTo>
                <a:cubicBezTo>
                  <a:pt x="405" y="1202"/>
                  <a:pt x="408" y="1203"/>
                  <a:pt x="413" y="1203"/>
                </a:cubicBezTo>
                <a:cubicBezTo>
                  <a:pt x="417" y="1203"/>
                  <a:pt x="421" y="1201"/>
                  <a:pt x="425" y="1197"/>
                </a:cubicBezTo>
                <a:cubicBezTo>
                  <a:pt x="428" y="1194"/>
                  <a:pt x="430" y="1191"/>
                  <a:pt x="431" y="1186"/>
                </a:cubicBezTo>
                <a:cubicBezTo>
                  <a:pt x="432" y="1182"/>
                  <a:pt x="432" y="1177"/>
                  <a:pt x="432" y="1171"/>
                </a:cubicBezTo>
                <a:lnTo>
                  <a:pt x="418" y="1157"/>
                </a:lnTo>
                <a:close/>
                <a:moveTo>
                  <a:pt x="507" y="1117"/>
                </a:moveTo>
                <a:cubicBezTo>
                  <a:pt x="509" y="1118"/>
                  <a:pt x="510" y="1120"/>
                  <a:pt x="511" y="1121"/>
                </a:cubicBezTo>
                <a:cubicBezTo>
                  <a:pt x="511" y="1122"/>
                  <a:pt x="511" y="1123"/>
                  <a:pt x="511" y="1123"/>
                </a:cubicBezTo>
                <a:cubicBezTo>
                  <a:pt x="511" y="1124"/>
                  <a:pt x="511" y="1125"/>
                  <a:pt x="511" y="1126"/>
                </a:cubicBezTo>
                <a:cubicBezTo>
                  <a:pt x="510" y="1127"/>
                  <a:pt x="510" y="1128"/>
                  <a:pt x="509" y="1130"/>
                </a:cubicBezTo>
                <a:cubicBezTo>
                  <a:pt x="508" y="1131"/>
                  <a:pt x="507" y="1132"/>
                  <a:pt x="506" y="1133"/>
                </a:cubicBezTo>
                <a:cubicBezTo>
                  <a:pt x="505" y="1134"/>
                  <a:pt x="504" y="1136"/>
                  <a:pt x="503" y="1137"/>
                </a:cubicBezTo>
                <a:cubicBezTo>
                  <a:pt x="500" y="1140"/>
                  <a:pt x="497" y="1143"/>
                  <a:pt x="493" y="1144"/>
                </a:cubicBezTo>
                <a:cubicBezTo>
                  <a:pt x="490" y="1146"/>
                  <a:pt x="487" y="1146"/>
                  <a:pt x="483" y="1146"/>
                </a:cubicBezTo>
                <a:cubicBezTo>
                  <a:pt x="480" y="1146"/>
                  <a:pt x="477" y="1144"/>
                  <a:pt x="473" y="1142"/>
                </a:cubicBezTo>
                <a:cubicBezTo>
                  <a:pt x="470" y="1140"/>
                  <a:pt x="466" y="1137"/>
                  <a:pt x="463" y="1134"/>
                </a:cubicBezTo>
                <a:lnTo>
                  <a:pt x="425" y="1096"/>
                </a:lnTo>
                <a:lnTo>
                  <a:pt x="416" y="1105"/>
                </a:lnTo>
                <a:cubicBezTo>
                  <a:pt x="415" y="1106"/>
                  <a:pt x="414" y="1106"/>
                  <a:pt x="413" y="1106"/>
                </a:cubicBezTo>
                <a:cubicBezTo>
                  <a:pt x="412" y="1105"/>
                  <a:pt x="410" y="1104"/>
                  <a:pt x="408" y="1102"/>
                </a:cubicBezTo>
                <a:cubicBezTo>
                  <a:pt x="408" y="1102"/>
                  <a:pt x="407" y="1101"/>
                  <a:pt x="406" y="1100"/>
                </a:cubicBezTo>
                <a:cubicBezTo>
                  <a:pt x="406" y="1099"/>
                  <a:pt x="405" y="1099"/>
                  <a:pt x="405" y="1098"/>
                </a:cubicBezTo>
                <a:cubicBezTo>
                  <a:pt x="405" y="1097"/>
                  <a:pt x="405" y="1097"/>
                  <a:pt x="405" y="1096"/>
                </a:cubicBezTo>
                <a:cubicBezTo>
                  <a:pt x="405" y="1096"/>
                  <a:pt x="406" y="1095"/>
                  <a:pt x="406" y="1095"/>
                </a:cubicBezTo>
                <a:lnTo>
                  <a:pt x="415" y="1086"/>
                </a:lnTo>
                <a:lnTo>
                  <a:pt x="400" y="1071"/>
                </a:lnTo>
                <a:cubicBezTo>
                  <a:pt x="399" y="1070"/>
                  <a:pt x="399" y="1070"/>
                  <a:pt x="399" y="1070"/>
                </a:cubicBezTo>
                <a:cubicBezTo>
                  <a:pt x="399" y="1069"/>
                  <a:pt x="399" y="1069"/>
                  <a:pt x="399" y="1068"/>
                </a:cubicBezTo>
                <a:cubicBezTo>
                  <a:pt x="399" y="1067"/>
                  <a:pt x="400" y="1066"/>
                  <a:pt x="400" y="1066"/>
                </a:cubicBezTo>
                <a:cubicBezTo>
                  <a:pt x="401" y="1065"/>
                  <a:pt x="402" y="1064"/>
                  <a:pt x="403" y="1063"/>
                </a:cubicBezTo>
                <a:cubicBezTo>
                  <a:pt x="404" y="1061"/>
                  <a:pt x="405" y="1060"/>
                  <a:pt x="406" y="1060"/>
                </a:cubicBezTo>
                <a:cubicBezTo>
                  <a:pt x="407" y="1059"/>
                  <a:pt x="408" y="1059"/>
                  <a:pt x="408" y="1058"/>
                </a:cubicBezTo>
                <a:cubicBezTo>
                  <a:pt x="409" y="1058"/>
                  <a:pt x="410" y="1058"/>
                  <a:pt x="410" y="1058"/>
                </a:cubicBezTo>
                <a:cubicBezTo>
                  <a:pt x="411" y="1058"/>
                  <a:pt x="411" y="1059"/>
                  <a:pt x="411" y="1059"/>
                </a:cubicBezTo>
                <a:lnTo>
                  <a:pt x="427" y="1074"/>
                </a:lnTo>
                <a:lnTo>
                  <a:pt x="443" y="1058"/>
                </a:lnTo>
                <a:cubicBezTo>
                  <a:pt x="444" y="1057"/>
                  <a:pt x="444" y="1057"/>
                  <a:pt x="445" y="1057"/>
                </a:cubicBezTo>
                <a:cubicBezTo>
                  <a:pt x="445" y="1057"/>
                  <a:pt x="446" y="1057"/>
                  <a:pt x="446" y="1057"/>
                </a:cubicBezTo>
                <a:cubicBezTo>
                  <a:pt x="447" y="1057"/>
                  <a:pt x="448" y="1058"/>
                  <a:pt x="448" y="1058"/>
                </a:cubicBezTo>
                <a:cubicBezTo>
                  <a:pt x="449" y="1059"/>
                  <a:pt x="450" y="1059"/>
                  <a:pt x="451" y="1060"/>
                </a:cubicBezTo>
                <a:cubicBezTo>
                  <a:pt x="452" y="1062"/>
                  <a:pt x="453" y="1063"/>
                  <a:pt x="454" y="1065"/>
                </a:cubicBezTo>
                <a:cubicBezTo>
                  <a:pt x="454" y="1066"/>
                  <a:pt x="454" y="1067"/>
                  <a:pt x="453" y="1068"/>
                </a:cubicBezTo>
                <a:lnTo>
                  <a:pt x="437" y="1084"/>
                </a:lnTo>
                <a:lnTo>
                  <a:pt x="473" y="1120"/>
                </a:lnTo>
                <a:cubicBezTo>
                  <a:pt x="477" y="1125"/>
                  <a:pt x="481" y="1127"/>
                  <a:pt x="485" y="1128"/>
                </a:cubicBezTo>
                <a:cubicBezTo>
                  <a:pt x="488" y="1129"/>
                  <a:pt x="492" y="1128"/>
                  <a:pt x="495" y="1125"/>
                </a:cubicBezTo>
                <a:cubicBezTo>
                  <a:pt x="496" y="1124"/>
                  <a:pt x="497" y="1122"/>
                  <a:pt x="498" y="1121"/>
                </a:cubicBezTo>
                <a:cubicBezTo>
                  <a:pt x="498" y="1120"/>
                  <a:pt x="499" y="1119"/>
                  <a:pt x="499" y="1118"/>
                </a:cubicBezTo>
                <a:cubicBezTo>
                  <a:pt x="500" y="1117"/>
                  <a:pt x="500" y="1117"/>
                  <a:pt x="500" y="1116"/>
                </a:cubicBezTo>
                <a:cubicBezTo>
                  <a:pt x="501" y="1115"/>
                  <a:pt x="501" y="1115"/>
                  <a:pt x="501" y="1114"/>
                </a:cubicBezTo>
                <a:cubicBezTo>
                  <a:pt x="502" y="1114"/>
                  <a:pt x="502" y="1114"/>
                  <a:pt x="502" y="1114"/>
                </a:cubicBezTo>
                <a:cubicBezTo>
                  <a:pt x="503" y="1114"/>
                  <a:pt x="503" y="1114"/>
                  <a:pt x="504" y="1114"/>
                </a:cubicBezTo>
                <a:cubicBezTo>
                  <a:pt x="504" y="1114"/>
                  <a:pt x="505" y="1115"/>
                  <a:pt x="505" y="1115"/>
                </a:cubicBezTo>
                <a:cubicBezTo>
                  <a:pt x="506" y="1116"/>
                  <a:pt x="507" y="1116"/>
                  <a:pt x="507" y="1117"/>
                </a:cubicBezTo>
                <a:close/>
                <a:moveTo>
                  <a:pt x="536" y="1098"/>
                </a:moveTo>
                <a:cubicBezTo>
                  <a:pt x="536" y="1099"/>
                  <a:pt x="536" y="1099"/>
                  <a:pt x="536" y="1100"/>
                </a:cubicBezTo>
                <a:cubicBezTo>
                  <a:pt x="536" y="1100"/>
                  <a:pt x="536" y="1101"/>
                  <a:pt x="536" y="1101"/>
                </a:cubicBezTo>
                <a:cubicBezTo>
                  <a:pt x="536" y="1102"/>
                  <a:pt x="535" y="1103"/>
                  <a:pt x="535" y="1103"/>
                </a:cubicBezTo>
                <a:cubicBezTo>
                  <a:pt x="534" y="1104"/>
                  <a:pt x="533" y="1105"/>
                  <a:pt x="532" y="1106"/>
                </a:cubicBezTo>
                <a:cubicBezTo>
                  <a:pt x="531" y="1108"/>
                  <a:pt x="530" y="1109"/>
                  <a:pt x="529" y="1109"/>
                </a:cubicBezTo>
                <a:cubicBezTo>
                  <a:pt x="528" y="1110"/>
                  <a:pt x="527" y="1110"/>
                  <a:pt x="527" y="1111"/>
                </a:cubicBezTo>
                <a:cubicBezTo>
                  <a:pt x="526" y="1111"/>
                  <a:pt x="526" y="1111"/>
                  <a:pt x="525" y="1111"/>
                </a:cubicBezTo>
                <a:cubicBezTo>
                  <a:pt x="525" y="1111"/>
                  <a:pt x="524" y="1111"/>
                  <a:pt x="524" y="1110"/>
                </a:cubicBezTo>
                <a:lnTo>
                  <a:pt x="459" y="1046"/>
                </a:lnTo>
                <a:cubicBezTo>
                  <a:pt x="459" y="1045"/>
                  <a:pt x="459" y="1045"/>
                  <a:pt x="459" y="1044"/>
                </a:cubicBezTo>
                <a:cubicBezTo>
                  <a:pt x="458" y="1044"/>
                  <a:pt x="459" y="1043"/>
                  <a:pt x="459" y="1043"/>
                </a:cubicBezTo>
                <a:cubicBezTo>
                  <a:pt x="459" y="1042"/>
                  <a:pt x="460" y="1041"/>
                  <a:pt x="460" y="1040"/>
                </a:cubicBezTo>
                <a:cubicBezTo>
                  <a:pt x="461" y="1040"/>
                  <a:pt x="462" y="1039"/>
                  <a:pt x="463" y="1037"/>
                </a:cubicBezTo>
                <a:cubicBezTo>
                  <a:pt x="464" y="1036"/>
                  <a:pt x="465" y="1035"/>
                  <a:pt x="466" y="1035"/>
                </a:cubicBezTo>
                <a:cubicBezTo>
                  <a:pt x="467" y="1034"/>
                  <a:pt x="468" y="1033"/>
                  <a:pt x="468" y="1033"/>
                </a:cubicBezTo>
                <a:cubicBezTo>
                  <a:pt x="469" y="1033"/>
                  <a:pt x="469" y="1033"/>
                  <a:pt x="470" y="1033"/>
                </a:cubicBezTo>
                <a:cubicBezTo>
                  <a:pt x="470" y="1033"/>
                  <a:pt x="471" y="1033"/>
                  <a:pt x="471" y="1034"/>
                </a:cubicBezTo>
                <a:lnTo>
                  <a:pt x="536" y="1098"/>
                </a:lnTo>
                <a:close/>
                <a:moveTo>
                  <a:pt x="451" y="1010"/>
                </a:moveTo>
                <a:cubicBezTo>
                  <a:pt x="453" y="1013"/>
                  <a:pt x="455" y="1016"/>
                  <a:pt x="455" y="1018"/>
                </a:cubicBezTo>
                <a:cubicBezTo>
                  <a:pt x="455" y="1020"/>
                  <a:pt x="453" y="1022"/>
                  <a:pt x="450" y="1025"/>
                </a:cubicBezTo>
                <a:cubicBezTo>
                  <a:pt x="448" y="1028"/>
                  <a:pt x="445" y="1029"/>
                  <a:pt x="443" y="1029"/>
                </a:cubicBezTo>
                <a:cubicBezTo>
                  <a:pt x="441" y="1029"/>
                  <a:pt x="439" y="1028"/>
                  <a:pt x="436" y="1025"/>
                </a:cubicBezTo>
                <a:cubicBezTo>
                  <a:pt x="433" y="1022"/>
                  <a:pt x="432" y="1020"/>
                  <a:pt x="432" y="1018"/>
                </a:cubicBezTo>
                <a:cubicBezTo>
                  <a:pt x="432" y="1016"/>
                  <a:pt x="434" y="1014"/>
                  <a:pt x="436" y="1011"/>
                </a:cubicBezTo>
                <a:cubicBezTo>
                  <a:pt x="439" y="1008"/>
                  <a:pt x="442" y="1007"/>
                  <a:pt x="444" y="1006"/>
                </a:cubicBezTo>
                <a:cubicBezTo>
                  <a:pt x="446" y="1006"/>
                  <a:pt x="448" y="1008"/>
                  <a:pt x="451" y="1010"/>
                </a:cubicBezTo>
                <a:close/>
                <a:moveTo>
                  <a:pt x="585" y="983"/>
                </a:moveTo>
                <a:cubicBezTo>
                  <a:pt x="590" y="988"/>
                  <a:pt x="594" y="994"/>
                  <a:pt x="597" y="1000"/>
                </a:cubicBezTo>
                <a:cubicBezTo>
                  <a:pt x="600" y="1006"/>
                  <a:pt x="602" y="1011"/>
                  <a:pt x="603" y="1017"/>
                </a:cubicBezTo>
                <a:cubicBezTo>
                  <a:pt x="603" y="1023"/>
                  <a:pt x="602" y="1029"/>
                  <a:pt x="600" y="1035"/>
                </a:cubicBezTo>
                <a:cubicBezTo>
                  <a:pt x="597" y="1041"/>
                  <a:pt x="594" y="1047"/>
                  <a:pt x="588" y="1052"/>
                </a:cubicBezTo>
                <a:cubicBezTo>
                  <a:pt x="583" y="1058"/>
                  <a:pt x="577" y="1061"/>
                  <a:pt x="572" y="1064"/>
                </a:cubicBezTo>
                <a:cubicBezTo>
                  <a:pt x="566" y="1066"/>
                  <a:pt x="561" y="1067"/>
                  <a:pt x="555" y="1067"/>
                </a:cubicBezTo>
                <a:cubicBezTo>
                  <a:pt x="549" y="1066"/>
                  <a:pt x="544" y="1065"/>
                  <a:pt x="538" y="1062"/>
                </a:cubicBezTo>
                <a:cubicBezTo>
                  <a:pt x="533" y="1059"/>
                  <a:pt x="527" y="1054"/>
                  <a:pt x="522" y="1049"/>
                </a:cubicBezTo>
                <a:cubicBezTo>
                  <a:pt x="516" y="1044"/>
                  <a:pt x="512" y="1038"/>
                  <a:pt x="509" y="1032"/>
                </a:cubicBezTo>
                <a:cubicBezTo>
                  <a:pt x="506" y="1027"/>
                  <a:pt x="504" y="1021"/>
                  <a:pt x="504" y="1015"/>
                </a:cubicBezTo>
                <a:cubicBezTo>
                  <a:pt x="503" y="1009"/>
                  <a:pt x="504" y="1003"/>
                  <a:pt x="507" y="997"/>
                </a:cubicBezTo>
                <a:cubicBezTo>
                  <a:pt x="509" y="991"/>
                  <a:pt x="513" y="985"/>
                  <a:pt x="518" y="980"/>
                </a:cubicBezTo>
                <a:cubicBezTo>
                  <a:pt x="524" y="975"/>
                  <a:pt x="529" y="971"/>
                  <a:pt x="535" y="968"/>
                </a:cubicBezTo>
                <a:cubicBezTo>
                  <a:pt x="540" y="966"/>
                  <a:pt x="546" y="965"/>
                  <a:pt x="551" y="965"/>
                </a:cubicBezTo>
                <a:cubicBezTo>
                  <a:pt x="557" y="966"/>
                  <a:pt x="563" y="967"/>
                  <a:pt x="568" y="970"/>
                </a:cubicBezTo>
                <a:cubicBezTo>
                  <a:pt x="574" y="973"/>
                  <a:pt x="579" y="978"/>
                  <a:pt x="585" y="983"/>
                </a:cubicBezTo>
                <a:close/>
                <a:moveTo>
                  <a:pt x="573" y="996"/>
                </a:moveTo>
                <a:cubicBezTo>
                  <a:pt x="570" y="993"/>
                  <a:pt x="566" y="990"/>
                  <a:pt x="563" y="987"/>
                </a:cubicBezTo>
                <a:cubicBezTo>
                  <a:pt x="559" y="985"/>
                  <a:pt x="555" y="983"/>
                  <a:pt x="551" y="982"/>
                </a:cubicBezTo>
                <a:cubicBezTo>
                  <a:pt x="547" y="981"/>
                  <a:pt x="543" y="982"/>
                  <a:pt x="539" y="983"/>
                </a:cubicBezTo>
                <a:cubicBezTo>
                  <a:pt x="536" y="984"/>
                  <a:pt x="532" y="986"/>
                  <a:pt x="528" y="990"/>
                </a:cubicBezTo>
                <a:cubicBezTo>
                  <a:pt x="524" y="994"/>
                  <a:pt x="522" y="997"/>
                  <a:pt x="521" y="1001"/>
                </a:cubicBezTo>
                <a:cubicBezTo>
                  <a:pt x="519" y="1005"/>
                  <a:pt x="519" y="1009"/>
                  <a:pt x="520" y="1013"/>
                </a:cubicBezTo>
                <a:cubicBezTo>
                  <a:pt x="520" y="1017"/>
                  <a:pt x="522" y="1021"/>
                  <a:pt x="524" y="1025"/>
                </a:cubicBezTo>
                <a:cubicBezTo>
                  <a:pt x="526" y="1028"/>
                  <a:pt x="529" y="1032"/>
                  <a:pt x="533" y="1036"/>
                </a:cubicBezTo>
                <a:cubicBezTo>
                  <a:pt x="537" y="1039"/>
                  <a:pt x="540" y="1042"/>
                  <a:pt x="544" y="1045"/>
                </a:cubicBezTo>
                <a:cubicBezTo>
                  <a:pt x="548" y="1047"/>
                  <a:pt x="552" y="1049"/>
                  <a:pt x="555" y="1050"/>
                </a:cubicBezTo>
                <a:cubicBezTo>
                  <a:pt x="559" y="1051"/>
                  <a:pt x="563" y="1050"/>
                  <a:pt x="567" y="1049"/>
                </a:cubicBezTo>
                <a:cubicBezTo>
                  <a:pt x="571" y="1048"/>
                  <a:pt x="575" y="1046"/>
                  <a:pt x="579" y="1042"/>
                </a:cubicBezTo>
                <a:cubicBezTo>
                  <a:pt x="582" y="1038"/>
                  <a:pt x="585" y="1035"/>
                  <a:pt x="586" y="1031"/>
                </a:cubicBezTo>
                <a:cubicBezTo>
                  <a:pt x="587" y="1027"/>
                  <a:pt x="588" y="1023"/>
                  <a:pt x="587" y="1019"/>
                </a:cubicBezTo>
                <a:cubicBezTo>
                  <a:pt x="586" y="1015"/>
                  <a:pt x="585" y="1011"/>
                  <a:pt x="583" y="1008"/>
                </a:cubicBezTo>
                <a:cubicBezTo>
                  <a:pt x="580" y="1004"/>
                  <a:pt x="577" y="1000"/>
                  <a:pt x="573" y="996"/>
                </a:cubicBezTo>
                <a:close/>
                <a:moveTo>
                  <a:pt x="693" y="941"/>
                </a:moveTo>
                <a:cubicBezTo>
                  <a:pt x="693" y="942"/>
                  <a:pt x="693" y="942"/>
                  <a:pt x="693" y="943"/>
                </a:cubicBezTo>
                <a:cubicBezTo>
                  <a:pt x="693" y="943"/>
                  <a:pt x="693" y="944"/>
                  <a:pt x="693" y="944"/>
                </a:cubicBezTo>
                <a:cubicBezTo>
                  <a:pt x="693" y="945"/>
                  <a:pt x="692" y="946"/>
                  <a:pt x="692" y="946"/>
                </a:cubicBezTo>
                <a:cubicBezTo>
                  <a:pt x="691" y="947"/>
                  <a:pt x="690" y="948"/>
                  <a:pt x="689" y="949"/>
                </a:cubicBezTo>
                <a:cubicBezTo>
                  <a:pt x="688" y="951"/>
                  <a:pt x="687" y="952"/>
                  <a:pt x="686" y="952"/>
                </a:cubicBezTo>
                <a:cubicBezTo>
                  <a:pt x="685" y="953"/>
                  <a:pt x="684" y="953"/>
                  <a:pt x="684" y="954"/>
                </a:cubicBezTo>
                <a:cubicBezTo>
                  <a:pt x="683" y="954"/>
                  <a:pt x="683" y="954"/>
                  <a:pt x="682" y="954"/>
                </a:cubicBezTo>
                <a:cubicBezTo>
                  <a:pt x="682" y="954"/>
                  <a:pt x="681" y="954"/>
                  <a:pt x="681" y="953"/>
                </a:cubicBezTo>
                <a:lnTo>
                  <a:pt x="643" y="915"/>
                </a:lnTo>
                <a:cubicBezTo>
                  <a:pt x="639" y="912"/>
                  <a:pt x="636" y="909"/>
                  <a:pt x="633" y="907"/>
                </a:cubicBezTo>
                <a:cubicBezTo>
                  <a:pt x="630" y="906"/>
                  <a:pt x="628" y="905"/>
                  <a:pt x="625" y="904"/>
                </a:cubicBezTo>
                <a:cubicBezTo>
                  <a:pt x="622" y="903"/>
                  <a:pt x="619" y="904"/>
                  <a:pt x="617" y="905"/>
                </a:cubicBezTo>
                <a:cubicBezTo>
                  <a:pt x="614" y="905"/>
                  <a:pt x="612" y="907"/>
                  <a:pt x="610" y="909"/>
                </a:cubicBezTo>
                <a:cubicBezTo>
                  <a:pt x="607" y="912"/>
                  <a:pt x="605" y="916"/>
                  <a:pt x="604" y="921"/>
                </a:cubicBezTo>
                <a:cubicBezTo>
                  <a:pt x="603" y="926"/>
                  <a:pt x="603" y="933"/>
                  <a:pt x="604" y="940"/>
                </a:cubicBezTo>
                <a:lnTo>
                  <a:pt x="649" y="985"/>
                </a:lnTo>
                <a:cubicBezTo>
                  <a:pt x="649" y="986"/>
                  <a:pt x="649" y="986"/>
                  <a:pt x="650" y="986"/>
                </a:cubicBezTo>
                <a:cubicBezTo>
                  <a:pt x="650" y="987"/>
                  <a:pt x="650" y="987"/>
                  <a:pt x="649" y="988"/>
                </a:cubicBezTo>
                <a:cubicBezTo>
                  <a:pt x="649" y="989"/>
                  <a:pt x="649" y="989"/>
                  <a:pt x="648" y="990"/>
                </a:cubicBezTo>
                <a:cubicBezTo>
                  <a:pt x="647" y="991"/>
                  <a:pt x="646" y="992"/>
                  <a:pt x="645" y="993"/>
                </a:cubicBezTo>
                <a:cubicBezTo>
                  <a:pt x="644" y="995"/>
                  <a:pt x="643" y="995"/>
                  <a:pt x="642" y="996"/>
                </a:cubicBezTo>
                <a:cubicBezTo>
                  <a:pt x="641" y="997"/>
                  <a:pt x="640" y="997"/>
                  <a:pt x="640" y="997"/>
                </a:cubicBezTo>
                <a:cubicBezTo>
                  <a:pt x="639" y="998"/>
                  <a:pt x="639" y="998"/>
                  <a:pt x="638" y="998"/>
                </a:cubicBezTo>
                <a:cubicBezTo>
                  <a:pt x="638" y="998"/>
                  <a:pt x="637" y="997"/>
                  <a:pt x="637" y="997"/>
                </a:cubicBezTo>
                <a:lnTo>
                  <a:pt x="572" y="932"/>
                </a:lnTo>
                <a:cubicBezTo>
                  <a:pt x="572" y="932"/>
                  <a:pt x="572" y="932"/>
                  <a:pt x="572" y="931"/>
                </a:cubicBezTo>
                <a:cubicBezTo>
                  <a:pt x="572" y="931"/>
                  <a:pt x="572" y="930"/>
                  <a:pt x="572" y="930"/>
                </a:cubicBezTo>
                <a:cubicBezTo>
                  <a:pt x="572" y="929"/>
                  <a:pt x="572" y="928"/>
                  <a:pt x="573" y="928"/>
                </a:cubicBezTo>
                <a:cubicBezTo>
                  <a:pt x="574" y="927"/>
                  <a:pt x="574" y="926"/>
                  <a:pt x="576" y="925"/>
                </a:cubicBezTo>
                <a:cubicBezTo>
                  <a:pt x="577" y="924"/>
                  <a:pt x="577" y="923"/>
                  <a:pt x="578" y="922"/>
                </a:cubicBezTo>
                <a:cubicBezTo>
                  <a:pt x="579" y="922"/>
                  <a:pt x="580" y="921"/>
                  <a:pt x="580" y="921"/>
                </a:cubicBezTo>
                <a:cubicBezTo>
                  <a:pt x="581" y="921"/>
                  <a:pt x="581" y="921"/>
                  <a:pt x="582" y="921"/>
                </a:cubicBezTo>
                <a:cubicBezTo>
                  <a:pt x="582" y="921"/>
                  <a:pt x="583" y="921"/>
                  <a:pt x="583" y="922"/>
                </a:cubicBezTo>
                <a:lnTo>
                  <a:pt x="592" y="930"/>
                </a:lnTo>
                <a:cubicBezTo>
                  <a:pt x="591" y="923"/>
                  <a:pt x="592" y="916"/>
                  <a:pt x="594" y="910"/>
                </a:cubicBezTo>
                <a:cubicBezTo>
                  <a:pt x="595" y="905"/>
                  <a:pt x="598" y="900"/>
                  <a:pt x="602" y="897"/>
                </a:cubicBezTo>
                <a:cubicBezTo>
                  <a:pt x="606" y="892"/>
                  <a:pt x="610" y="889"/>
                  <a:pt x="615" y="888"/>
                </a:cubicBezTo>
                <a:cubicBezTo>
                  <a:pt x="619" y="886"/>
                  <a:pt x="623" y="886"/>
                  <a:pt x="628" y="887"/>
                </a:cubicBezTo>
                <a:cubicBezTo>
                  <a:pt x="632" y="887"/>
                  <a:pt x="636" y="889"/>
                  <a:pt x="640" y="891"/>
                </a:cubicBezTo>
                <a:cubicBezTo>
                  <a:pt x="644" y="894"/>
                  <a:pt x="649" y="897"/>
                  <a:pt x="653" y="902"/>
                </a:cubicBezTo>
                <a:lnTo>
                  <a:pt x="693" y="941"/>
                </a:lnTo>
                <a:close/>
                <a:moveTo>
                  <a:pt x="795" y="748"/>
                </a:moveTo>
                <a:cubicBezTo>
                  <a:pt x="802" y="755"/>
                  <a:pt x="808" y="763"/>
                  <a:pt x="813" y="771"/>
                </a:cubicBezTo>
                <a:cubicBezTo>
                  <a:pt x="817" y="778"/>
                  <a:pt x="819" y="786"/>
                  <a:pt x="820" y="794"/>
                </a:cubicBezTo>
                <a:cubicBezTo>
                  <a:pt x="821" y="802"/>
                  <a:pt x="820" y="809"/>
                  <a:pt x="817" y="817"/>
                </a:cubicBezTo>
                <a:cubicBezTo>
                  <a:pt x="814" y="825"/>
                  <a:pt x="808" y="832"/>
                  <a:pt x="801" y="839"/>
                </a:cubicBezTo>
                <a:cubicBezTo>
                  <a:pt x="794" y="846"/>
                  <a:pt x="787" y="851"/>
                  <a:pt x="780" y="854"/>
                </a:cubicBezTo>
                <a:cubicBezTo>
                  <a:pt x="773" y="857"/>
                  <a:pt x="766" y="858"/>
                  <a:pt x="758" y="858"/>
                </a:cubicBezTo>
                <a:cubicBezTo>
                  <a:pt x="751" y="857"/>
                  <a:pt x="744" y="854"/>
                  <a:pt x="736" y="850"/>
                </a:cubicBezTo>
                <a:cubicBezTo>
                  <a:pt x="729" y="846"/>
                  <a:pt x="721" y="840"/>
                  <a:pt x="713" y="832"/>
                </a:cubicBezTo>
                <a:cubicBezTo>
                  <a:pt x="706" y="825"/>
                  <a:pt x="700" y="817"/>
                  <a:pt x="696" y="810"/>
                </a:cubicBezTo>
                <a:cubicBezTo>
                  <a:pt x="692" y="802"/>
                  <a:pt x="689" y="794"/>
                  <a:pt x="689" y="786"/>
                </a:cubicBezTo>
                <a:cubicBezTo>
                  <a:pt x="688" y="779"/>
                  <a:pt x="689" y="771"/>
                  <a:pt x="692" y="763"/>
                </a:cubicBezTo>
                <a:cubicBezTo>
                  <a:pt x="695" y="756"/>
                  <a:pt x="701" y="749"/>
                  <a:pt x="708" y="741"/>
                </a:cubicBezTo>
                <a:cubicBezTo>
                  <a:pt x="714" y="735"/>
                  <a:pt x="721" y="730"/>
                  <a:pt x="729" y="727"/>
                </a:cubicBezTo>
                <a:cubicBezTo>
                  <a:pt x="736" y="724"/>
                  <a:pt x="743" y="722"/>
                  <a:pt x="750" y="723"/>
                </a:cubicBezTo>
                <a:cubicBezTo>
                  <a:pt x="758" y="724"/>
                  <a:pt x="765" y="726"/>
                  <a:pt x="772" y="730"/>
                </a:cubicBezTo>
                <a:cubicBezTo>
                  <a:pt x="780" y="734"/>
                  <a:pt x="787" y="740"/>
                  <a:pt x="795" y="748"/>
                </a:cubicBezTo>
                <a:close/>
                <a:moveTo>
                  <a:pt x="783" y="762"/>
                </a:moveTo>
                <a:cubicBezTo>
                  <a:pt x="777" y="756"/>
                  <a:pt x="772" y="752"/>
                  <a:pt x="767" y="748"/>
                </a:cubicBezTo>
                <a:cubicBezTo>
                  <a:pt x="761" y="745"/>
                  <a:pt x="756" y="742"/>
                  <a:pt x="750" y="741"/>
                </a:cubicBezTo>
                <a:cubicBezTo>
                  <a:pt x="745" y="740"/>
                  <a:pt x="739" y="740"/>
                  <a:pt x="734" y="742"/>
                </a:cubicBezTo>
                <a:cubicBezTo>
                  <a:pt x="728" y="744"/>
                  <a:pt x="723" y="747"/>
                  <a:pt x="717" y="753"/>
                </a:cubicBezTo>
                <a:cubicBezTo>
                  <a:pt x="712" y="758"/>
                  <a:pt x="709" y="764"/>
                  <a:pt x="707" y="769"/>
                </a:cubicBezTo>
                <a:cubicBezTo>
                  <a:pt x="705" y="775"/>
                  <a:pt x="705" y="781"/>
                  <a:pt x="706" y="786"/>
                </a:cubicBezTo>
                <a:cubicBezTo>
                  <a:pt x="707" y="792"/>
                  <a:pt x="709" y="797"/>
                  <a:pt x="713" y="803"/>
                </a:cubicBezTo>
                <a:cubicBezTo>
                  <a:pt x="716" y="808"/>
                  <a:pt x="721" y="813"/>
                  <a:pt x="726" y="818"/>
                </a:cubicBezTo>
                <a:cubicBezTo>
                  <a:pt x="731" y="824"/>
                  <a:pt x="737" y="828"/>
                  <a:pt x="742" y="832"/>
                </a:cubicBezTo>
                <a:cubicBezTo>
                  <a:pt x="748" y="836"/>
                  <a:pt x="753" y="838"/>
                  <a:pt x="759" y="839"/>
                </a:cubicBezTo>
                <a:cubicBezTo>
                  <a:pt x="764" y="841"/>
                  <a:pt x="769" y="840"/>
                  <a:pt x="775" y="838"/>
                </a:cubicBezTo>
                <a:cubicBezTo>
                  <a:pt x="780" y="837"/>
                  <a:pt x="786" y="833"/>
                  <a:pt x="791" y="828"/>
                </a:cubicBezTo>
                <a:cubicBezTo>
                  <a:pt x="797" y="822"/>
                  <a:pt x="800" y="817"/>
                  <a:pt x="802" y="811"/>
                </a:cubicBezTo>
                <a:cubicBezTo>
                  <a:pt x="804" y="805"/>
                  <a:pt x="804" y="800"/>
                  <a:pt x="803" y="794"/>
                </a:cubicBezTo>
                <a:cubicBezTo>
                  <a:pt x="801" y="788"/>
                  <a:pt x="799" y="783"/>
                  <a:pt x="796" y="777"/>
                </a:cubicBezTo>
                <a:cubicBezTo>
                  <a:pt x="792" y="772"/>
                  <a:pt x="788" y="767"/>
                  <a:pt x="783" y="762"/>
                </a:cubicBezTo>
                <a:close/>
                <a:moveTo>
                  <a:pt x="919" y="715"/>
                </a:moveTo>
                <a:cubicBezTo>
                  <a:pt x="919" y="715"/>
                  <a:pt x="920" y="716"/>
                  <a:pt x="920" y="716"/>
                </a:cubicBezTo>
                <a:cubicBezTo>
                  <a:pt x="920" y="717"/>
                  <a:pt x="920" y="717"/>
                  <a:pt x="919" y="718"/>
                </a:cubicBezTo>
                <a:cubicBezTo>
                  <a:pt x="919" y="719"/>
                  <a:pt x="919" y="719"/>
                  <a:pt x="918" y="720"/>
                </a:cubicBezTo>
                <a:cubicBezTo>
                  <a:pt x="917" y="721"/>
                  <a:pt x="916" y="722"/>
                  <a:pt x="915" y="723"/>
                </a:cubicBezTo>
                <a:cubicBezTo>
                  <a:pt x="914" y="724"/>
                  <a:pt x="913" y="725"/>
                  <a:pt x="912" y="726"/>
                </a:cubicBezTo>
                <a:cubicBezTo>
                  <a:pt x="911" y="727"/>
                  <a:pt x="911" y="727"/>
                  <a:pt x="910" y="727"/>
                </a:cubicBezTo>
                <a:cubicBezTo>
                  <a:pt x="909" y="728"/>
                  <a:pt x="909" y="728"/>
                  <a:pt x="908" y="728"/>
                </a:cubicBezTo>
                <a:cubicBezTo>
                  <a:pt x="908" y="728"/>
                  <a:pt x="907" y="727"/>
                  <a:pt x="907" y="727"/>
                </a:cubicBezTo>
                <a:lnTo>
                  <a:pt x="869" y="689"/>
                </a:lnTo>
                <a:cubicBezTo>
                  <a:pt x="866" y="685"/>
                  <a:pt x="862" y="683"/>
                  <a:pt x="859" y="681"/>
                </a:cubicBezTo>
                <a:cubicBezTo>
                  <a:pt x="857" y="679"/>
                  <a:pt x="854" y="678"/>
                  <a:pt x="851" y="678"/>
                </a:cubicBezTo>
                <a:cubicBezTo>
                  <a:pt x="848" y="677"/>
                  <a:pt x="846" y="677"/>
                  <a:pt x="843" y="678"/>
                </a:cubicBezTo>
                <a:cubicBezTo>
                  <a:pt x="841" y="679"/>
                  <a:pt x="838" y="681"/>
                  <a:pt x="836" y="683"/>
                </a:cubicBezTo>
                <a:cubicBezTo>
                  <a:pt x="833" y="686"/>
                  <a:pt x="831" y="690"/>
                  <a:pt x="830" y="695"/>
                </a:cubicBezTo>
                <a:cubicBezTo>
                  <a:pt x="829" y="700"/>
                  <a:pt x="829" y="706"/>
                  <a:pt x="830" y="714"/>
                </a:cubicBezTo>
                <a:lnTo>
                  <a:pt x="875" y="759"/>
                </a:lnTo>
                <a:cubicBezTo>
                  <a:pt x="876" y="759"/>
                  <a:pt x="876" y="760"/>
                  <a:pt x="876" y="760"/>
                </a:cubicBezTo>
                <a:cubicBezTo>
                  <a:pt x="876" y="761"/>
                  <a:pt x="876" y="761"/>
                  <a:pt x="876" y="762"/>
                </a:cubicBezTo>
                <a:cubicBezTo>
                  <a:pt x="875" y="762"/>
                  <a:pt x="875" y="763"/>
                  <a:pt x="874" y="764"/>
                </a:cubicBezTo>
                <a:cubicBezTo>
                  <a:pt x="874" y="765"/>
                  <a:pt x="873" y="766"/>
                  <a:pt x="871" y="767"/>
                </a:cubicBezTo>
                <a:cubicBezTo>
                  <a:pt x="870" y="768"/>
                  <a:pt x="869" y="769"/>
                  <a:pt x="868" y="770"/>
                </a:cubicBezTo>
                <a:cubicBezTo>
                  <a:pt x="868" y="770"/>
                  <a:pt x="867" y="771"/>
                  <a:pt x="866" y="771"/>
                </a:cubicBezTo>
                <a:cubicBezTo>
                  <a:pt x="865" y="771"/>
                  <a:pt x="865" y="772"/>
                  <a:pt x="865" y="771"/>
                </a:cubicBezTo>
                <a:cubicBezTo>
                  <a:pt x="864" y="771"/>
                  <a:pt x="864" y="771"/>
                  <a:pt x="863" y="771"/>
                </a:cubicBezTo>
                <a:lnTo>
                  <a:pt x="799" y="706"/>
                </a:lnTo>
                <a:cubicBezTo>
                  <a:pt x="798" y="706"/>
                  <a:pt x="798" y="705"/>
                  <a:pt x="798" y="705"/>
                </a:cubicBezTo>
                <a:cubicBezTo>
                  <a:pt x="798" y="705"/>
                  <a:pt x="798" y="704"/>
                  <a:pt x="798" y="703"/>
                </a:cubicBezTo>
                <a:cubicBezTo>
                  <a:pt x="798" y="703"/>
                  <a:pt x="799" y="702"/>
                  <a:pt x="799" y="701"/>
                </a:cubicBezTo>
                <a:cubicBezTo>
                  <a:pt x="800" y="701"/>
                  <a:pt x="801" y="700"/>
                  <a:pt x="802" y="699"/>
                </a:cubicBezTo>
                <a:cubicBezTo>
                  <a:pt x="803" y="697"/>
                  <a:pt x="804" y="697"/>
                  <a:pt x="805" y="696"/>
                </a:cubicBezTo>
                <a:cubicBezTo>
                  <a:pt x="805" y="695"/>
                  <a:pt x="806" y="695"/>
                  <a:pt x="807" y="695"/>
                </a:cubicBezTo>
                <a:cubicBezTo>
                  <a:pt x="807" y="695"/>
                  <a:pt x="808" y="695"/>
                  <a:pt x="808" y="695"/>
                </a:cubicBezTo>
                <a:cubicBezTo>
                  <a:pt x="809" y="695"/>
                  <a:pt x="809" y="695"/>
                  <a:pt x="809" y="695"/>
                </a:cubicBezTo>
                <a:lnTo>
                  <a:pt x="818" y="704"/>
                </a:lnTo>
                <a:cubicBezTo>
                  <a:pt x="817" y="696"/>
                  <a:pt x="818" y="690"/>
                  <a:pt x="820" y="684"/>
                </a:cubicBezTo>
                <a:cubicBezTo>
                  <a:pt x="822" y="679"/>
                  <a:pt x="824" y="674"/>
                  <a:pt x="828" y="670"/>
                </a:cubicBezTo>
                <a:cubicBezTo>
                  <a:pt x="832" y="666"/>
                  <a:pt x="837" y="663"/>
                  <a:pt x="841" y="662"/>
                </a:cubicBezTo>
                <a:cubicBezTo>
                  <a:pt x="845" y="660"/>
                  <a:pt x="850" y="660"/>
                  <a:pt x="854" y="660"/>
                </a:cubicBezTo>
                <a:cubicBezTo>
                  <a:pt x="858" y="661"/>
                  <a:pt x="862" y="663"/>
                  <a:pt x="867" y="665"/>
                </a:cubicBezTo>
                <a:cubicBezTo>
                  <a:pt x="871" y="668"/>
                  <a:pt x="875" y="671"/>
                  <a:pt x="880" y="676"/>
                </a:cubicBezTo>
                <a:lnTo>
                  <a:pt x="919" y="715"/>
                </a:lnTo>
                <a:close/>
                <a:moveTo>
                  <a:pt x="965" y="633"/>
                </a:moveTo>
                <a:cubicBezTo>
                  <a:pt x="969" y="637"/>
                  <a:pt x="971" y="640"/>
                  <a:pt x="972" y="644"/>
                </a:cubicBezTo>
                <a:cubicBezTo>
                  <a:pt x="974" y="648"/>
                  <a:pt x="974" y="652"/>
                  <a:pt x="974" y="656"/>
                </a:cubicBezTo>
                <a:cubicBezTo>
                  <a:pt x="973" y="660"/>
                  <a:pt x="972" y="664"/>
                  <a:pt x="970" y="668"/>
                </a:cubicBezTo>
                <a:cubicBezTo>
                  <a:pt x="968" y="672"/>
                  <a:pt x="965" y="676"/>
                  <a:pt x="961" y="679"/>
                </a:cubicBezTo>
                <a:cubicBezTo>
                  <a:pt x="959" y="682"/>
                  <a:pt x="956" y="684"/>
                  <a:pt x="954" y="686"/>
                </a:cubicBezTo>
                <a:cubicBezTo>
                  <a:pt x="951" y="687"/>
                  <a:pt x="949" y="689"/>
                  <a:pt x="947" y="690"/>
                </a:cubicBezTo>
                <a:cubicBezTo>
                  <a:pt x="945" y="691"/>
                  <a:pt x="943" y="692"/>
                  <a:pt x="941" y="692"/>
                </a:cubicBezTo>
                <a:cubicBezTo>
                  <a:pt x="939" y="693"/>
                  <a:pt x="938" y="693"/>
                  <a:pt x="937" y="693"/>
                </a:cubicBezTo>
                <a:cubicBezTo>
                  <a:pt x="936" y="693"/>
                  <a:pt x="935" y="693"/>
                  <a:pt x="934" y="692"/>
                </a:cubicBezTo>
                <a:cubicBezTo>
                  <a:pt x="932" y="692"/>
                  <a:pt x="931" y="691"/>
                  <a:pt x="930" y="689"/>
                </a:cubicBezTo>
                <a:cubicBezTo>
                  <a:pt x="929" y="688"/>
                  <a:pt x="928" y="687"/>
                  <a:pt x="928" y="687"/>
                </a:cubicBezTo>
                <a:cubicBezTo>
                  <a:pt x="927" y="686"/>
                  <a:pt x="927" y="685"/>
                  <a:pt x="926" y="685"/>
                </a:cubicBezTo>
                <a:cubicBezTo>
                  <a:pt x="926" y="684"/>
                  <a:pt x="926" y="684"/>
                  <a:pt x="926" y="683"/>
                </a:cubicBezTo>
                <a:cubicBezTo>
                  <a:pt x="926" y="683"/>
                  <a:pt x="926" y="683"/>
                  <a:pt x="927" y="682"/>
                </a:cubicBezTo>
                <a:cubicBezTo>
                  <a:pt x="927" y="682"/>
                  <a:pt x="928" y="681"/>
                  <a:pt x="930" y="681"/>
                </a:cubicBezTo>
                <a:cubicBezTo>
                  <a:pt x="932" y="680"/>
                  <a:pt x="934" y="680"/>
                  <a:pt x="936" y="679"/>
                </a:cubicBezTo>
                <a:cubicBezTo>
                  <a:pt x="938" y="678"/>
                  <a:pt x="941" y="677"/>
                  <a:pt x="944" y="676"/>
                </a:cubicBezTo>
                <a:cubicBezTo>
                  <a:pt x="946" y="675"/>
                  <a:pt x="949" y="672"/>
                  <a:pt x="952" y="670"/>
                </a:cubicBezTo>
                <a:cubicBezTo>
                  <a:pt x="954" y="668"/>
                  <a:pt x="955" y="666"/>
                  <a:pt x="956" y="664"/>
                </a:cubicBezTo>
                <a:cubicBezTo>
                  <a:pt x="958" y="662"/>
                  <a:pt x="958" y="660"/>
                  <a:pt x="959" y="658"/>
                </a:cubicBezTo>
                <a:cubicBezTo>
                  <a:pt x="959" y="656"/>
                  <a:pt x="959" y="654"/>
                  <a:pt x="958" y="652"/>
                </a:cubicBezTo>
                <a:cubicBezTo>
                  <a:pt x="958" y="650"/>
                  <a:pt x="956" y="648"/>
                  <a:pt x="955" y="646"/>
                </a:cubicBezTo>
                <a:cubicBezTo>
                  <a:pt x="953" y="644"/>
                  <a:pt x="951" y="643"/>
                  <a:pt x="949" y="643"/>
                </a:cubicBezTo>
                <a:cubicBezTo>
                  <a:pt x="947" y="643"/>
                  <a:pt x="944" y="643"/>
                  <a:pt x="942" y="643"/>
                </a:cubicBezTo>
                <a:cubicBezTo>
                  <a:pt x="939" y="644"/>
                  <a:pt x="937" y="645"/>
                  <a:pt x="934" y="646"/>
                </a:cubicBezTo>
                <a:cubicBezTo>
                  <a:pt x="931" y="647"/>
                  <a:pt x="929" y="648"/>
                  <a:pt x="926" y="649"/>
                </a:cubicBezTo>
                <a:cubicBezTo>
                  <a:pt x="923" y="651"/>
                  <a:pt x="920" y="652"/>
                  <a:pt x="917" y="653"/>
                </a:cubicBezTo>
                <a:cubicBezTo>
                  <a:pt x="914" y="654"/>
                  <a:pt x="911" y="654"/>
                  <a:pt x="908" y="654"/>
                </a:cubicBezTo>
                <a:cubicBezTo>
                  <a:pt x="905" y="654"/>
                  <a:pt x="902" y="654"/>
                  <a:pt x="899" y="652"/>
                </a:cubicBezTo>
                <a:cubicBezTo>
                  <a:pt x="896" y="651"/>
                  <a:pt x="893" y="649"/>
                  <a:pt x="890" y="646"/>
                </a:cubicBezTo>
                <a:cubicBezTo>
                  <a:pt x="888" y="644"/>
                  <a:pt x="886" y="641"/>
                  <a:pt x="884" y="638"/>
                </a:cubicBezTo>
                <a:cubicBezTo>
                  <a:pt x="883" y="634"/>
                  <a:pt x="882" y="631"/>
                  <a:pt x="883" y="627"/>
                </a:cubicBezTo>
                <a:cubicBezTo>
                  <a:pt x="883" y="623"/>
                  <a:pt x="884" y="620"/>
                  <a:pt x="886" y="616"/>
                </a:cubicBezTo>
                <a:cubicBezTo>
                  <a:pt x="888" y="612"/>
                  <a:pt x="891" y="608"/>
                  <a:pt x="895" y="604"/>
                </a:cubicBezTo>
                <a:cubicBezTo>
                  <a:pt x="896" y="602"/>
                  <a:pt x="898" y="600"/>
                  <a:pt x="900" y="599"/>
                </a:cubicBezTo>
                <a:cubicBezTo>
                  <a:pt x="902" y="598"/>
                  <a:pt x="904" y="596"/>
                  <a:pt x="906" y="595"/>
                </a:cubicBezTo>
                <a:cubicBezTo>
                  <a:pt x="908" y="594"/>
                  <a:pt x="909" y="594"/>
                  <a:pt x="911" y="593"/>
                </a:cubicBezTo>
                <a:cubicBezTo>
                  <a:pt x="912" y="593"/>
                  <a:pt x="914" y="592"/>
                  <a:pt x="914" y="592"/>
                </a:cubicBezTo>
                <a:cubicBezTo>
                  <a:pt x="915" y="592"/>
                  <a:pt x="916" y="592"/>
                  <a:pt x="916" y="592"/>
                </a:cubicBezTo>
                <a:cubicBezTo>
                  <a:pt x="917" y="592"/>
                  <a:pt x="917" y="593"/>
                  <a:pt x="918" y="593"/>
                </a:cubicBezTo>
                <a:cubicBezTo>
                  <a:pt x="918" y="593"/>
                  <a:pt x="919" y="594"/>
                  <a:pt x="919" y="594"/>
                </a:cubicBezTo>
                <a:cubicBezTo>
                  <a:pt x="920" y="595"/>
                  <a:pt x="921" y="595"/>
                  <a:pt x="921" y="596"/>
                </a:cubicBezTo>
                <a:cubicBezTo>
                  <a:pt x="922" y="597"/>
                  <a:pt x="923" y="597"/>
                  <a:pt x="923" y="598"/>
                </a:cubicBezTo>
                <a:cubicBezTo>
                  <a:pt x="924" y="599"/>
                  <a:pt x="924" y="599"/>
                  <a:pt x="924" y="600"/>
                </a:cubicBezTo>
                <a:cubicBezTo>
                  <a:pt x="925" y="601"/>
                  <a:pt x="925" y="601"/>
                  <a:pt x="925" y="601"/>
                </a:cubicBezTo>
                <a:cubicBezTo>
                  <a:pt x="925" y="602"/>
                  <a:pt x="924" y="602"/>
                  <a:pt x="924" y="602"/>
                </a:cubicBezTo>
                <a:cubicBezTo>
                  <a:pt x="924" y="603"/>
                  <a:pt x="923" y="603"/>
                  <a:pt x="922" y="604"/>
                </a:cubicBezTo>
                <a:cubicBezTo>
                  <a:pt x="920" y="604"/>
                  <a:pt x="919" y="604"/>
                  <a:pt x="917" y="605"/>
                </a:cubicBezTo>
                <a:cubicBezTo>
                  <a:pt x="915" y="606"/>
                  <a:pt x="913" y="607"/>
                  <a:pt x="910" y="608"/>
                </a:cubicBezTo>
                <a:cubicBezTo>
                  <a:pt x="908" y="609"/>
                  <a:pt x="906" y="611"/>
                  <a:pt x="904" y="613"/>
                </a:cubicBezTo>
                <a:cubicBezTo>
                  <a:pt x="902" y="615"/>
                  <a:pt x="900" y="617"/>
                  <a:pt x="899" y="619"/>
                </a:cubicBezTo>
                <a:cubicBezTo>
                  <a:pt x="898" y="621"/>
                  <a:pt x="897" y="623"/>
                  <a:pt x="897" y="625"/>
                </a:cubicBezTo>
                <a:cubicBezTo>
                  <a:pt x="897" y="627"/>
                  <a:pt x="897" y="628"/>
                  <a:pt x="898" y="630"/>
                </a:cubicBezTo>
                <a:cubicBezTo>
                  <a:pt x="899" y="632"/>
                  <a:pt x="900" y="633"/>
                  <a:pt x="901" y="634"/>
                </a:cubicBezTo>
                <a:cubicBezTo>
                  <a:pt x="903" y="636"/>
                  <a:pt x="905" y="637"/>
                  <a:pt x="907" y="638"/>
                </a:cubicBezTo>
                <a:cubicBezTo>
                  <a:pt x="909" y="638"/>
                  <a:pt x="912" y="638"/>
                  <a:pt x="914" y="637"/>
                </a:cubicBezTo>
                <a:cubicBezTo>
                  <a:pt x="917" y="637"/>
                  <a:pt x="919" y="636"/>
                  <a:pt x="922" y="635"/>
                </a:cubicBezTo>
                <a:cubicBezTo>
                  <a:pt x="925" y="633"/>
                  <a:pt x="927" y="632"/>
                  <a:pt x="930" y="631"/>
                </a:cubicBezTo>
                <a:cubicBezTo>
                  <a:pt x="933" y="630"/>
                  <a:pt x="936" y="629"/>
                  <a:pt x="939" y="628"/>
                </a:cubicBezTo>
                <a:cubicBezTo>
                  <a:pt x="942" y="627"/>
                  <a:pt x="945" y="626"/>
                  <a:pt x="948" y="626"/>
                </a:cubicBezTo>
                <a:cubicBezTo>
                  <a:pt x="951" y="626"/>
                  <a:pt x="954" y="627"/>
                  <a:pt x="957" y="628"/>
                </a:cubicBezTo>
                <a:cubicBezTo>
                  <a:pt x="960" y="629"/>
                  <a:pt x="963" y="631"/>
                  <a:pt x="965" y="633"/>
                </a:cubicBezTo>
                <a:close/>
                <a:moveTo>
                  <a:pt x="1011" y="623"/>
                </a:moveTo>
                <a:cubicBezTo>
                  <a:pt x="1011" y="624"/>
                  <a:pt x="1012" y="624"/>
                  <a:pt x="1012" y="624"/>
                </a:cubicBezTo>
                <a:cubicBezTo>
                  <a:pt x="1012" y="625"/>
                  <a:pt x="1012" y="625"/>
                  <a:pt x="1011" y="626"/>
                </a:cubicBezTo>
                <a:cubicBezTo>
                  <a:pt x="1011" y="627"/>
                  <a:pt x="1011" y="627"/>
                  <a:pt x="1010" y="628"/>
                </a:cubicBezTo>
                <a:cubicBezTo>
                  <a:pt x="1009" y="629"/>
                  <a:pt x="1008" y="630"/>
                  <a:pt x="1007" y="631"/>
                </a:cubicBezTo>
                <a:cubicBezTo>
                  <a:pt x="1006" y="632"/>
                  <a:pt x="1005" y="633"/>
                  <a:pt x="1004" y="634"/>
                </a:cubicBezTo>
                <a:cubicBezTo>
                  <a:pt x="1003" y="635"/>
                  <a:pt x="1003" y="635"/>
                  <a:pt x="1002" y="635"/>
                </a:cubicBezTo>
                <a:cubicBezTo>
                  <a:pt x="1001" y="636"/>
                  <a:pt x="1001" y="636"/>
                  <a:pt x="1000" y="636"/>
                </a:cubicBezTo>
                <a:cubicBezTo>
                  <a:pt x="1000" y="636"/>
                  <a:pt x="999" y="635"/>
                  <a:pt x="999" y="635"/>
                </a:cubicBezTo>
                <a:lnTo>
                  <a:pt x="934" y="570"/>
                </a:lnTo>
                <a:cubicBezTo>
                  <a:pt x="934" y="570"/>
                  <a:pt x="934" y="570"/>
                  <a:pt x="934" y="569"/>
                </a:cubicBezTo>
                <a:cubicBezTo>
                  <a:pt x="934" y="569"/>
                  <a:pt x="934" y="568"/>
                  <a:pt x="934" y="568"/>
                </a:cubicBezTo>
                <a:cubicBezTo>
                  <a:pt x="934" y="567"/>
                  <a:pt x="935" y="566"/>
                  <a:pt x="935" y="565"/>
                </a:cubicBezTo>
                <a:cubicBezTo>
                  <a:pt x="936" y="564"/>
                  <a:pt x="937" y="563"/>
                  <a:pt x="938" y="562"/>
                </a:cubicBezTo>
                <a:cubicBezTo>
                  <a:pt x="939" y="561"/>
                  <a:pt x="940" y="560"/>
                  <a:pt x="941" y="559"/>
                </a:cubicBezTo>
                <a:cubicBezTo>
                  <a:pt x="942" y="559"/>
                  <a:pt x="943" y="558"/>
                  <a:pt x="943" y="558"/>
                </a:cubicBezTo>
                <a:cubicBezTo>
                  <a:pt x="944" y="558"/>
                  <a:pt x="945" y="558"/>
                  <a:pt x="945" y="558"/>
                </a:cubicBezTo>
                <a:cubicBezTo>
                  <a:pt x="946" y="558"/>
                  <a:pt x="946" y="558"/>
                  <a:pt x="946" y="559"/>
                </a:cubicBezTo>
                <a:lnTo>
                  <a:pt x="1011" y="623"/>
                </a:lnTo>
                <a:close/>
                <a:moveTo>
                  <a:pt x="926" y="535"/>
                </a:moveTo>
                <a:cubicBezTo>
                  <a:pt x="929" y="538"/>
                  <a:pt x="930" y="541"/>
                  <a:pt x="930" y="543"/>
                </a:cubicBezTo>
                <a:cubicBezTo>
                  <a:pt x="930" y="545"/>
                  <a:pt x="928" y="547"/>
                  <a:pt x="926" y="550"/>
                </a:cubicBezTo>
                <a:cubicBezTo>
                  <a:pt x="923" y="553"/>
                  <a:pt x="920" y="554"/>
                  <a:pt x="918" y="554"/>
                </a:cubicBezTo>
                <a:cubicBezTo>
                  <a:pt x="916" y="554"/>
                  <a:pt x="914" y="553"/>
                  <a:pt x="911" y="550"/>
                </a:cubicBezTo>
                <a:cubicBezTo>
                  <a:pt x="909" y="547"/>
                  <a:pt x="907" y="545"/>
                  <a:pt x="907" y="543"/>
                </a:cubicBezTo>
                <a:cubicBezTo>
                  <a:pt x="907" y="541"/>
                  <a:pt x="909" y="538"/>
                  <a:pt x="912" y="536"/>
                </a:cubicBezTo>
                <a:cubicBezTo>
                  <a:pt x="914" y="533"/>
                  <a:pt x="917" y="531"/>
                  <a:pt x="919" y="531"/>
                </a:cubicBezTo>
                <a:cubicBezTo>
                  <a:pt x="921" y="531"/>
                  <a:pt x="923" y="533"/>
                  <a:pt x="926" y="535"/>
                </a:cubicBezTo>
                <a:close/>
                <a:moveTo>
                  <a:pt x="1062" y="563"/>
                </a:moveTo>
                <a:cubicBezTo>
                  <a:pt x="1063" y="564"/>
                  <a:pt x="1064" y="565"/>
                  <a:pt x="1065" y="566"/>
                </a:cubicBezTo>
                <a:cubicBezTo>
                  <a:pt x="1065" y="567"/>
                  <a:pt x="1066" y="568"/>
                  <a:pt x="1066" y="569"/>
                </a:cubicBezTo>
                <a:cubicBezTo>
                  <a:pt x="1066" y="570"/>
                  <a:pt x="1066" y="571"/>
                  <a:pt x="1065" y="572"/>
                </a:cubicBezTo>
                <a:cubicBezTo>
                  <a:pt x="1065" y="573"/>
                  <a:pt x="1064" y="574"/>
                  <a:pt x="1063" y="575"/>
                </a:cubicBezTo>
                <a:cubicBezTo>
                  <a:pt x="1063" y="576"/>
                  <a:pt x="1062" y="578"/>
                  <a:pt x="1061" y="579"/>
                </a:cubicBezTo>
                <a:cubicBezTo>
                  <a:pt x="1060" y="580"/>
                  <a:pt x="1059" y="581"/>
                  <a:pt x="1058" y="582"/>
                </a:cubicBezTo>
                <a:cubicBezTo>
                  <a:pt x="1054" y="586"/>
                  <a:pt x="1051" y="588"/>
                  <a:pt x="1048" y="590"/>
                </a:cubicBezTo>
                <a:cubicBezTo>
                  <a:pt x="1044" y="591"/>
                  <a:pt x="1041" y="592"/>
                  <a:pt x="1038" y="592"/>
                </a:cubicBezTo>
                <a:cubicBezTo>
                  <a:pt x="1035" y="591"/>
                  <a:pt x="1031" y="590"/>
                  <a:pt x="1028" y="588"/>
                </a:cubicBezTo>
                <a:cubicBezTo>
                  <a:pt x="1024" y="586"/>
                  <a:pt x="1021" y="583"/>
                  <a:pt x="1017" y="579"/>
                </a:cubicBezTo>
                <a:lnTo>
                  <a:pt x="979" y="542"/>
                </a:lnTo>
                <a:lnTo>
                  <a:pt x="970" y="551"/>
                </a:lnTo>
                <a:cubicBezTo>
                  <a:pt x="969" y="551"/>
                  <a:pt x="968" y="552"/>
                  <a:pt x="967" y="551"/>
                </a:cubicBezTo>
                <a:cubicBezTo>
                  <a:pt x="966" y="551"/>
                  <a:pt x="965" y="550"/>
                  <a:pt x="963" y="548"/>
                </a:cubicBezTo>
                <a:cubicBezTo>
                  <a:pt x="962" y="547"/>
                  <a:pt x="961" y="546"/>
                  <a:pt x="961" y="546"/>
                </a:cubicBezTo>
                <a:cubicBezTo>
                  <a:pt x="960" y="545"/>
                  <a:pt x="960" y="544"/>
                  <a:pt x="960" y="544"/>
                </a:cubicBezTo>
                <a:cubicBezTo>
                  <a:pt x="959" y="543"/>
                  <a:pt x="959" y="542"/>
                  <a:pt x="960" y="542"/>
                </a:cubicBezTo>
                <a:cubicBezTo>
                  <a:pt x="960" y="542"/>
                  <a:pt x="960" y="541"/>
                  <a:pt x="960" y="541"/>
                </a:cubicBezTo>
                <a:lnTo>
                  <a:pt x="969" y="532"/>
                </a:lnTo>
                <a:lnTo>
                  <a:pt x="954" y="516"/>
                </a:lnTo>
                <a:cubicBezTo>
                  <a:pt x="954" y="516"/>
                  <a:pt x="953" y="516"/>
                  <a:pt x="953" y="515"/>
                </a:cubicBezTo>
                <a:cubicBezTo>
                  <a:pt x="953" y="515"/>
                  <a:pt x="953" y="514"/>
                  <a:pt x="953" y="514"/>
                </a:cubicBezTo>
                <a:cubicBezTo>
                  <a:pt x="954" y="513"/>
                  <a:pt x="954" y="512"/>
                  <a:pt x="955" y="511"/>
                </a:cubicBezTo>
                <a:cubicBezTo>
                  <a:pt x="955" y="510"/>
                  <a:pt x="956" y="509"/>
                  <a:pt x="958" y="508"/>
                </a:cubicBezTo>
                <a:cubicBezTo>
                  <a:pt x="959" y="507"/>
                  <a:pt x="960" y="506"/>
                  <a:pt x="961" y="505"/>
                </a:cubicBezTo>
                <a:cubicBezTo>
                  <a:pt x="961" y="505"/>
                  <a:pt x="962" y="504"/>
                  <a:pt x="963" y="504"/>
                </a:cubicBezTo>
                <a:cubicBezTo>
                  <a:pt x="964" y="504"/>
                  <a:pt x="964" y="504"/>
                  <a:pt x="965" y="504"/>
                </a:cubicBezTo>
                <a:cubicBezTo>
                  <a:pt x="965" y="504"/>
                  <a:pt x="965" y="504"/>
                  <a:pt x="966" y="505"/>
                </a:cubicBezTo>
                <a:lnTo>
                  <a:pt x="981" y="520"/>
                </a:lnTo>
                <a:lnTo>
                  <a:pt x="998" y="503"/>
                </a:lnTo>
                <a:cubicBezTo>
                  <a:pt x="998" y="503"/>
                  <a:pt x="999" y="503"/>
                  <a:pt x="999" y="503"/>
                </a:cubicBezTo>
                <a:cubicBezTo>
                  <a:pt x="999" y="502"/>
                  <a:pt x="1000" y="502"/>
                  <a:pt x="1001" y="503"/>
                </a:cubicBezTo>
                <a:cubicBezTo>
                  <a:pt x="1001" y="503"/>
                  <a:pt x="1002" y="503"/>
                  <a:pt x="1003" y="504"/>
                </a:cubicBezTo>
                <a:cubicBezTo>
                  <a:pt x="1003" y="504"/>
                  <a:pt x="1004" y="505"/>
                  <a:pt x="1005" y="506"/>
                </a:cubicBezTo>
                <a:cubicBezTo>
                  <a:pt x="1007" y="508"/>
                  <a:pt x="1008" y="509"/>
                  <a:pt x="1008" y="510"/>
                </a:cubicBezTo>
                <a:cubicBezTo>
                  <a:pt x="1008" y="511"/>
                  <a:pt x="1008" y="512"/>
                  <a:pt x="1008" y="513"/>
                </a:cubicBezTo>
                <a:lnTo>
                  <a:pt x="991" y="530"/>
                </a:lnTo>
                <a:lnTo>
                  <a:pt x="1027" y="566"/>
                </a:lnTo>
                <a:cubicBezTo>
                  <a:pt x="1031" y="570"/>
                  <a:pt x="1036" y="573"/>
                  <a:pt x="1039" y="574"/>
                </a:cubicBezTo>
                <a:cubicBezTo>
                  <a:pt x="1043" y="575"/>
                  <a:pt x="1046" y="574"/>
                  <a:pt x="1050" y="570"/>
                </a:cubicBezTo>
                <a:cubicBezTo>
                  <a:pt x="1051" y="569"/>
                  <a:pt x="1052" y="568"/>
                  <a:pt x="1052" y="567"/>
                </a:cubicBezTo>
                <a:cubicBezTo>
                  <a:pt x="1053" y="566"/>
                  <a:pt x="1053" y="565"/>
                  <a:pt x="1054" y="564"/>
                </a:cubicBezTo>
                <a:cubicBezTo>
                  <a:pt x="1054" y="563"/>
                  <a:pt x="1055" y="562"/>
                  <a:pt x="1055" y="562"/>
                </a:cubicBezTo>
                <a:cubicBezTo>
                  <a:pt x="1055" y="561"/>
                  <a:pt x="1055" y="560"/>
                  <a:pt x="1056" y="560"/>
                </a:cubicBezTo>
                <a:cubicBezTo>
                  <a:pt x="1056" y="560"/>
                  <a:pt x="1056" y="560"/>
                  <a:pt x="1057" y="559"/>
                </a:cubicBezTo>
                <a:cubicBezTo>
                  <a:pt x="1057" y="559"/>
                  <a:pt x="1057" y="559"/>
                  <a:pt x="1058" y="560"/>
                </a:cubicBezTo>
                <a:cubicBezTo>
                  <a:pt x="1058" y="560"/>
                  <a:pt x="1059" y="560"/>
                  <a:pt x="1060" y="561"/>
                </a:cubicBezTo>
                <a:cubicBezTo>
                  <a:pt x="1060" y="561"/>
                  <a:pt x="1061" y="562"/>
                  <a:pt x="1062" y="563"/>
                </a:cubicBezTo>
                <a:close/>
                <a:moveTo>
                  <a:pt x="1098" y="466"/>
                </a:moveTo>
                <a:cubicBezTo>
                  <a:pt x="1100" y="467"/>
                  <a:pt x="1101" y="469"/>
                  <a:pt x="1101" y="471"/>
                </a:cubicBezTo>
                <a:cubicBezTo>
                  <a:pt x="1101" y="473"/>
                  <a:pt x="1100" y="474"/>
                  <a:pt x="1099" y="475"/>
                </a:cubicBezTo>
                <a:lnTo>
                  <a:pt x="1056" y="518"/>
                </a:lnTo>
                <a:cubicBezTo>
                  <a:pt x="1060" y="521"/>
                  <a:pt x="1063" y="524"/>
                  <a:pt x="1067" y="526"/>
                </a:cubicBezTo>
                <a:cubicBezTo>
                  <a:pt x="1071" y="529"/>
                  <a:pt x="1074" y="530"/>
                  <a:pt x="1078" y="530"/>
                </a:cubicBezTo>
                <a:cubicBezTo>
                  <a:pt x="1082" y="531"/>
                  <a:pt x="1086" y="530"/>
                  <a:pt x="1089" y="528"/>
                </a:cubicBezTo>
                <a:cubicBezTo>
                  <a:pt x="1093" y="527"/>
                  <a:pt x="1097" y="524"/>
                  <a:pt x="1101" y="520"/>
                </a:cubicBezTo>
                <a:cubicBezTo>
                  <a:pt x="1104" y="517"/>
                  <a:pt x="1106" y="514"/>
                  <a:pt x="1108" y="511"/>
                </a:cubicBezTo>
                <a:cubicBezTo>
                  <a:pt x="1110" y="508"/>
                  <a:pt x="1112" y="506"/>
                  <a:pt x="1113" y="503"/>
                </a:cubicBezTo>
                <a:cubicBezTo>
                  <a:pt x="1114" y="501"/>
                  <a:pt x="1115" y="499"/>
                  <a:pt x="1116" y="497"/>
                </a:cubicBezTo>
                <a:cubicBezTo>
                  <a:pt x="1116" y="496"/>
                  <a:pt x="1117" y="495"/>
                  <a:pt x="1117" y="494"/>
                </a:cubicBezTo>
                <a:cubicBezTo>
                  <a:pt x="1118" y="494"/>
                  <a:pt x="1118" y="493"/>
                  <a:pt x="1119" y="493"/>
                </a:cubicBezTo>
                <a:cubicBezTo>
                  <a:pt x="1119" y="493"/>
                  <a:pt x="1119" y="493"/>
                  <a:pt x="1120" y="493"/>
                </a:cubicBezTo>
                <a:cubicBezTo>
                  <a:pt x="1120" y="494"/>
                  <a:pt x="1121" y="494"/>
                  <a:pt x="1122" y="495"/>
                </a:cubicBezTo>
                <a:cubicBezTo>
                  <a:pt x="1122" y="495"/>
                  <a:pt x="1123" y="496"/>
                  <a:pt x="1124" y="497"/>
                </a:cubicBezTo>
                <a:cubicBezTo>
                  <a:pt x="1125" y="497"/>
                  <a:pt x="1125" y="498"/>
                  <a:pt x="1125" y="498"/>
                </a:cubicBezTo>
                <a:cubicBezTo>
                  <a:pt x="1126" y="499"/>
                  <a:pt x="1126" y="499"/>
                  <a:pt x="1127" y="500"/>
                </a:cubicBezTo>
                <a:cubicBezTo>
                  <a:pt x="1127" y="500"/>
                  <a:pt x="1127" y="501"/>
                  <a:pt x="1127" y="501"/>
                </a:cubicBezTo>
                <a:cubicBezTo>
                  <a:pt x="1127" y="501"/>
                  <a:pt x="1127" y="502"/>
                  <a:pt x="1127" y="503"/>
                </a:cubicBezTo>
                <a:cubicBezTo>
                  <a:pt x="1127" y="503"/>
                  <a:pt x="1127" y="504"/>
                  <a:pt x="1126" y="506"/>
                </a:cubicBezTo>
                <a:cubicBezTo>
                  <a:pt x="1126" y="508"/>
                  <a:pt x="1124" y="510"/>
                  <a:pt x="1123" y="513"/>
                </a:cubicBezTo>
                <a:cubicBezTo>
                  <a:pt x="1122" y="516"/>
                  <a:pt x="1120" y="518"/>
                  <a:pt x="1117" y="522"/>
                </a:cubicBezTo>
                <a:cubicBezTo>
                  <a:pt x="1115" y="525"/>
                  <a:pt x="1112" y="528"/>
                  <a:pt x="1109" y="531"/>
                </a:cubicBezTo>
                <a:cubicBezTo>
                  <a:pt x="1104" y="536"/>
                  <a:pt x="1099" y="540"/>
                  <a:pt x="1093" y="543"/>
                </a:cubicBezTo>
                <a:cubicBezTo>
                  <a:pt x="1088" y="545"/>
                  <a:pt x="1082" y="546"/>
                  <a:pt x="1077" y="546"/>
                </a:cubicBezTo>
                <a:cubicBezTo>
                  <a:pt x="1071" y="546"/>
                  <a:pt x="1065" y="544"/>
                  <a:pt x="1059" y="541"/>
                </a:cubicBezTo>
                <a:cubicBezTo>
                  <a:pt x="1054" y="538"/>
                  <a:pt x="1048" y="534"/>
                  <a:pt x="1042" y="528"/>
                </a:cubicBezTo>
                <a:cubicBezTo>
                  <a:pt x="1036" y="523"/>
                  <a:pt x="1032" y="517"/>
                  <a:pt x="1029" y="511"/>
                </a:cubicBezTo>
                <a:cubicBezTo>
                  <a:pt x="1026" y="505"/>
                  <a:pt x="1024" y="499"/>
                  <a:pt x="1024" y="493"/>
                </a:cubicBezTo>
                <a:cubicBezTo>
                  <a:pt x="1024" y="488"/>
                  <a:pt x="1025" y="482"/>
                  <a:pt x="1027" y="477"/>
                </a:cubicBezTo>
                <a:cubicBezTo>
                  <a:pt x="1029" y="471"/>
                  <a:pt x="1032" y="466"/>
                  <a:pt x="1037" y="461"/>
                </a:cubicBezTo>
                <a:cubicBezTo>
                  <a:pt x="1042" y="456"/>
                  <a:pt x="1047" y="453"/>
                  <a:pt x="1052" y="451"/>
                </a:cubicBezTo>
                <a:cubicBezTo>
                  <a:pt x="1058" y="449"/>
                  <a:pt x="1063" y="448"/>
                  <a:pt x="1068" y="448"/>
                </a:cubicBezTo>
                <a:cubicBezTo>
                  <a:pt x="1073" y="449"/>
                  <a:pt x="1078" y="450"/>
                  <a:pt x="1083" y="453"/>
                </a:cubicBezTo>
                <a:cubicBezTo>
                  <a:pt x="1087" y="456"/>
                  <a:pt x="1092" y="459"/>
                  <a:pt x="1096" y="463"/>
                </a:cubicBezTo>
                <a:lnTo>
                  <a:pt x="1098" y="466"/>
                </a:lnTo>
                <a:close/>
                <a:moveTo>
                  <a:pt x="1083" y="474"/>
                </a:moveTo>
                <a:cubicBezTo>
                  <a:pt x="1077" y="468"/>
                  <a:pt x="1070" y="464"/>
                  <a:pt x="1064" y="463"/>
                </a:cubicBezTo>
                <a:cubicBezTo>
                  <a:pt x="1058" y="463"/>
                  <a:pt x="1051" y="465"/>
                  <a:pt x="1046" y="471"/>
                </a:cubicBezTo>
                <a:cubicBezTo>
                  <a:pt x="1043" y="474"/>
                  <a:pt x="1041" y="477"/>
                  <a:pt x="1040" y="480"/>
                </a:cubicBezTo>
                <a:cubicBezTo>
                  <a:pt x="1039" y="484"/>
                  <a:pt x="1038" y="487"/>
                  <a:pt x="1038" y="490"/>
                </a:cubicBezTo>
                <a:cubicBezTo>
                  <a:pt x="1039" y="494"/>
                  <a:pt x="1040" y="497"/>
                  <a:pt x="1041" y="500"/>
                </a:cubicBezTo>
                <a:cubicBezTo>
                  <a:pt x="1043" y="503"/>
                  <a:pt x="1045" y="506"/>
                  <a:pt x="1048" y="509"/>
                </a:cubicBezTo>
                <a:lnTo>
                  <a:pt x="1083" y="474"/>
                </a:lnTo>
                <a:close/>
                <a:moveTo>
                  <a:pt x="1186" y="320"/>
                </a:moveTo>
                <a:cubicBezTo>
                  <a:pt x="1191" y="325"/>
                  <a:pt x="1194" y="330"/>
                  <a:pt x="1196" y="335"/>
                </a:cubicBezTo>
                <a:cubicBezTo>
                  <a:pt x="1198" y="340"/>
                  <a:pt x="1199" y="346"/>
                  <a:pt x="1199" y="351"/>
                </a:cubicBezTo>
                <a:cubicBezTo>
                  <a:pt x="1199" y="357"/>
                  <a:pt x="1197" y="362"/>
                  <a:pt x="1195" y="368"/>
                </a:cubicBezTo>
                <a:cubicBezTo>
                  <a:pt x="1192" y="373"/>
                  <a:pt x="1188" y="379"/>
                  <a:pt x="1182" y="385"/>
                </a:cubicBezTo>
                <a:lnTo>
                  <a:pt x="1172" y="395"/>
                </a:lnTo>
                <a:lnTo>
                  <a:pt x="1205" y="429"/>
                </a:lnTo>
                <a:cubicBezTo>
                  <a:pt x="1205" y="429"/>
                  <a:pt x="1206" y="430"/>
                  <a:pt x="1206" y="430"/>
                </a:cubicBezTo>
                <a:cubicBezTo>
                  <a:pt x="1206" y="431"/>
                  <a:pt x="1206" y="431"/>
                  <a:pt x="1205" y="432"/>
                </a:cubicBezTo>
                <a:cubicBezTo>
                  <a:pt x="1205" y="433"/>
                  <a:pt x="1205" y="433"/>
                  <a:pt x="1204" y="434"/>
                </a:cubicBezTo>
                <a:cubicBezTo>
                  <a:pt x="1203" y="435"/>
                  <a:pt x="1202" y="436"/>
                  <a:pt x="1201" y="437"/>
                </a:cubicBezTo>
                <a:cubicBezTo>
                  <a:pt x="1200" y="439"/>
                  <a:pt x="1199" y="439"/>
                  <a:pt x="1198" y="440"/>
                </a:cubicBezTo>
                <a:cubicBezTo>
                  <a:pt x="1197" y="441"/>
                  <a:pt x="1196" y="441"/>
                  <a:pt x="1196" y="442"/>
                </a:cubicBezTo>
                <a:cubicBezTo>
                  <a:pt x="1195" y="442"/>
                  <a:pt x="1194" y="442"/>
                  <a:pt x="1194" y="442"/>
                </a:cubicBezTo>
                <a:cubicBezTo>
                  <a:pt x="1193" y="442"/>
                  <a:pt x="1193" y="442"/>
                  <a:pt x="1193" y="441"/>
                </a:cubicBezTo>
                <a:lnTo>
                  <a:pt x="1107" y="355"/>
                </a:lnTo>
                <a:cubicBezTo>
                  <a:pt x="1105" y="354"/>
                  <a:pt x="1104" y="352"/>
                  <a:pt x="1104" y="350"/>
                </a:cubicBezTo>
                <a:cubicBezTo>
                  <a:pt x="1105" y="348"/>
                  <a:pt x="1105" y="347"/>
                  <a:pt x="1106" y="345"/>
                </a:cubicBezTo>
                <a:lnTo>
                  <a:pt x="1126" y="325"/>
                </a:lnTo>
                <a:cubicBezTo>
                  <a:pt x="1128" y="323"/>
                  <a:pt x="1130" y="322"/>
                  <a:pt x="1132" y="320"/>
                </a:cubicBezTo>
                <a:cubicBezTo>
                  <a:pt x="1134" y="318"/>
                  <a:pt x="1137" y="316"/>
                  <a:pt x="1140" y="314"/>
                </a:cubicBezTo>
                <a:cubicBezTo>
                  <a:pt x="1143" y="312"/>
                  <a:pt x="1147" y="311"/>
                  <a:pt x="1151" y="310"/>
                </a:cubicBezTo>
                <a:cubicBezTo>
                  <a:pt x="1155" y="309"/>
                  <a:pt x="1159" y="308"/>
                  <a:pt x="1163" y="309"/>
                </a:cubicBezTo>
                <a:cubicBezTo>
                  <a:pt x="1167" y="309"/>
                  <a:pt x="1171" y="310"/>
                  <a:pt x="1175" y="312"/>
                </a:cubicBezTo>
                <a:cubicBezTo>
                  <a:pt x="1179" y="314"/>
                  <a:pt x="1182" y="317"/>
                  <a:pt x="1186" y="320"/>
                </a:cubicBezTo>
                <a:close/>
                <a:moveTo>
                  <a:pt x="1174" y="334"/>
                </a:moveTo>
                <a:cubicBezTo>
                  <a:pt x="1170" y="331"/>
                  <a:pt x="1166" y="328"/>
                  <a:pt x="1162" y="327"/>
                </a:cubicBezTo>
                <a:cubicBezTo>
                  <a:pt x="1158" y="326"/>
                  <a:pt x="1155" y="326"/>
                  <a:pt x="1151" y="326"/>
                </a:cubicBezTo>
                <a:cubicBezTo>
                  <a:pt x="1148" y="327"/>
                  <a:pt x="1145" y="329"/>
                  <a:pt x="1143" y="331"/>
                </a:cubicBezTo>
                <a:cubicBezTo>
                  <a:pt x="1140" y="332"/>
                  <a:pt x="1138" y="334"/>
                  <a:pt x="1136" y="337"/>
                </a:cubicBezTo>
                <a:lnTo>
                  <a:pt x="1124" y="348"/>
                </a:lnTo>
                <a:lnTo>
                  <a:pt x="1161" y="385"/>
                </a:lnTo>
                <a:lnTo>
                  <a:pt x="1173" y="374"/>
                </a:lnTo>
                <a:cubicBezTo>
                  <a:pt x="1176" y="370"/>
                  <a:pt x="1179" y="367"/>
                  <a:pt x="1180" y="363"/>
                </a:cubicBezTo>
                <a:cubicBezTo>
                  <a:pt x="1182" y="360"/>
                  <a:pt x="1183" y="357"/>
                  <a:pt x="1183" y="353"/>
                </a:cubicBezTo>
                <a:cubicBezTo>
                  <a:pt x="1183" y="350"/>
                  <a:pt x="1182" y="347"/>
                  <a:pt x="1180" y="343"/>
                </a:cubicBezTo>
                <a:cubicBezTo>
                  <a:pt x="1179" y="340"/>
                  <a:pt x="1177" y="337"/>
                  <a:pt x="1174" y="334"/>
                </a:cubicBezTo>
                <a:close/>
                <a:moveTo>
                  <a:pt x="1298" y="270"/>
                </a:moveTo>
                <a:cubicBezTo>
                  <a:pt x="1303" y="276"/>
                  <a:pt x="1307" y="281"/>
                  <a:pt x="1310" y="287"/>
                </a:cubicBezTo>
                <a:cubicBezTo>
                  <a:pt x="1313" y="293"/>
                  <a:pt x="1315" y="299"/>
                  <a:pt x="1315" y="305"/>
                </a:cubicBezTo>
                <a:cubicBezTo>
                  <a:pt x="1316" y="311"/>
                  <a:pt x="1315" y="317"/>
                  <a:pt x="1313" y="322"/>
                </a:cubicBezTo>
                <a:cubicBezTo>
                  <a:pt x="1310" y="328"/>
                  <a:pt x="1306" y="334"/>
                  <a:pt x="1301" y="340"/>
                </a:cubicBezTo>
                <a:cubicBezTo>
                  <a:pt x="1295" y="345"/>
                  <a:pt x="1290" y="349"/>
                  <a:pt x="1285" y="351"/>
                </a:cubicBezTo>
                <a:cubicBezTo>
                  <a:pt x="1279" y="353"/>
                  <a:pt x="1273" y="354"/>
                  <a:pt x="1268" y="354"/>
                </a:cubicBezTo>
                <a:cubicBezTo>
                  <a:pt x="1262" y="354"/>
                  <a:pt x="1257" y="352"/>
                  <a:pt x="1251" y="349"/>
                </a:cubicBezTo>
                <a:cubicBezTo>
                  <a:pt x="1245" y="346"/>
                  <a:pt x="1240" y="342"/>
                  <a:pt x="1234" y="336"/>
                </a:cubicBezTo>
                <a:cubicBezTo>
                  <a:pt x="1229" y="331"/>
                  <a:pt x="1225" y="325"/>
                  <a:pt x="1222" y="320"/>
                </a:cubicBezTo>
                <a:cubicBezTo>
                  <a:pt x="1219" y="314"/>
                  <a:pt x="1217" y="308"/>
                  <a:pt x="1217" y="302"/>
                </a:cubicBezTo>
                <a:cubicBezTo>
                  <a:pt x="1216" y="296"/>
                  <a:pt x="1217" y="290"/>
                  <a:pt x="1219" y="284"/>
                </a:cubicBezTo>
                <a:cubicBezTo>
                  <a:pt x="1222" y="278"/>
                  <a:pt x="1226" y="273"/>
                  <a:pt x="1231" y="267"/>
                </a:cubicBezTo>
                <a:cubicBezTo>
                  <a:pt x="1236" y="262"/>
                  <a:pt x="1242" y="258"/>
                  <a:pt x="1247" y="256"/>
                </a:cubicBezTo>
                <a:cubicBezTo>
                  <a:pt x="1253" y="253"/>
                  <a:pt x="1259" y="252"/>
                  <a:pt x="1264" y="253"/>
                </a:cubicBezTo>
                <a:cubicBezTo>
                  <a:pt x="1270" y="253"/>
                  <a:pt x="1275" y="255"/>
                  <a:pt x="1281" y="258"/>
                </a:cubicBezTo>
                <a:cubicBezTo>
                  <a:pt x="1287" y="261"/>
                  <a:pt x="1292" y="265"/>
                  <a:pt x="1298" y="270"/>
                </a:cubicBezTo>
                <a:close/>
                <a:moveTo>
                  <a:pt x="1286" y="283"/>
                </a:moveTo>
                <a:cubicBezTo>
                  <a:pt x="1283" y="280"/>
                  <a:pt x="1279" y="277"/>
                  <a:pt x="1275" y="274"/>
                </a:cubicBezTo>
                <a:cubicBezTo>
                  <a:pt x="1272" y="272"/>
                  <a:pt x="1268" y="270"/>
                  <a:pt x="1264" y="269"/>
                </a:cubicBezTo>
                <a:cubicBezTo>
                  <a:pt x="1260" y="269"/>
                  <a:pt x="1256" y="269"/>
                  <a:pt x="1252" y="270"/>
                </a:cubicBezTo>
                <a:cubicBezTo>
                  <a:pt x="1248" y="271"/>
                  <a:pt x="1244" y="274"/>
                  <a:pt x="1241" y="278"/>
                </a:cubicBezTo>
                <a:cubicBezTo>
                  <a:pt x="1237" y="281"/>
                  <a:pt x="1235" y="285"/>
                  <a:pt x="1233" y="288"/>
                </a:cubicBezTo>
                <a:cubicBezTo>
                  <a:pt x="1232" y="292"/>
                  <a:pt x="1232" y="296"/>
                  <a:pt x="1232" y="300"/>
                </a:cubicBezTo>
                <a:cubicBezTo>
                  <a:pt x="1233" y="304"/>
                  <a:pt x="1234" y="308"/>
                  <a:pt x="1237" y="312"/>
                </a:cubicBezTo>
                <a:cubicBezTo>
                  <a:pt x="1239" y="316"/>
                  <a:pt x="1242" y="319"/>
                  <a:pt x="1246" y="323"/>
                </a:cubicBezTo>
                <a:cubicBezTo>
                  <a:pt x="1249" y="327"/>
                  <a:pt x="1253" y="330"/>
                  <a:pt x="1257" y="332"/>
                </a:cubicBezTo>
                <a:cubicBezTo>
                  <a:pt x="1261" y="335"/>
                  <a:pt x="1264" y="336"/>
                  <a:pt x="1268" y="337"/>
                </a:cubicBezTo>
                <a:cubicBezTo>
                  <a:pt x="1272" y="338"/>
                  <a:pt x="1276" y="338"/>
                  <a:pt x="1280" y="336"/>
                </a:cubicBezTo>
                <a:cubicBezTo>
                  <a:pt x="1284" y="335"/>
                  <a:pt x="1288" y="333"/>
                  <a:pt x="1291" y="329"/>
                </a:cubicBezTo>
                <a:cubicBezTo>
                  <a:pt x="1295" y="325"/>
                  <a:pt x="1297" y="322"/>
                  <a:pt x="1299" y="318"/>
                </a:cubicBezTo>
                <a:cubicBezTo>
                  <a:pt x="1300" y="314"/>
                  <a:pt x="1300" y="310"/>
                  <a:pt x="1300" y="306"/>
                </a:cubicBezTo>
                <a:cubicBezTo>
                  <a:pt x="1299" y="303"/>
                  <a:pt x="1298" y="299"/>
                  <a:pt x="1295" y="295"/>
                </a:cubicBezTo>
                <a:cubicBezTo>
                  <a:pt x="1293" y="291"/>
                  <a:pt x="1290" y="287"/>
                  <a:pt x="1286" y="283"/>
                </a:cubicBezTo>
                <a:close/>
                <a:moveTo>
                  <a:pt x="1375" y="129"/>
                </a:moveTo>
                <a:cubicBezTo>
                  <a:pt x="1376" y="129"/>
                  <a:pt x="1376" y="130"/>
                  <a:pt x="1376" y="130"/>
                </a:cubicBezTo>
                <a:cubicBezTo>
                  <a:pt x="1377" y="131"/>
                  <a:pt x="1377" y="132"/>
                  <a:pt x="1378" y="133"/>
                </a:cubicBezTo>
                <a:lnTo>
                  <a:pt x="1420" y="213"/>
                </a:lnTo>
                <a:cubicBezTo>
                  <a:pt x="1421" y="214"/>
                  <a:pt x="1421" y="214"/>
                  <a:pt x="1421" y="215"/>
                </a:cubicBezTo>
                <a:cubicBezTo>
                  <a:pt x="1421" y="216"/>
                  <a:pt x="1421" y="216"/>
                  <a:pt x="1420" y="217"/>
                </a:cubicBezTo>
                <a:cubicBezTo>
                  <a:pt x="1420" y="218"/>
                  <a:pt x="1419" y="219"/>
                  <a:pt x="1418" y="220"/>
                </a:cubicBezTo>
                <a:cubicBezTo>
                  <a:pt x="1418" y="221"/>
                  <a:pt x="1416" y="222"/>
                  <a:pt x="1415" y="224"/>
                </a:cubicBezTo>
                <a:cubicBezTo>
                  <a:pt x="1413" y="225"/>
                  <a:pt x="1412" y="226"/>
                  <a:pt x="1411" y="227"/>
                </a:cubicBezTo>
                <a:cubicBezTo>
                  <a:pt x="1410" y="228"/>
                  <a:pt x="1409" y="229"/>
                  <a:pt x="1408" y="229"/>
                </a:cubicBezTo>
                <a:cubicBezTo>
                  <a:pt x="1407" y="230"/>
                  <a:pt x="1407" y="230"/>
                  <a:pt x="1406" y="230"/>
                </a:cubicBezTo>
                <a:cubicBezTo>
                  <a:pt x="1405" y="230"/>
                  <a:pt x="1405" y="229"/>
                  <a:pt x="1404" y="229"/>
                </a:cubicBezTo>
                <a:lnTo>
                  <a:pt x="1344" y="196"/>
                </a:lnTo>
                <a:lnTo>
                  <a:pt x="1343" y="195"/>
                </a:lnTo>
                <a:lnTo>
                  <a:pt x="1343" y="196"/>
                </a:lnTo>
                <a:lnTo>
                  <a:pt x="1378" y="256"/>
                </a:lnTo>
                <a:cubicBezTo>
                  <a:pt x="1378" y="256"/>
                  <a:pt x="1378" y="257"/>
                  <a:pt x="1378" y="258"/>
                </a:cubicBezTo>
                <a:cubicBezTo>
                  <a:pt x="1378" y="258"/>
                  <a:pt x="1378" y="259"/>
                  <a:pt x="1378" y="260"/>
                </a:cubicBezTo>
                <a:cubicBezTo>
                  <a:pt x="1377" y="261"/>
                  <a:pt x="1377" y="261"/>
                  <a:pt x="1376" y="263"/>
                </a:cubicBezTo>
                <a:cubicBezTo>
                  <a:pt x="1375" y="264"/>
                  <a:pt x="1374" y="265"/>
                  <a:pt x="1372" y="266"/>
                </a:cubicBezTo>
                <a:cubicBezTo>
                  <a:pt x="1371" y="268"/>
                  <a:pt x="1370" y="269"/>
                  <a:pt x="1368" y="270"/>
                </a:cubicBezTo>
                <a:cubicBezTo>
                  <a:pt x="1367" y="271"/>
                  <a:pt x="1367" y="271"/>
                  <a:pt x="1366" y="272"/>
                </a:cubicBezTo>
                <a:cubicBezTo>
                  <a:pt x="1365" y="272"/>
                  <a:pt x="1364" y="272"/>
                  <a:pt x="1364" y="272"/>
                </a:cubicBezTo>
                <a:cubicBezTo>
                  <a:pt x="1363" y="272"/>
                  <a:pt x="1362" y="272"/>
                  <a:pt x="1362" y="272"/>
                </a:cubicBezTo>
                <a:lnTo>
                  <a:pt x="1281" y="229"/>
                </a:lnTo>
                <a:cubicBezTo>
                  <a:pt x="1281" y="229"/>
                  <a:pt x="1280" y="228"/>
                  <a:pt x="1279" y="228"/>
                </a:cubicBezTo>
                <a:cubicBezTo>
                  <a:pt x="1279" y="227"/>
                  <a:pt x="1278" y="227"/>
                  <a:pt x="1278" y="227"/>
                </a:cubicBezTo>
                <a:cubicBezTo>
                  <a:pt x="1277" y="226"/>
                  <a:pt x="1277" y="226"/>
                  <a:pt x="1277" y="225"/>
                </a:cubicBezTo>
                <a:cubicBezTo>
                  <a:pt x="1277" y="225"/>
                  <a:pt x="1277" y="224"/>
                  <a:pt x="1277" y="224"/>
                </a:cubicBezTo>
                <a:cubicBezTo>
                  <a:pt x="1278" y="223"/>
                  <a:pt x="1278" y="222"/>
                  <a:pt x="1279" y="222"/>
                </a:cubicBezTo>
                <a:cubicBezTo>
                  <a:pt x="1280" y="221"/>
                  <a:pt x="1281" y="220"/>
                  <a:pt x="1282" y="219"/>
                </a:cubicBezTo>
                <a:cubicBezTo>
                  <a:pt x="1283" y="217"/>
                  <a:pt x="1284" y="216"/>
                  <a:pt x="1285" y="216"/>
                </a:cubicBezTo>
                <a:cubicBezTo>
                  <a:pt x="1286" y="215"/>
                  <a:pt x="1287" y="214"/>
                  <a:pt x="1287" y="214"/>
                </a:cubicBezTo>
                <a:cubicBezTo>
                  <a:pt x="1288" y="214"/>
                  <a:pt x="1288" y="214"/>
                  <a:pt x="1289" y="214"/>
                </a:cubicBezTo>
                <a:cubicBezTo>
                  <a:pt x="1289" y="214"/>
                  <a:pt x="1290" y="214"/>
                  <a:pt x="1290" y="214"/>
                </a:cubicBezTo>
                <a:lnTo>
                  <a:pt x="1359" y="252"/>
                </a:lnTo>
                <a:lnTo>
                  <a:pt x="1360" y="253"/>
                </a:lnTo>
                <a:lnTo>
                  <a:pt x="1360" y="252"/>
                </a:lnTo>
                <a:lnTo>
                  <a:pt x="1321" y="184"/>
                </a:lnTo>
                <a:cubicBezTo>
                  <a:pt x="1320" y="184"/>
                  <a:pt x="1320" y="183"/>
                  <a:pt x="1320" y="183"/>
                </a:cubicBezTo>
                <a:cubicBezTo>
                  <a:pt x="1320" y="182"/>
                  <a:pt x="1320" y="182"/>
                  <a:pt x="1320" y="181"/>
                </a:cubicBezTo>
                <a:cubicBezTo>
                  <a:pt x="1320" y="180"/>
                  <a:pt x="1321" y="180"/>
                  <a:pt x="1322" y="179"/>
                </a:cubicBezTo>
                <a:cubicBezTo>
                  <a:pt x="1322" y="178"/>
                  <a:pt x="1323" y="177"/>
                  <a:pt x="1324" y="176"/>
                </a:cubicBezTo>
                <a:cubicBezTo>
                  <a:pt x="1326" y="175"/>
                  <a:pt x="1327" y="174"/>
                  <a:pt x="1327" y="173"/>
                </a:cubicBezTo>
                <a:cubicBezTo>
                  <a:pt x="1328" y="172"/>
                  <a:pt x="1329" y="172"/>
                  <a:pt x="1329" y="172"/>
                </a:cubicBezTo>
                <a:cubicBezTo>
                  <a:pt x="1330" y="171"/>
                  <a:pt x="1331" y="171"/>
                  <a:pt x="1331" y="172"/>
                </a:cubicBezTo>
                <a:cubicBezTo>
                  <a:pt x="1332" y="172"/>
                  <a:pt x="1332" y="172"/>
                  <a:pt x="1333" y="172"/>
                </a:cubicBezTo>
                <a:lnTo>
                  <a:pt x="1401" y="210"/>
                </a:lnTo>
                <a:lnTo>
                  <a:pt x="1402" y="211"/>
                </a:lnTo>
                <a:lnTo>
                  <a:pt x="1402" y="210"/>
                </a:lnTo>
                <a:lnTo>
                  <a:pt x="1364" y="141"/>
                </a:lnTo>
                <a:cubicBezTo>
                  <a:pt x="1363" y="141"/>
                  <a:pt x="1363" y="140"/>
                  <a:pt x="1363" y="140"/>
                </a:cubicBezTo>
                <a:cubicBezTo>
                  <a:pt x="1363" y="139"/>
                  <a:pt x="1363" y="139"/>
                  <a:pt x="1363" y="138"/>
                </a:cubicBezTo>
                <a:cubicBezTo>
                  <a:pt x="1364" y="137"/>
                  <a:pt x="1364" y="137"/>
                  <a:pt x="1365" y="136"/>
                </a:cubicBezTo>
                <a:cubicBezTo>
                  <a:pt x="1366" y="135"/>
                  <a:pt x="1367" y="134"/>
                  <a:pt x="1368" y="133"/>
                </a:cubicBezTo>
                <a:cubicBezTo>
                  <a:pt x="1369" y="131"/>
                  <a:pt x="1370" y="130"/>
                  <a:pt x="1371" y="130"/>
                </a:cubicBezTo>
                <a:cubicBezTo>
                  <a:pt x="1371" y="129"/>
                  <a:pt x="1372" y="129"/>
                  <a:pt x="1373" y="129"/>
                </a:cubicBezTo>
                <a:cubicBezTo>
                  <a:pt x="1373" y="128"/>
                  <a:pt x="1374" y="128"/>
                  <a:pt x="1374" y="128"/>
                </a:cubicBezTo>
                <a:cubicBezTo>
                  <a:pt x="1375" y="128"/>
                  <a:pt x="1375" y="129"/>
                  <a:pt x="1375" y="129"/>
                </a:cubicBezTo>
                <a:close/>
                <a:moveTo>
                  <a:pt x="1472" y="92"/>
                </a:moveTo>
                <a:cubicBezTo>
                  <a:pt x="1474" y="94"/>
                  <a:pt x="1474" y="96"/>
                  <a:pt x="1474" y="98"/>
                </a:cubicBezTo>
                <a:cubicBezTo>
                  <a:pt x="1474" y="99"/>
                  <a:pt x="1473" y="101"/>
                  <a:pt x="1472" y="102"/>
                </a:cubicBezTo>
                <a:lnTo>
                  <a:pt x="1430" y="145"/>
                </a:lnTo>
                <a:cubicBezTo>
                  <a:pt x="1433" y="148"/>
                  <a:pt x="1437" y="151"/>
                  <a:pt x="1440" y="153"/>
                </a:cubicBezTo>
                <a:cubicBezTo>
                  <a:pt x="1444" y="155"/>
                  <a:pt x="1448" y="157"/>
                  <a:pt x="1451" y="157"/>
                </a:cubicBezTo>
                <a:cubicBezTo>
                  <a:pt x="1455" y="157"/>
                  <a:pt x="1459" y="157"/>
                  <a:pt x="1463" y="155"/>
                </a:cubicBezTo>
                <a:cubicBezTo>
                  <a:pt x="1467" y="154"/>
                  <a:pt x="1470" y="151"/>
                  <a:pt x="1474" y="147"/>
                </a:cubicBezTo>
                <a:cubicBezTo>
                  <a:pt x="1477" y="144"/>
                  <a:pt x="1480" y="141"/>
                  <a:pt x="1482" y="138"/>
                </a:cubicBezTo>
                <a:cubicBezTo>
                  <a:pt x="1484" y="135"/>
                  <a:pt x="1485" y="132"/>
                  <a:pt x="1486" y="130"/>
                </a:cubicBezTo>
                <a:cubicBezTo>
                  <a:pt x="1487" y="128"/>
                  <a:pt x="1488" y="126"/>
                  <a:pt x="1489" y="124"/>
                </a:cubicBezTo>
                <a:cubicBezTo>
                  <a:pt x="1490" y="122"/>
                  <a:pt x="1490" y="121"/>
                  <a:pt x="1491" y="121"/>
                </a:cubicBezTo>
                <a:cubicBezTo>
                  <a:pt x="1491" y="120"/>
                  <a:pt x="1491" y="120"/>
                  <a:pt x="1492" y="120"/>
                </a:cubicBezTo>
                <a:cubicBezTo>
                  <a:pt x="1492" y="120"/>
                  <a:pt x="1493" y="120"/>
                  <a:pt x="1493" y="120"/>
                </a:cubicBezTo>
                <a:cubicBezTo>
                  <a:pt x="1494" y="120"/>
                  <a:pt x="1494" y="121"/>
                  <a:pt x="1495" y="121"/>
                </a:cubicBezTo>
                <a:cubicBezTo>
                  <a:pt x="1496" y="122"/>
                  <a:pt x="1496" y="122"/>
                  <a:pt x="1497" y="123"/>
                </a:cubicBezTo>
                <a:cubicBezTo>
                  <a:pt x="1498" y="124"/>
                  <a:pt x="1498" y="124"/>
                  <a:pt x="1499" y="125"/>
                </a:cubicBezTo>
                <a:cubicBezTo>
                  <a:pt x="1499" y="125"/>
                  <a:pt x="1500" y="126"/>
                  <a:pt x="1500" y="126"/>
                </a:cubicBezTo>
                <a:cubicBezTo>
                  <a:pt x="1500" y="127"/>
                  <a:pt x="1500" y="127"/>
                  <a:pt x="1500" y="128"/>
                </a:cubicBezTo>
                <a:cubicBezTo>
                  <a:pt x="1501" y="128"/>
                  <a:pt x="1501" y="129"/>
                  <a:pt x="1501" y="129"/>
                </a:cubicBezTo>
                <a:cubicBezTo>
                  <a:pt x="1501" y="130"/>
                  <a:pt x="1500" y="131"/>
                  <a:pt x="1500" y="133"/>
                </a:cubicBezTo>
                <a:cubicBezTo>
                  <a:pt x="1499" y="135"/>
                  <a:pt x="1498" y="137"/>
                  <a:pt x="1496" y="140"/>
                </a:cubicBezTo>
                <a:cubicBezTo>
                  <a:pt x="1495" y="142"/>
                  <a:pt x="1493" y="145"/>
                  <a:pt x="1491" y="148"/>
                </a:cubicBezTo>
                <a:cubicBezTo>
                  <a:pt x="1488" y="151"/>
                  <a:pt x="1486" y="155"/>
                  <a:pt x="1483" y="158"/>
                </a:cubicBezTo>
                <a:cubicBezTo>
                  <a:pt x="1477" y="163"/>
                  <a:pt x="1472" y="167"/>
                  <a:pt x="1467" y="169"/>
                </a:cubicBezTo>
                <a:cubicBezTo>
                  <a:pt x="1461" y="172"/>
                  <a:pt x="1456" y="173"/>
                  <a:pt x="1450" y="173"/>
                </a:cubicBezTo>
                <a:cubicBezTo>
                  <a:pt x="1444" y="173"/>
                  <a:pt x="1439" y="171"/>
                  <a:pt x="1433" y="168"/>
                </a:cubicBezTo>
                <a:cubicBezTo>
                  <a:pt x="1427" y="165"/>
                  <a:pt x="1421" y="161"/>
                  <a:pt x="1415" y="155"/>
                </a:cubicBezTo>
                <a:cubicBezTo>
                  <a:pt x="1410" y="149"/>
                  <a:pt x="1405" y="143"/>
                  <a:pt x="1402" y="138"/>
                </a:cubicBezTo>
                <a:cubicBezTo>
                  <a:pt x="1399" y="132"/>
                  <a:pt x="1398" y="126"/>
                  <a:pt x="1397" y="120"/>
                </a:cubicBezTo>
                <a:cubicBezTo>
                  <a:pt x="1397" y="114"/>
                  <a:pt x="1398" y="109"/>
                  <a:pt x="1400" y="103"/>
                </a:cubicBezTo>
                <a:cubicBezTo>
                  <a:pt x="1402" y="98"/>
                  <a:pt x="1406" y="93"/>
                  <a:pt x="1410" y="88"/>
                </a:cubicBezTo>
                <a:cubicBezTo>
                  <a:pt x="1416" y="83"/>
                  <a:pt x="1421" y="79"/>
                  <a:pt x="1426" y="77"/>
                </a:cubicBezTo>
                <a:cubicBezTo>
                  <a:pt x="1431" y="75"/>
                  <a:pt x="1436" y="75"/>
                  <a:pt x="1441" y="75"/>
                </a:cubicBezTo>
                <a:cubicBezTo>
                  <a:pt x="1446" y="76"/>
                  <a:pt x="1451" y="77"/>
                  <a:pt x="1456" y="80"/>
                </a:cubicBezTo>
                <a:cubicBezTo>
                  <a:pt x="1461" y="82"/>
                  <a:pt x="1465" y="86"/>
                  <a:pt x="1469" y="90"/>
                </a:cubicBezTo>
                <a:lnTo>
                  <a:pt x="1472" y="92"/>
                </a:lnTo>
                <a:close/>
                <a:moveTo>
                  <a:pt x="1456" y="101"/>
                </a:moveTo>
                <a:cubicBezTo>
                  <a:pt x="1450" y="94"/>
                  <a:pt x="1444" y="91"/>
                  <a:pt x="1437" y="90"/>
                </a:cubicBezTo>
                <a:cubicBezTo>
                  <a:pt x="1431" y="89"/>
                  <a:pt x="1425" y="92"/>
                  <a:pt x="1419" y="98"/>
                </a:cubicBezTo>
                <a:cubicBezTo>
                  <a:pt x="1416" y="101"/>
                  <a:pt x="1414" y="104"/>
                  <a:pt x="1413" y="107"/>
                </a:cubicBezTo>
                <a:cubicBezTo>
                  <a:pt x="1412" y="110"/>
                  <a:pt x="1412" y="114"/>
                  <a:pt x="1412" y="117"/>
                </a:cubicBezTo>
                <a:cubicBezTo>
                  <a:pt x="1412" y="120"/>
                  <a:pt x="1413" y="124"/>
                  <a:pt x="1415" y="127"/>
                </a:cubicBezTo>
                <a:cubicBezTo>
                  <a:pt x="1416" y="130"/>
                  <a:pt x="1418" y="133"/>
                  <a:pt x="1421" y="136"/>
                </a:cubicBezTo>
                <a:lnTo>
                  <a:pt x="1456" y="101"/>
                </a:lnTo>
                <a:close/>
                <a:moveTo>
                  <a:pt x="1508" y="5"/>
                </a:moveTo>
                <a:cubicBezTo>
                  <a:pt x="1509" y="6"/>
                  <a:pt x="1510" y="7"/>
                  <a:pt x="1511" y="8"/>
                </a:cubicBezTo>
                <a:cubicBezTo>
                  <a:pt x="1511" y="9"/>
                  <a:pt x="1512" y="9"/>
                  <a:pt x="1512" y="10"/>
                </a:cubicBezTo>
                <a:cubicBezTo>
                  <a:pt x="1512" y="10"/>
                  <a:pt x="1513" y="11"/>
                  <a:pt x="1513" y="11"/>
                </a:cubicBezTo>
                <a:cubicBezTo>
                  <a:pt x="1513" y="12"/>
                  <a:pt x="1512" y="12"/>
                  <a:pt x="1512" y="12"/>
                </a:cubicBezTo>
                <a:cubicBezTo>
                  <a:pt x="1512" y="13"/>
                  <a:pt x="1511" y="13"/>
                  <a:pt x="1510" y="14"/>
                </a:cubicBezTo>
                <a:cubicBezTo>
                  <a:pt x="1509" y="14"/>
                  <a:pt x="1509" y="14"/>
                  <a:pt x="1508" y="15"/>
                </a:cubicBezTo>
                <a:cubicBezTo>
                  <a:pt x="1507" y="15"/>
                  <a:pt x="1506" y="16"/>
                  <a:pt x="1505" y="16"/>
                </a:cubicBezTo>
                <a:cubicBezTo>
                  <a:pt x="1504" y="17"/>
                  <a:pt x="1503" y="18"/>
                  <a:pt x="1502" y="19"/>
                </a:cubicBezTo>
                <a:cubicBezTo>
                  <a:pt x="1501" y="20"/>
                  <a:pt x="1500" y="22"/>
                  <a:pt x="1499" y="23"/>
                </a:cubicBezTo>
                <a:cubicBezTo>
                  <a:pt x="1498" y="25"/>
                  <a:pt x="1498" y="27"/>
                  <a:pt x="1498" y="29"/>
                </a:cubicBezTo>
                <a:cubicBezTo>
                  <a:pt x="1497" y="32"/>
                  <a:pt x="1498" y="34"/>
                  <a:pt x="1498" y="38"/>
                </a:cubicBezTo>
                <a:cubicBezTo>
                  <a:pt x="1498" y="41"/>
                  <a:pt x="1499" y="45"/>
                  <a:pt x="1500" y="49"/>
                </a:cubicBezTo>
                <a:lnTo>
                  <a:pt x="1543" y="91"/>
                </a:lnTo>
                <a:cubicBezTo>
                  <a:pt x="1543" y="92"/>
                  <a:pt x="1543" y="92"/>
                  <a:pt x="1543" y="93"/>
                </a:cubicBezTo>
                <a:cubicBezTo>
                  <a:pt x="1543" y="93"/>
                  <a:pt x="1543" y="94"/>
                  <a:pt x="1543" y="94"/>
                </a:cubicBezTo>
                <a:cubicBezTo>
                  <a:pt x="1543" y="95"/>
                  <a:pt x="1542" y="96"/>
                  <a:pt x="1542" y="96"/>
                </a:cubicBezTo>
                <a:cubicBezTo>
                  <a:pt x="1541" y="97"/>
                  <a:pt x="1540" y="98"/>
                  <a:pt x="1539" y="100"/>
                </a:cubicBezTo>
                <a:cubicBezTo>
                  <a:pt x="1538" y="101"/>
                  <a:pt x="1537" y="102"/>
                  <a:pt x="1536" y="102"/>
                </a:cubicBezTo>
                <a:cubicBezTo>
                  <a:pt x="1535" y="103"/>
                  <a:pt x="1534" y="103"/>
                  <a:pt x="1534" y="104"/>
                </a:cubicBezTo>
                <a:cubicBezTo>
                  <a:pt x="1533" y="104"/>
                  <a:pt x="1532" y="104"/>
                  <a:pt x="1532" y="104"/>
                </a:cubicBezTo>
                <a:cubicBezTo>
                  <a:pt x="1532" y="104"/>
                  <a:pt x="1531" y="104"/>
                  <a:pt x="1531" y="103"/>
                </a:cubicBezTo>
                <a:lnTo>
                  <a:pt x="1466" y="39"/>
                </a:lnTo>
                <a:cubicBezTo>
                  <a:pt x="1466" y="38"/>
                  <a:pt x="1466" y="38"/>
                  <a:pt x="1465" y="37"/>
                </a:cubicBezTo>
                <a:cubicBezTo>
                  <a:pt x="1465" y="37"/>
                  <a:pt x="1465" y="36"/>
                  <a:pt x="1466" y="36"/>
                </a:cubicBezTo>
                <a:cubicBezTo>
                  <a:pt x="1466" y="35"/>
                  <a:pt x="1466" y="35"/>
                  <a:pt x="1467" y="34"/>
                </a:cubicBezTo>
                <a:cubicBezTo>
                  <a:pt x="1467" y="33"/>
                  <a:pt x="1468" y="32"/>
                  <a:pt x="1469" y="31"/>
                </a:cubicBezTo>
                <a:cubicBezTo>
                  <a:pt x="1470" y="30"/>
                  <a:pt x="1471" y="29"/>
                  <a:pt x="1472" y="28"/>
                </a:cubicBezTo>
                <a:cubicBezTo>
                  <a:pt x="1473" y="28"/>
                  <a:pt x="1473" y="27"/>
                  <a:pt x="1474" y="27"/>
                </a:cubicBezTo>
                <a:cubicBezTo>
                  <a:pt x="1475" y="27"/>
                  <a:pt x="1475" y="27"/>
                  <a:pt x="1476" y="27"/>
                </a:cubicBezTo>
                <a:cubicBezTo>
                  <a:pt x="1476" y="27"/>
                  <a:pt x="1476" y="28"/>
                  <a:pt x="1477" y="28"/>
                </a:cubicBezTo>
                <a:lnTo>
                  <a:pt x="1486" y="37"/>
                </a:lnTo>
                <a:cubicBezTo>
                  <a:pt x="1485" y="33"/>
                  <a:pt x="1485" y="29"/>
                  <a:pt x="1485" y="26"/>
                </a:cubicBezTo>
                <a:cubicBezTo>
                  <a:pt x="1485" y="23"/>
                  <a:pt x="1485" y="20"/>
                  <a:pt x="1486" y="18"/>
                </a:cubicBezTo>
                <a:cubicBezTo>
                  <a:pt x="1486" y="15"/>
                  <a:pt x="1487" y="13"/>
                  <a:pt x="1488" y="12"/>
                </a:cubicBezTo>
                <a:cubicBezTo>
                  <a:pt x="1489" y="10"/>
                  <a:pt x="1490" y="8"/>
                  <a:pt x="1491" y="7"/>
                </a:cubicBezTo>
                <a:cubicBezTo>
                  <a:pt x="1492" y="6"/>
                  <a:pt x="1493" y="6"/>
                  <a:pt x="1494" y="5"/>
                </a:cubicBezTo>
                <a:cubicBezTo>
                  <a:pt x="1494" y="4"/>
                  <a:pt x="1495" y="4"/>
                  <a:pt x="1496" y="3"/>
                </a:cubicBezTo>
                <a:cubicBezTo>
                  <a:pt x="1497" y="2"/>
                  <a:pt x="1498" y="2"/>
                  <a:pt x="1499" y="1"/>
                </a:cubicBezTo>
                <a:cubicBezTo>
                  <a:pt x="1500" y="1"/>
                  <a:pt x="1501" y="1"/>
                  <a:pt x="1502" y="0"/>
                </a:cubicBezTo>
                <a:cubicBezTo>
                  <a:pt x="1502" y="0"/>
                  <a:pt x="1503" y="0"/>
                  <a:pt x="1503" y="1"/>
                </a:cubicBezTo>
                <a:cubicBezTo>
                  <a:pt x="1503" y="1"/>
                  <a:pt x="1503" y="1"/>
                  <a:pt x="1504" y="1"/>
                </a:cubicBezTo>
                <a:cubicBezTo>
                  <a:pt x="1504" y="1"/>
                  <a:pt x="1505" y="2"/>
                  <a:pt x="1506" y="2"/>
                </a:cubicBezTo>
                <a:cubicBezTo>
                  <a:pt x="1506" y="3"/>
                  <a:pt x="1507" y="4"/>
                  <a:pt x="1508" y="5"/>
                </a:cubicBezTo>
                <a:close/>
              </a:path>
            </a:pathLst>
          </a:custGeom>
          <a:solidFill>
            <a:srgbClr val="000000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108" name="Rectangle 52"/>
          <p:cNvSpPr>
            <a:spLocks noChangeArrowheads="1"/>
          </p:cNvSpPr>
          <p:nvPr/>
        </p:nvSpPr>
        <p:spPr bwMode="auto">
          <a:xfrm>
            <a:off x="6428503" y="5653509"/>
            <a:ext cx="261938" cy="101600"/>
          </a:xfrm>
          <a:prstGeom prst="rect">
            <a:avLst/>
          </a:prstGeom>
          <a:solidFill>
            <a:srgbClr val="4F81BD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109" name="Rectangle 53"/>
          <p:cNvSpPr>
            <a:spLocks noChangeArrowheads="1"/>
          </p:cNvSpPr>
          <p:nvPr/>
        </p:nvSpPr>
        <p:spPr bwMode="auto">
          <a:xfrm>
            <a:off x="6723778" y="5580484"/>
            <a:ext cx="2105025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5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pitchFamily="34" charset="0"/>
              </a:rPr>
              <a:t>Potential Benefit ($/kW)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73110" name="Freeform 54"/>
          <p:cNvSpPr>
            <a:spLocks/>
          </p:cNvSpPr>
          <p:nvPr/>
        </p:nvSpPr>
        <p:spPr bwMode="auto">
          <a:xfrm>
            <a:off x="6425190" y="5997575"/>
            <a:ext cx="292100" cy="30163"/>
          </a:xfrm>
          <a:custGeom>
            <a:avLst/>
            <a:gdLst/>
            <a:ahLst/>
            <a:cxnLst>
              <a:cxn ang="0">
                <a:pos x="24" y="0"/>
              </a:cxn>
              <a:cxn ang="0">
                <a:pos x="440" y="0"/>
              </a:cxn>
              <a:cxn ang="0">
                <a:pos x="464" y="24"/>
              </a:cxn>
              <a:cxn ang="0">
                <a:pos x="440" y="48"/>
              </a:cxn>
              <a:cxn ang="0">
                <a:pos x="24" y="48"/>
              </a:cxn>
              <a:cxn ang="0">
                <a:pos x="0" y="24"/>
              </a:cxn>
              <a:cxn ang="0">
                <a:pos x="24" y="0"/>
              </a:cxn>
            </a:cxnLst>
            <a:rect l="0" t="0" r="r" b="b"/>
            <a:pathLst>
              <a:path w="464" h="48">
                <a:moveTo>
                  <a:pt x="24" y="0"/>
                </a:moveTo>
                <a:lnTo>
                  <a:pt x="440" y="0"/>
                </a:lnTo>
                <a:cubicBezTo>
                  <a:pt x="454" y="0"/>
                  <a:pt x="464" y="11"/>
                  <a:pt x="464" y="24"/>
                </a:cubicBezTo>
                <a:cubicBezTo>
                  <a:pt x="464" y="38"/>
                  <a:pt x="454" y="48"/>
                  <a:pt x="440" y="48"/>
                </a:cubicBezTo>
                <a:lnTo>
                  <a:pt x="24" y="48"/>
                </a:lnTo>
                <a:cubicBezTo>
                  <a:pt x="11" y="48"/>
                  <a:pt x="0" y="38"/>
                  <a:pt x="0" y="24"/>
                </a:cubicBezTo>
                <a:cubicBezTo>
                  <a:pt x="0" y="11"/>
                  <a:pt x="11" y="0"/>
                  <a:pt x="24" y="0"/>
                </a:cubicBezTo>
                <a:close/>
              </a:path>
            </a:pathLst>
          </a:custGeom>
          <a:solidFill>
            <a:srgbClr val="BE4B48"/>
          </a:solidFill>
          <a:ln w="6" cap="flat">
            <a:solidFill>
              <a:srgbClr val="BE4B48"/>
            </a:solidFill>
            <a:prstDash val="solid"/>
            <a:bevel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111" name="Rectangle 55"/>
          <p:cNvSpPr>
            <a:spLocks noChangeArrowheads="1"/>
          </p:cNvSpPr>
          <p:nvPr/>
        </p:nvSpPr>
        <p:spPr bwMode="auto">
          <a:xfrm>
            <a:off x="6733165" y="5894388"/>
            <a:ext cx="2336800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5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pitchFamily="34" charset="0"/>
              </a:rPr>
              <a:t>Potential Market ($M, 1 yr)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71" name="TextBox 70"/>
          <p:cNvSpPr txBox="1"/>
          <p:nvPr/>
        </p:nvSpPr>
        <p:spPr bwMode="auto">
          <a:xfrm rot="16200000">
            <a:off x="-268834" y="2375992"/>
            <a:ext cx="2458815" cy="341632"/>
          </a:xfrm>
          <a:prstGeom prst="rect">
            <a:avLst/>
          </a:prstGeom>
          <a:noFill/>
          <a:ln w="12700" cap="sq" algn="ctr">
            <a:noFill/>
            <a:miter lim="800000"/>
            <a:headEnd/>
            <a:tailEnd/>
          </a:ln>
          <a:effectLst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C00000"/>
                </a:solidFill>
                <a:latin typeface="Calibri" pitchFamily="34" charset="0"/>
              </a:rPr>
              <a:t>Market Potential $M/yr</a:t>
            </a:r>
            <a:endParaRPr lang="en-US" b="1" dirty="0">
              <a:solidFill>
                <a:srgbClr val="C00000"/>
              </a:solidFill>
              <a:latin typeface="Calibri" pitchFamily="34" charset="0"/>
            </a:endParaRPr>
          </a:p>
        </p:txBody>
      </p:sp>
      <p:sp>
        <p:nvSpPr>
          <p:cNvPr id="72" name="TextBox 71"/>
          <p:cNvSpPr txBox="1"/>
          <p:nvPr/>
        </p:nvSpPr>
        <p:spPr bwMode="auto">
          <a:xfrm rot="16200000">
            <a:off x="7032011" y="2375423"/>
            <a:ext cx="2418547" cy="341632"/>
          </a:xfrm>
          <a:prstGeom prst="rect">
            <a:avLst/>
          </a:prstGeom>
          <a:noFill/>
          <a:ln w="12700" cap="sq" algn="ctr">
            <a:noFill/>
            <a:miter lim="800000"/>
            <a:headEnd/>
            <a:tailEnd/>
          </a:ln>
          <a:effectLst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accent3"/>
                </a:solidFill>
                <a:latin typeface="Calibri" pitchFamily="34" charset="0"/>
              </a:rPr>
              <a:t>Economic Value ($/kW)</a:t>
            </a:r>
            <a:endParaRPr lang="en-US" b="1" dirty="0">
              <a:solidFill>
                <a:schemeClr val="accent3"/>
              </a:solidFill>
              <a:latin typeface="Calibri" pitchFamily="34" charset="0"/>
            </a:endParaRPr>
          </a:p>
        </p:txBody>
      </p:sp>
      <p:pic>
        <p:nvPicPr>
          <p:cNvPr id="73" name="Picture 3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55041" y="202213"/>
            <a:ext cx="1920240" cy="74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quirements for Utility Application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84E7EE-6E84-4A2F-9C63-5C0BA41A9818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409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877219" y="1989931"/>
            <a:ext cx="5238750" cy="3800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nergy Storage Technology Comparison</a:t>
            </a:r>
            <a:endParaRPr lang="en-US" dirty="0"/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66208" y="1603375"/>
            <a:ext cx="6260771" cy="4573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Oval 4"/>
          <p:cNvSpPr>
            <a:spLocks noChangeAspect="1"/>
          </p:cNvSpPr>
          <p:nvPr/>
        </p:nvSpPr>
        <p:spPr bwMode="auto">
          <a:xfrm rot="1627352">
            <a:off x="3191129" y="3446110"/>
            <a:ext cx="2150042" cy="411767"/>
          </a:xfrm>
          <a:prstGeom prst="ellipse">
            <a:avLst/>
          </a:prstGeom>
          <a:solidFill>
            <a:schemeClr val="accent1"/>
          </a:solidFill>
          <a:ln w="12700" cap="sq" algn="ctr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pPr algn="ctr"/>
            <a:endParaRPr lang="en-US"/>
          </a:p>
        </p:txBody>
      </p:sp>
      <p:sp>
        <p:nvSpPr>
          <p:cNvPr id="6" name="TextBox 5"/>
          <p:cNvSpPr txBox="1"/>
          <p:nvPr/>
        </p:nvSpPr>
        <p:spPr bwMode="auto">
          <a:xfrm>
            <a:off x="3850501" y="3443110"/>
            <a:ext cx="498855" cy="216982"/>
          </a:xfrm>
          <a:prstGeom prst="rect">
            <a:avLst/>
          </a:prstGeom>
          <a:noFill/>
          <a:ln w="12700" cap="sq" algn="ctr">
            <a:noFill/>
            <a:miter lim="800000"/>
            <a:headEnd/>
            <a:tailEnd/>
          </a:ln>
          <a:effectLst/>
        </p:spPr>
        <p:txBody>
          <a:bodyPr wrap="none" rtlCol="0">
            <a:spAutoFit/>
          </a:bodyPr>
          <a:lstStyle/>
          <a:p>
            <a:r>
              <a:rPr lang="en-US" sz="9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rPr>
              <a:t>Li-ion</a:t>
            </a:r>
            <a:endParaRPr lang="en-US" sz="900" b="1" dirty="0">
              <a:solidFill>
                <a:schemeClr val="tx1">
                  <a:lumMod val="85000"/>
                  <a:lumOff val="1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151813" y="6557963"/>
            <a:ext cx="803275" cy="223837"/>
          </a:xfrm>
        </p:spPr>
        <p:txBody>
          <a:bodyPr/>
          <a:lstStyle/>
          <a:p>
            <a:fld id="{1E84E7EE-6E84-4A2F-9C63-5C0BA41A9818}" type="slidenum">
              <a:rPr lang="en-US" smtClean="0"/>
              <a:pPr/>
              <a:t>5</a:t>
            </a:fld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ct 35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50" name="think-cell Slide" r:id="rId31" imgW="457" imgH="458" progId="TCLayout.ActiveDocument.1">
              <p:embed/>
            </p:oleObj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/>
          <a:p>
            <a:fld id="{1E84E7EE-6E84-4A2F-9C63-5C0BA41A9818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idx="1"/>
            <p:custDataLst>
              <p:tags r:id="rId3"/>
            </p:custDataLst>
          </p:nvPr>
        </p:nvPicPr>
        <p:blipFill>
          <a:blip r:embed="rId32" cstate="print"/>
          <a:srcRect/>
          <a:stretch>
            <a:fillRect/>
          </a:stretch>
        </p:blipFill>
        <p:spPr bwMode="auto">
          <a:xfrm>
            <a:off x="2853564" y="1603375"/>
            <a:ext cx="6085703" cy="4573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6"/>
          <p:cNvSpPr/>
          <p:nvPr>
            <p:custDataLst>
              <p:tags r:id="rId4"/>
            </p:custDataLst>
          </p:nvPr>
        </p:nvSpPr>
        <p:spPr bwMode="auto">
          <a:xfrm>
            <a:off x="3375378" y="2170467"/>
            <a:ext cx="45719" cy="1728216"/>
          </a:xfrm>
          <a:prstGeom prst="rect">
            <a:avLst/>
          </a:prstGeom>
          <a:solidFill>
            <a:schemeClr val="accent1"/>
          </a:solidFill>
          <a:ln w="12700" cap="sq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>
            <p:custDataLst>
              <p:tags r:id="rId5"/>
            </p:custDataLst>
          </p:nvPr>
        </p:nvSpPr>
        <p:spPr bwMode="auto">
          <a:xfrm>
            <a:off x="477467" y="1794929"/>
            <a:ext cx="1941429" cy="840230"/>
          </a:xfrm>
          <a:prstGeom prst="rect">
            <a:avLst/>
          </a:prstGeom>
          <a:noFill/>
          <a:ln w="12700" cap="sq" algn="ctr">
            <a:noFill/>
            <a:miter lim="800000"/>
            <a:headEnd/>
            <a:tailEnd/>
          </a:ln>
          <a:effectLst/>
        </p:spPr>
        <p:txBody>
          <a:bodyPr wrap="none" rtlCol="0">
            <a:spAutoFit/>
          </a:bodyPr>
          <a:lstStyle/>
          <a:p>
            <a:pPr algn="l"/>
            <a:r>
              <a:rPr lang="en-US" b="1" dirty="0" smtClean="0">
                <a:solidFill>
                  <a:schemeClr val="accent1"/>
                </a:solidFill>
                <a:latin typeface="Calibri" pitchFamily="34" charset="0"/>
              </a:rPr>
              <a:t>Ancillary services:</a:t>
            </a:r>
            <a:br>
              <a:rPr lang="en-US" b="1" dirty="0" smtClean="0">
                <a:solidFill>
                  <a:schemeClr val="accent1"/>
                </a:solidFill>
                <a:latin typeface="Calibri" pitchFamily="34" charset="0"/>
              </a:rPr>
            </a:br>
            <a:r>
              <a:rPr lang="en-US" b="1" dirty="0" smtClean="0">
                <a:solidFill>
                  <a:schemeClr val="accent1"/>
                </a:solidFill>
                <a:latin typeface="Calibri" pitchFamily="34" charset="0"/>
              </a:rPr>
              <a:t>Majority of A123’s</a:t>
            </a:r>
            <a:br>
              <a:rPr lang="en-US" b="1" dirty="0" smtClean="0">
                <a:solidFill>
                  <a:schemeClr val="accent1"/>
                </a:solidFill>
                <a:latin typeface="Calibri" pitchFamily="34" charset="0"/>
              </a:rPr>
            </a:br>
            <a:r>
              <a:rPr lang="en-US" b="1" dirty="0" smtClean="0">
                <a:solidFill>
                  <a:schemeClr val="accent1"/>
                </a:solidFill>
                <a:latin typeface="Calibri" pitchFamily="34" charset="0"/>
              </a:rPr>
              <a:t>business to-date</a:t>
            </a:r>
          </a:p>
        </p:txBody>
      </p:sp>
      <p:sp>
        <p:nvSpPr>
          <p:cNvPr id="9" name="Rectangle 8"/>
          <p:cNvSpPr/>
          <p:nvPr>
            <p:custDataLst>
              <p:tags r:id="rId6"/>
            </p:custDataLst>
          </p:nvPr>
        </p:nvSpPr>
        <p:spPr bwMode="auto">
          <a:xfrm>
            <a:off x="3421464" y="3155182"/>
            <a:ext cx="331595" cy="748603"/>
          </a:xfrm>
          <a:prstGeom prst="rect">
            <a:avLst/>
          </a:prstGeom>
          <a:solidFill>
            <a:srgbClr val="FF0000"/>
          </a:solidFill>
          <a:ln w="12700" cap="sq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>
            <p:custDataLst>
              <p:tags r:id="rId7"/>
            </p:custDataLst>
          </p:nvPr>
        </p:nvSpPr>
        <p:spPr bwMode="auto">
          <a:xfrm>
            <a:off x="3754734" y="3501851"/>
            <a:ext cx="214365" cy="403610"/>
          </a:xfrm>
          <a:prstGeom prst="rect">
            <a:avLst/>
          </a:prstGeom>
          <a:solidFill>
            <a:srgbClr val="FF0000"/>
          </a:solidFill>
          <a:ln w="12700" cap="sq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>
            <p:custDataLst>
              <p:tags r:id="rId8"/>
            </p:custDataLst>
          </p:nvPr>
        </p:nvSpPr>
        <p:spPr bwMode="auto">
          <a:xfrm>
            <a:off x="3967425" y="3603314"/>
            <a:ext cx="850760" cy="301752"/>
          </a:xfrm>
          <a:prstGeom prst="rect">
            <a:avLst/>
          </a:prstGeom>
          <a:solidFill>
            <a:srgbClr val="FF0000"/>
          </a:solidFill>
          <a:ln w="12700" cap="sq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>
            <p:custDataLst>
              <p:tags r:id="rId9"/>
            </p:custDataLst>
          </p:nvPr>
        </p:nvSpPr>
        <p:spPr bwMode="auto">
          <a:xfrm>
            <a:off x="471822" y="2861729"/>
            <a:ext cx="2162515" cy="840230"/>
          </a:xfrm>
          <a:prstGeom prst="rect">
            <a:avLst/>
          </a:prstGeom>
          <a:noFill/>
          <a:ln w="12700" cap="sq" algn="ctr">
            <a:noFill/>
            <a:miter lim="800000"/>
            <a:headEnd/>
            <a:tailEnd/>
          </a:ln>
          <a:effectLst/>
        </p:spPr>
        <p:txBody>
          <a:bodyPr wrap="none" rtlCol="0">
            <a:spAutoFit/>
          </a:bodyPr>
          <a:lstStyle/>
          <a:p>
            <a:pPr algn="l"/>
            <a:r>
              <a:rPr lang="en-US" b="1" dirty="0" smtClean="0">
                <a:solidFill>
                  <a:srgbClr val="FF0000"/>
                </a:solidFill>
                <a:latin typeface="Calibri" pitchFamily="34" charset="0"/>
              </a:rPr>
              <a:t>New applications</a:t>
            </a:r>
            <a:br>
              <a:rPr lang="en-US" b="1" dirty="0" smtClean="0">
                <a:solidFill>
                  <a:srgbClr val="FF0000"/>
                </a:solidFill>
                <a:latin typeface="Calibri" pitchFamily="34" charset="0"/>
              </a:rPr>
            </a:br>
            <a:r>
              <a:rPr lang="en-US" b="1" dirty="0" smtClean="0">
                <a:solidFill>
                  <a:srgbClr val="FF0000"/>
                </a:solidFill>
                <a:latin typeface="Calibri" pitchFamily="34" charset="0"/>
              </a:rPr>
              <a:t>opened up by lower-</a:t>
            </a:r>
            <a:br>
              <a:rPr lang="en-US" b="1" dirty="0" smtClean="0">
                <a:solidFill>
                  <a:srgbClr val="FF0000"/>
                </a:solidFill>
                <a:latin typeface="Calibri" pitchFamily="34" charset="0"/>
              </a:rPr>
            </a:br>
            <a:r>
              <a:rPr lang="en-US" b="1" dirty="0" smtClean="0">
                <a:solidFill>
                  <a:srgbClr val="FF0000"/>
                </a:solidFill>
                <a:latin typeface="Calibri" pitchFamily="34" charset="0"/>
              </a:rPr>
              <a:t>cost systems</a:t>
            </a:r>
          </a:p>
        </p:txBody>
      </p:sp>
      <p:pic>
        <p:nvPicPr>
          <p:cNvPr id="2051" name="Picture 3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33" cstate="print"/>
          <a:srcRect/>
          <a:stretch>
            <a:fillRect/>
          </a:stretch>
        </p:blipFill>
        <p:spPr bwMode="auto">
          <a:xfrm>
            <a:off x="629884" y="3753728"/>
            <a:ext cx="1916430" cy="2548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7" name="Rectangle 36"/>
          <p:cNvSpPr/>
          <p:nvPr>
            <p:custDataLst>
              <p:tags r:id="rId11"/>
            </p:custDataLst>
          </p:nvPr>
        </p:nvSpPr>
        <p:spPr bwMode="auto">
          <a:xfrm>
            <a:off x="2777067" y="1546578"/>
            <a:ext cx="6366933" cy="4797778"/>
          </a:xfrm>
          <a:prstGeom prst="rect">
            <a:avLst/>
          </a:prstGeom>
          <a:solidFill>
            <a:schemeClr val="bg1">
              <a:alpha val="70000"/>
            </a:schemeClr>
          </a:solidFill>
          <a:ln w="12700" cap="sq" algn="ctr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pPr algn="ctr"/>
            <a:endParaRPr lang="en-US"/>
          </a:p>
        </p:txBody>
      </p:sp>
      <p:sp>
        <p:nvSpPr>
          <p:cNvPr id="38" name="Freeform 37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4795661" y="523875"/>
            <a:ext cx="4133850" cy="2925763"/>
          </a:xfrm>
          <a:custGeom>
            <a:avLst/>
            <a:gdLst>
              <a:gd name="T0" fmla="*/ 0 w 21600"/>
              <a:gd name="T1" fmla="*/ 0 h 21600"/>
              <a:gd name="T2" fmla="*/ 0 w 21600"/>
              <a:gd name="T3" fmla="*/ 303 h 21600"/>
              <a:gd name="T4" fmla="*/ 605 w 21600"/>
              <a:gd name="T5" fmla="*/ 303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</a:path>
            </a:pathLst>
          </a:custGeom>
          <a:solidFill>
            <a:schemeClr val="bg1"/>
          </a:solidFill>
          <a:ln w="127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9" name="Rectangle 11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4663899" y="3247145"/>
            <a:ext cx="3490912" cy="4191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266700" fontAlgn="auto">
              <a:spcBef>
                <a:spcPts val="550"/>
              </a:spcBef>
              <a:spcAft>
                <a:spcPts val="0"/>
              </a:spcAft>
              <a:defRPr/>
            </a:pPr>
            <a:r>
              <a:rPr lang="en-US" sz="1400" b="1" dirty="0">
                <a:latin typeface="+mj-lt"/>
                <a:sym typeface="ConduitExBdITC TT" pitchFamily="2" charset="0"/>
              </a:rPr>
              <a:t>Seconds         Minutes          Hours       Days</a:t>
            </a:r>
          </a:p>
        </p:txBody>
      </p:sp>
      <p:sp>
        <p:nvSpPr>
          <p:cNvPr id="40" name="Rectangle 13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3532011" y="1548835"/>
            <a:ext cx="2220913" cy="3810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spcBef>
                <a:spcPts val="700"/>
              </a:spcBef>
            </a:pPr>
            <a:r>
              <a:rPr lang="en-US" sz="1400" b="1" dirty="0">
                <a:latin typeface="Calibri" pitchFamily="34" charset="0"/>
                <a:sym typeface="ConduitExBdITC TT"/>
              </a:rPr>
              <a:t>$$$/</a:t>
            </a:r>
            <a:r>
              <a:rPr lang="en-US" sz="1400" b="1" dirty="0" err="1">
                <a:latin typeface="Calibri" pitchFamily="34" charset="0"/>
                <a:sym typeface="ConduitExBdITC TT"/>
              </a:rPr>
              <a:t>MWh</a:t>
            </a:r>
            <a:endParaRPr lang="en-US" sz="1400" b="1" dirty="0">
              <a:latin typeface="Calibri" pitchFamily="34" charset="0"/>
              <a:sym typeface="ConduitExBdITC TT"/>
            </a:endParaRPr>
          </a:p>
        </p:txBody>
      </p:sp>
      <p:pic>
        <p:nvPicPr>
          <p:cNvPr id="41" name="Picture 40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34" cstate="print"/>
          <a:srcRect/>
          <a:stretch>
            <a:fillRect/>
          </a:stretch>
        </p:blipFill>
        <p:spPr bwMode="auto">
          <a:xfrm rot="44555">
            <a:off x="5141736" y="1191332"/>
            <a:ext cx="3041650" cy="2012950"/>
          </a:xfrm>
          <a:prstGeom prst="rect">
            <a:avLst/>
          </a:prstGeom>
          <a:noFill/>
          <a:ln w="12700" cap="flat">
            <a:noFill/>
            <a:miter lim="800000"/>
            <a:headEnd/>
            <a:tailEnd/>
          </a:ln>
          <a:effectLst>
            <a:outerShdw dist="63499" dir="5400000" algn="ctr" rotWithShape="0">
              <a:schemeClr val="bg2">
                <a:alpha val="45000"/>
              </a:schemeClr>
            </a:outerShdw>
          </a:effectLst>
        </p:spPr>
      </p:pic>
      <p:pic>
        <p:nvPicPr>
          <p:cNvPr id="42" name="Picture 7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35" cstate="print"/>
          <a:srcRect/>
          <a:stretch>
            <a:fillRect/>
          </a:stretch>
        </p:blipFill>
        <p:spPr bwMode="auto">
          <a:xfrm>
            <a:off x="4952281" y="942637"/>
            <a:ext cx="3402195" cy="2468613"/>
          </a:xfrm>
          <a:prstGeom prst="rect">
            <a:avLst/>
          </a:prstGeom>
          <a:noFill/>
          <a:ln w="12700" cap="flat">
            <a:noFill/>
            <a:miter lim="800000"/>
            <a:headEnd/>
            <a:tailEnd/>
          </a:ln>
          <a:effectLst>
            <a:outerShdw dist="63499" dir="5400000" algn="ctr" rotWithShape="0">
              <a:schemeClr val="bg2">
                <a:alpha val="45000"/>
              </a:schemeClr>
            </a:outerShdw>
          </a:effectLst>
        </p:spPr>
      </p:pic>
      <p:sp>
        <p:nvSpPr>
          <p:cNvPr id="43" name="Rectangle 10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093644" y="1401846"/>
            <a:ext cx="1041401" cy="3556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spcBef>
                <a:spcPts val="550"/>
              </a:spcBef>
            </a:pPr>
            <a:r>
              <a:rPr lang="en-US" sz="1400" b="1" dirty="0">
                <a:latin typeface="Calibri" pitchFamily="34" charset="0"/>
                <a:sym typeface="ConduitExBdITC TT"/>
              </a:rPr>
              <a:t>Value</a:t>
            </a:r>
          </a:p>
        </p:txBody>
      </p:sp>
      <p:grpSp>
        <p:nvGrpSpPr>
          <p:cNvPr id="44" name="Group 11"/>
          <p:cNvGrpSpPr/>
          <p:nvPr>
            <p:custDataLst>
              <p:tags r:id="rId18"/>
            </p:custDataLst>
          </p:nvPr>
        </p:nvGrpSpPr>
        <p:grpSpPr>
          <a:xfrm>
            <a:off x="5209999" y="1262770"/>
            <a:ext cx="3382961" cy="893762"/>
            <a:chOff x="5589588" y="2978680"/>
            <a:chExt cx="3382961" cy="893762"/>
          </a:xfrm>
        </p:grpSpPr>
        <p:grpSp>
          <p:nvGrpSpPr>
            <p:cNvPr id="45" name="Group 33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auto">
            <a:xfrm>
              <a:off x="5694500" y="2978680"/>
              <a:ext cx="3278049" cy="893762"/>
              <a:chOff x="-210" y="-42"/>
              <a:chExt cx="2712" cy="739"/>
            </a:xfrm>
          </p:grpSpPr>
          <p:sp>
            <p:nvSpPr>
              <p:cNvPr id="49" name="Rectangle 34"/>
              <p:cNvSpPr>
                <a:spLocks/>
              </p:cNvSpPr>
              <p:nvPr/>
            </p:nvSpPr>
            <p:spPr bwMode="auto">
              <a:xfrm>
                <a:off x="-144" y="179"/>
                <a:ext cx="1314" cy="22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/>
              <a:lstStyle/>
              <a:p>
                <a:pPr algn="l"/>
                <a:r>
                  <a:rPr lang="en-US" sz="1400" i="1">
                    <a:latin typeface="Calibri" pitchFamily="34" charset="0"/>
                    <a:ea typeface="ConduitRegITC TT Italic"/>
                    <a:cs typeface="ConduitRegITC TT Italic"/>
                    <a:sym typeface="ConduitRegITC TT Italic"/>
                  </a:rPr>
                  <a:t>Area Control</a:t>
                </a:r>
              </a:p>
            </p:txBody>
          </p:sp>
          <p:sp>
            <p:nvSpPr>
              <p:cNvPr id="50" name="Rectangle 35"/>
              <p:cNvSpPr>
                <a:spLocks/>
              </p:cNvSpPr>
              <p:nvPr/>
            </p:nvSpPr>
            <p:spPr bwMode="auto">
              <a:xfrm>
                <a:off x="-78" y="312"/>
                <a:ext cx="2580" cy="22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/>
              <a:lstStyle/>
              <a:p>
                <a:pPr algn="l"/>
                <a:r>
                  <a:rPr lang="en-US" sz="1400" i="1" dirty="0">
                    <a:latin typeface="Calibri" pitchFamily="34" charset="0"/>
                    <a:ea typeface="ConduitRegITC TT Italic"/>
                    <a:cs typeface="ConduitRegITC TT Italic"/>
                    <a:sym typeface="ConduitRegITC TT Italic"/>
                  </a:rPr>
                  <a:t>Frequency Regulation </a:t>
                </a:r>
              </a:p>
            </p:txBody>
          </p:sp>
          <p:sp>
            <p:nvSpPr>
              <p:cNvPr id="51" name="Rectangle 36"/>
              <p:cNvSpPr>
                <a:spLocks/>
              </p:cNvSpPr>
              <p:nvPr/>
            </p:nvSpPr>
            <p:spPr bwMode="auto">
              <a:xfrm>
                <a:off x="34" y="474"/>
                <a:ext cx="1908" cy="22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/>
              <a:lstStyle/>
              <a:p>
                <a:pPr algn="l"/>
                <a:r>
                  <a:rPr lang="en-US" sz="1400" i="1">
                    <a:latin typeface="Calibri" pitchFamily="34" charset="0"/>
                    <a:ea typeface="ConduitRegITC TT Italic"/>
                    <a:cs typeface="ConduitRegITC TT Italic"/>
                    <a:sym typeface="ConduitRegITC TT Italic"/>
                  </a:rPr>
                  <a:t>Spinning Reserve</a:t>
                </a:r>
              </a:p>
            </p:txBody>
          </p:sp>
          <p:sp>
            <p:nvSpPr>
              <p:cNvPr id="52" name="Rectangle 37"/>
              <p:cNvSpPr>
                <a:spLocks/>
              </p:cNvSpPr>
              <p:nvPr/>
            </p:nvSpPr>
            <p:spPr bwMode="auto">
              <a:xfrm>
                <a:off x="-210" y="-42"/>
                <a:ext cx="1836" cy="239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algn="ctr" fontAlgn="auto">
                  <a:spcBef>
                    <a:spcPts val="550"/>
                  </a:spcBef>
                  <a:spcAft>
                    <a:spcPts val="0"/>
                  </a:spcAft>
                  <a:defRPr/>
                </a:pPr>
                <a:r>
                  <a:rPr lang="en-US" sz="1600" b="1" dirty="0">
                    <a:latin typeface="+mj-lt"/>
                    <a:sym typeface="ConduitExBdITC TT" pitchFamily="2" charset="0"/>
                  </a:rPr>
                  <a:t>Ancillary </a:t>
                </a:r>
                <a:r>
                  <a:rPr lang="en-US" sz="1600" b="1" dirty="0" smtClean="0">
                    <a:latin typeface="+mj-lt"/>
                    <a:sym typeface="ConduitExBdITC TT" pitchFamily="2" charset="0"/>
                  </a:rPr>
                  <a:t>(Power) Services</a:t>
                </a:r>
                <a:endParaRPr lang="en-US" sz="1600" b="1" dirty="0">
                  <a:latin typeface="+mj-lt"/>
                  <a:sym typeface="ConduitExBdITC TT" pitchFamily="2" charset="0"/>
                </a:endParaRPr>
              </a:p>
            </p:txBody>
          </p:sp>
        </p:grpSp>
        <p:sp>
          <p:nvSpPr>
            <p:cNvPr id="46" name="Oval 41"/>
            <p:cNvSpPr>
              <a:spLocks noChangeAspect="1"/>
            </p:cNvSpPr>
            <p:nvPr>
              <p:custDataLst>
                <p:tags r:id="rId27"/>
              </p:custDataLst>
            </p:nvPr>
          </p:nvSpPr>
          <p:spPr bwMode="auto">
            <a:xfrm>
              <a:off x="5589588" y="3297767"/>
              <a:ext cx="146050" cy="146050"/>
            </a:xfrm>
            <a:prstGeom prst="ellipse">
              <a:avLst/>
            </a:prstGeom>
            <a:solidFill>
              <a:srgbClr val="FD9A00"/>
            </a:solidFill>
            <a:ln w="25400">
              <a:solidFill>
                <a:srgbClr val="000000">
                  <a:alpha val="0"/>
                </a:srgb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algn="ctr"/>
              <a:endParaRPr lang="en-US">
                <a:latin typeface="Calibri" pitchFamily="34" charset="0"/>
              </a:endParaRPr>
            </a:p>
          </p:txBody>
        </p:sp>
        <p:sp>
          <p:nvSpPr>
            <p:cNvPr id="47" name="Oval 41"/>
            <p:cNvSpPr>
              <a:spLocks noChangeAspect="1"/>
            </p:cNvSpPr>
            <p:nvPr>
              <p:custDataLst>
                <p:tags r:id="rId28"/>
              </p:custDataLst>
            </p:nvPr>
          </p:nvSpPr>
          <p:spPr bwMode="auto">
            <a:xfrm>
              <a:off x="5651500" y="3475567"/>
              <a:ext cx="146050" cy="146050"/>
            </a:xfrm>
            <a:prstGeom prst="ellipse">
              <a:avLst/>
            </a:prstGeom>
            <a:solidFill>
              <a:srgbClr val="FD9A00"/>
            </a:solidFill>
            <a:ln w="25400">
              <a:solidFill>
                <a:srgbClr val="000000">
                  <a:alpha val="0"/>
                </a:srgb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algn="ctr"/>
              <a:endParaRPr lang="en-US">
                <a:latin typeface="Calibri" pitchFamily="34" charset="0"/>
              </a:endParaRPr>
            </a:p>
          </p:txBody>
        </p:sp>
        <p:sp>
          <p:nvSpPr>
            <p:cNvPr id="48" name="Oval 41"/>
            <p:cNvSpPr>
              <a:spLocks noChangeAspect="1"/>
            </p:cNvSpPr>
            <p:nvPr>
              <p:custDataLst>
                <p:tags r:id="rId29"/>
              </p:custDataLst>
            </p:nvPr>
          </p:nvSpPr>
          <p:spPr bwMode="auto">
            <a:xfrm>
              <a:off x="5751513" y="3650192"/>
              <a:ext cx="146050" cy="146050"/>
            </a:xfrm>
            <a:prstGeom prst="ellipse">
              <a:avLst/>
            </a:prstGeom>
            <a:solidFill>
              <a:srgbClr val="FD9A00"/>
            </a:solidFill>
            <a:ln w="25400">
              <a:solidFill>
                <a:srgbClr val="000000">
                  <a:alpha val="0"/>
                </a:srgb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algn="ctr"/>
              <a:endParaRPr lang="en-US">
                <a:latin typeface="Calibri" pitchFamily="34" charset="0"/>
              </a:endParaRPr>
            </a:p>
          </p:txBody>
        </p:sp>
      </p:grpSp>
      <p:sp>
        <p:nvSpPr>
          <p:cNvPr id="53" name="Rectangle 30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6554611" y="2229557"/>
            <a:ext cx="1752600" cy="301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fontAlgn="auto">
              <a:spcBef>
                <a:spcPts val="550"/>
              </a:spcBef>
              <a:spcAft>
                <a:spcPts val="0"/>
              </a:spcAft>
              <a:defRPr/>
            </a:pPr>
            <a:r>
              <a:rPr lang="en-US" sz="1600" b="1" dirty="0">
                <a:latin typeface="+mj-lt"/>
                <a:sym typeface="ConduitExBdITC TT" pitchFamily="2" charset="0"/>
              </a:rPr>
              <a:t>Bulk Energy</a:t>
            </a:r>
          </a:p>
        </p:txBody>
      </p:sp>
      <p:sp>
        <p:nvSpPr>
          <p:cNvPr id="54" name="Rectangle 31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6228644" y="2481970"/>
            <a:ext cx="2486025" cy="7302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l">
              <a:spcBef>
                <a:spcPts val="0"/>
              </a:spcBef>
            </a:pPr>
            <a:r>
              <a:rPr lang="en-US" sz="1400" i="1" dirty="0">
                <a:latin typeface="Calibri" pitchFamily="34" charset="0"/>
                <a:ea typeface="ConduitRegITC TT Italic"/>
                <a:cs typeface="ConduitRegITC TT Italic"/>
                <a:sym typeface="ConduitRegITC TT Italic"/>
              </a:rPr>
              <a:t>Renewable Energy Management</a:t>
            </a:r>
          </a:p>
          <a:p>
            <a:pPr algn="l">
              <a:spcBef>
                <a:spcPts val="0"/>
              </a:spcBef>
            </a:pPr>
            <a:r>
              <a:rPr lang="en-US" sz="1400" i="1" dirty="0">
                <a:latin typeface="Calibri" pitchFamily="34" charset="0"/>
                <a:ea typeface="ConduitRegITC TT Italic"/>
                <a:cs typeface="ConduitRegITC TT Italic"/>
                <a:sym typeface="ConduitRegITC TT Italic"/>
              </a:rPr>
              <a:t>         </a:t>
            </a:r>
            <a:r>
              <a:rPr lang="en-US" sz="1400" i="1" dirty="0" smtClean="0">
                <a:latin typeface="Calibri" pitchFamily="34" charset="0"/>
                <a:ea typeface="ConduitRegITC TT Italic"/>
                <a:cs typeface="ConduitRegITC TT Italic"/>
                <a:sym typeface="ConduitRegITC TT Italic"/>
              </a:rPr>
              <a:t>Transmission </a:t>
            </a:r>
            <a:r>
              <a:rPr lang="en-US" sz="1400" i="1" dirty="0">
                <a:latin typeface="Calibri" pitchFamily="34" charset="0"/>
                <a:ea typeface="ConduitRegITC TT Italic"/>
                <a:cs typeface="ConduitRegITC TT Italic"/>
                <a:sym typeface="ConduitRegITC TT Italic"/>
              </a:rPr>
              <a:t>&amp; Distribution</a:t>
            </a:r>
          </a:p>
          <a:p>
            <a:pPr algn="l">
              <a:spcBef>
                <a:spcPts val="0"/>
              </a:spcBef>
            </a:pPr>
            <a:r>
              <a:rPr lang="en-US" sz="1400" i="1" dirty="0" smtClean="0">
                <a:latin typeface="Calibri" pitchFamily="34" charset="0"/>
                <a:ea typeface="ConduitRegITC TT Italic"/>
                <a:cs typeface="ConduitRegITC TT Italic"/>
                <a:sym typeface="ConduitRegITC TT Italic"/>
              </a:rPr>
              <a:t>	Peak </a:t>
            </a:r>
            <a:r>
              <a:rPr lang="en-US" sz="1400" i="1" dirty="0">
                <a:latin typeface="Calibri" pitchFamily="34" charset="0"/>
                <a:ea typeface="ConduitRegITC TT Italic"/>
                <a:cs typeface="ConduitRegITC TT Italic"/>
                <a:sym typeface="ConduitRegITC TT Italic"/>
              </a:rPr>
              <a:t>Shaving</a:t>
            </a:r>
            <a:endParaRPr lang="en-US" sz="1400" dirty="0">
              <a:latin typeface="Calibri" pitchFamily="34" charset="0"/>
              <a:ea typeface="ConduitRegITC TT Italic"/>
              <a:cs typeface="ConduitRegITC TT Italic"/>
              <a:sym typeface="ConduitRegITC TT Italic"/>
            </a:endParaRPr>
          </a:p>
        </p:txBody>
      </p:sp>
      <p:sp>
        <p:nvSpPr>
          <p:cNvPr id="55" name="Oval 41"/>
          <p:cNvSpPr>
            <a:spLocks noChangeAspect="1"/>
          </p:cNvSpPr>
          <p:nvPr>
            <p:custDataLst>
              <p:tags r:id="rId21"/>
            </p:custDataLst>
          </p:nvPr>
        </p:nvSpPr>
        <p:spPr bwMode="auto">
          <a:xfrm>
            <a:off x="6205361" y="2710570"/>
            <a:ext cx="146050" cy="146050"/>
          </a:xfrm>
          <a:prstGeom prst="ellipse">
            <a:avLst/>
          </a:prstGeom>
          <a:solidFill>
            <a:srgbClr val="FD9A00"/>
          </a:solidFill>
          <a:ln w="25400">
            <a:solidFill>
              <a:srgbClr val="000000">
                <a:alpha val="0"/>
              </a:srgbClr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endParaRPr lang="en-US">
              <a:latin typeface="Calibri" pitchFamily="34" charset="0"/>
            </a:endParaRPr>
          </a:p>
        </p:txBody>
      </p:sp>
      <p:sp>
        <p:nvSpPr>
          <p:cNvPr id="56" name="Oval 41"/>
          <p:cNvSpPr>
            <a:spLocks noChangeAspect="1"/>
          </p:cNvSpPr>
          <p:nvPr>
            <p:custDataLst>
              <p:tags r:id="rId22"/>
            </p:custDataLst>
          </p:nvPr>
        </p:nvSpPr>
        <p:spPr bwMode="auto">
          <a:xfrm>
            <a:off x="6524449" y="2867732"/>
            <a:ext cx="146050" cy="146050"/>
          </a:xfrm>
          <a:prstGeom prst="ellipse">
            <a:avLst/>
          </a:prstGeom>
          <a:solidFill>
            <a:srgbClr val="FD9A00"/>
          </a:solidFill>
          <a:ln w="25400">
            <a:solidFill>
              <a:srgbClr val="000000">
                <a:alpha val="0"/>
              </a:srgbClr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endParaRPr lang="en-US">
              <a:latin typeface="Calibri" pitchFamily="34" charset="0"/>
            </a:endParaRPr>
          </a:p>
        </p:txBody>
      </p:sp>
      <p:sp>
        <p:nvSpPr>
          <p:cNvPr id="57" name="Oval 43"/>
          <p:cNvSpPr>
            <a:spLocks noChangeAspect="1"/>
          </p:cNvSpPr>
          <p:nvPr>
            <p:custDataLst>
              <p:tags r:id="rId23"/>
            </p:custDataLst>
          </p:nvPr>
        </p:nvSpPr>
        <p:spPr bwMode="auto">
          <a:xfrm>
            <a:off x="6905449" y="2986795"/>
            <a:ext cx="146050" cy="146050"/>
          </a:xfrm>
          <a:prstGeom prst="ellipse">
            <a:avLst/>
          </a:prstGeom>
          <a:solidFill>
            <a:srgbClr val="FD9A00"/>
          </a:solidFill>
          <a:ln w="25400">
            <a:solidFill>
              <a:srgbClr val="000000">
                <a:alpha val="0"/>
              </a:srgbClr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endParaRPr lang="en-US">
              <a:latin typeface="Calibri" pitchFamily="34" charset="0"/>
            </a:endParaRPr>
          </a:p>
        </p:txBody>
      </p:sp>
      <p:sp>
        <p:nvSpPr>
          <p:cNvPr id="58" name="Right Arrow 57"/>
          <p:cNvSpPr/>
          <p:nvPr>
            <p:custDataLst>
              <p:tags r:id="rId24"/>
            </p:custDataLst>
          </p:nvPr>
        </p:nvSpPr>
        <p:spPr bwMode="auto">
          <a:xfrm rot="2562577">
            <a:off x="5382553" y="2295481"/>
            <a:ext cx="948267" cy="235913"/>
          </a:xfrm>
          <a:prstGeom prst="rightArrow">
            <a:avLst/>
          </a:prstGeom>
          <a:solidFill>
            <a:schemeClr val="accent1"/>
          </a:solidFill>
          <a:ln w="12700" cap="sq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/>
        <p:txBody>
          <a:bodyPr/>
          <a:lstStyle/>
          <a:p>
            <a:r>
              <a:rPr lang="en-US" dirty="0" smtClean="0"/>
              <a:t>EPRI Grid Energy Storage Market Size</a:t>
            </a:r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0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4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60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8000"/>
                            </p:stCondLst>
                            <p:childTnLst>
                              <p:par>
                                <p:cTn id="2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2000"/>
                            </p:stCondLst>
                            <p:childTnLst>
                              <p:par>
                                <p:cTn id="6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2" dur="2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  <p:bldP spid="9" grpId="0" animBg="1"/>
      <p:bldP spid="10" grpId="0" animBg="1"/>
      <p:bldP spid="11" grpId="0" animBg="1"/>
      <p:bldP spid="12" grpId="0"/>
      <p:bldP spid="37" grpId="0" animBg="1"/>
      <p:bldP spid="38" grpId="0" animBg="1"/>
      <p:bldP spid="39" grpId="0"/>
      <p:bldP spid="40" grpId="0"/>
      <p:bldP spid="43" grpId="0"/>
      <p:bldP spid="53" grpId="0"/>
      <p:bldP spid="54" grpId="0"/>
      <p:bldP spid="55" grpId="0" animBg="1"/>
      <p:bldP spid="56" grpId="0" animBg="1"/>
      <p:bldP spid="57" grpId="0" animBg="1"/>
      <p:bldP spid="58" grpId="0" animBg="1"/>
      <p:bldP spid="58" grpId="1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123 is Well-Positioned in Grid Energy Storage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450959"/>
            <a:ext cx="5876471" cy="3752396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1750" dirty="0" smtClean="0"/>
              <a:t>A123 is the #1 producer of lithium ion batteries for the grid</a:t>
            </a:r>
          </a:p>
          <a:p>
            <a:pPr lvl="1">
              <a:lnSpc>
                <a:spcPct val="100000"/>
              </a:lnSpc>
              <a:spcBef>
                <a:spcPts val="600"/>
              </a:spcBef>
            </a:pPr>
            <a:r>
              <a:rPr lang="en-US" sz="1750" dirty="0" smtClean="0"/>
              <a:t>Approaching 100 MW installed by end of 2011</a:t>
            </a:r>
          </a:p>
          <a:p>
            <a:pPr lvl="1">
              <a:lnSpc>
                <a:spcPct val="100000"/>
              </a:lnSpc>
              <a:spcBef>
                <a:spcPts val="600"/>
              </a:spcBef>
            </a:pPr>
            <a:r>
              <a:rPr lang="en-US" sz="1750" dirty="0" smtClean="0"/>
              <a:t>AES:  &gt;500MW projects in its pipeline</a:t>
            </a:r>
          </a:p>
          <a:p>
            <a:pPr>
              <a:lnSpc>
                <a:spcPct val="100000"/>
              </a:lnSpc>
            </a:pPr>
            <a:r>
              <a:rPr lang="en-US" sz="1750" dirty="0" smtClean="0"/>
              <a:t>A123 expanding product portfolio </a:t>
            </a:r>
          </a:p>
          <a:p>
            <a:pPr lvl="1">
              <a:lnSpc>
                <a:spcPct val="100000"/>
              </a:lnSpc>
              <a:spcBef>
                <a:spcPts val="600"/>
              </a:spcBef>
            </a:pPr>
            <a:r>
              <a:rPr lang="en-US" sz="1750" dirty="0" smtClean="0"/>
              <a:t>Adding multi-hour system, expands potential applications/customers</a:t>
            </a:r>
          </a:p>
          <a:p>
            <a:pPr lvl="1">
              <a:lnSpc>
                <a:spcPct val="100000"/>
              </a:lnSpc>
              <a:spcBef>
                <a:spcPts val="600"/>
              </a:spcBef>
            </a:pPr>
            <a:r>
              <a:rPr lang="en-US" sz="1750" dirty="0" smtClean="0"/>
              <a:t>32 </a:t>
            </a:r>
            <a:r>
              <a:rPr lang="en-US" sz="1750" dirty="0" err="1" smtClean="0"/>
              <a:t>MWh</a:t>
            </a:r>
            <a:r>
              <a:rPr lang="en-US" sz="1750" dirty="0" smtClean="0"/>
              <a:t> Tehachapi project under construction with Southern California Edison</a:t>
            </a:r>
          </a:p>
          <a:p>
            <a:pPr>
              <a:spcBef>
                <a:spcPts val="0"/>
              </a:spcBef>
            </a:pPr>
            <a:endParaRPr lang="en-US" sz="1800" dirty="0"/>
          </a:p>
        </p:txBody>
      </p:sp>
      <p:pic>
        <p:nvPicPr>
          <p:cNvPr id="4" name="Picture 6"/>
          <p:cNvPicPr>
            <a:picLocks noChangeArrowheads="1"/>
          </p:cNvPicPr>
          <p:nvPr/>
        </p:nvPicPr>
        <p:blipFill>
          <a:blip r:embed="rId3" cstate="print"/>
          <a:srcRect l="24820" t="48112" r="27174"/>
          <a:stretch>
            <a:fillRect/>
          </a:stretch>
        </p:blipFill>
        <p:spPr bwMode="auto">
          <a:xfrm>
            <a:off x="886862" y="5667304"/>
            <a:ext cx="1053297" cy="5096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976908" y="5498614"/>
            <a:ext cx="1302616" cy="4654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103135" y="5994400"/>
            <a:ext cx="1050162" cy="5916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9665" name="Picture 1" descr="image001"/>
          <p:cNvPicPr>
            <a:picLocks noChangeAspect="1" noChangeArrowheads="1"/>
          </p:cNvPicPr>
          <p:nvPr/>
        </p:nvPicPr>
        <p:blipFill>
          <a:blip r:embed="rId6" cstate="print"/>
          <a:srcRect t="28491"/>
          <a:stretch>
            <a:fillRect/>
          </a:stretch>
        </p:blipFill>
        <p:spPr bwMode="auto">
          <a:xfrm>
            <a:off x="7532588" y="5531555"/>
            <a:ext cx="1050083" cy="282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9666" name="Picture 1" descr="image001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536071" y="5906313"/>
            <a:ext cx="1043116" cy="6283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87777" name="Picture 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428719" y="6044258"/>
            <a:ext cx="780170" cy="458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352655" y="2035984"/>
            <a:ext cx="2498770" cy="23011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3" name="Rounded Rectangle 12"/>
          <p:cNvSpPr/>
          <p:nvPr/>
        </p:nvSpPr>
        <p:spPr>
          <a:xfrm>
            <a:off x="5019962" y="4891320"/>
            <a:ext cx="1645920" cy="515714"/>
          </a:xfrm>
          <a:prstGeom prst="roundRect">
            <a:avLst>
              <a:gd name="adj" fmla="val 10000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prstClr val="white"/>
                </a:solidFill>
              </a:rPr>
              <a:t>Partners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2805256" y="4891320"/>
            <a:ext cx="1645920" cy="515714"/>
          </a:xfrm>
          <a:prstGeom prst="roundRect">
            <a:avLst>
              <a:gd name="adj" fmla="val 10000"/>
            </a:avLst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prstClr val="white"/>
                </a:solidFill>
              </a:rPr>
              <a:t>Utilities  </a:t>
            </a:r>
          </a:p>
        </p:txBody>
      </p:sp>
      <p:sp>
        <p:nvSpPr>
          <p:cNvPr id="15" name="Rounded Rectangle 14"/>
          <p:cNvSpPr/>
          <p:nvPr/>
        </p:nvSpPr>
        <p:spPr>
          <a:xfrm>
            <a:off x="7234669" y="4905834"/>
            <a:ext cx="1645920" cy="515714"/>
          </a:xfrm>
          <a:prstGeom prst="roundRect">
            <a:avLst>
              <a:gd name="adj" fmla="val 10000"/>
            </a:avLst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prstClr val="white"/>
                </a:solidFill>
              </a:rPr>
              <a:t>Hardware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90550" y="4891320"/>
            <a:ext cx="1645920" cy="515714"/>
          </a:xfrm>
          <a:prstGeom prst="roundRect">
            <a:avLst>
              <a:gd name="adj" fmla="val 10000"/>
            </a:avLst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prstClr val="white"/>
                </a:solidFill>
              </a:rPr>
              <a:t>Independent Power Producers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0" cstate="print"/>
          <a:srcRect l="14308" t="14178" r="14803" b="14099"/>
          <a:stretch>
            <a:fillRect/>
          </a:stretch>
        </p:blipFill>
        <p:spPr bwMode="auto">
          <a:xfrm>
            <a:off x="5545292" y="5461737"/>
            <a:ext cx="550707" cy="557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 Placeholder 3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8151813" y="6557963"/>
            <a:ext cx="803275" cy="223837"/>
          </a:xfrm>
        </p:spPr>
        <p:txBody>
          <a:bodyPr/>
          <a:lstStyle/>
          <a:p>
            <a:fld id="{1E84E7EE-6E84-4A2F-9C63-5C0BA41A9818}" type="slidenum">
              <a:rPr lang="en-US" smtClean="0"/>
              <a:pPr/>
              <a:t>7</a:t>
            </a:fld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1" y="1838325"/>
            <a:ext cx="6436077" cy="4333875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 smtClean="0"/>
              <a:t>November 17, 2010, 11:46 PM EST </a:t>
            </a:r>
            <a:br>
              <a:rPr lang="en-US" sz="1600" dirty="0" smtClean="0"/>
            </a:br>
            <a:r>
              <a:rPr lang="en-US" sz="1600" dirty="0" smtClean="0"/>
              <a:t>By Mariko </a:t>
            </a:r>
            <a:r>
              <a:rPr lang="en-US" sz="1600" dirty="0" err="1" smtClean="0"/>
              <a:t>Yasu</a:t>
            </a:r>
            <a:r>
              <a:rPr lang="en-US" sz="1600" dirty="0" smtClean="0"/>
              <a:t> </a:t>
            </a:r>
          </a:p>
          <a:p>
            <a:pPr marL="0" indent="0">
              <a:buNone/>
            </a:pPr>
            <a:r>
              <a:rPr lang="en-US" sz="1600" dirty="0" smtClean="0"/>
              <a:t>Nov. 18 (Bloomberg) -- Sanyo Electric Co. expects the global lithium-ion battery market will more than triple to 5 trillion yen ($60 billion) in 10 years, driven by demand from power companies and electric cars.</a:t>
            </a:r>
          </a:p>
          <a:p>
            <a:pPr marL="0" indent="0">
              <a:buNone/>
            </a:pPr>
            <a:r>
              <a:rPr lang="en-US" sz="1600" dirty="0" smtClean="0"/>
              <a:t>“Power companies in the U.S. are likely to install more energy storage systems to boost demand for rechargeable batteries,” Mitsuru </a:t>
            </a:r>
            <a:r>
              <a:rPr lang="en-US" sz="1600" dirty="0" err="1" smtClean="0"/>
              <a:t>Honma</a:t>
            </a:r>
            <a:r>
              <a:rPr lang="en-US" sz="1600" dirty="0" smtClean="0"/>
              <a:t>, head of Sanyo’s energy business, told reporters in Tokyo today.</a:t>
            </a:r>
          </a:p>
          <a:p>
            <a:pPr marL="0" indent="0">
              <a:buNone/>
            </a:pPr>
            <a:r>
              <a:rPr lang="en-US" sz="1600" dirty="0" smtClean="0"/>
              <a:t>Batteries for large-scale power storage systems will grow to at least to 2 trillion yen globally, while those used in environment-friendly cars will probably total 1.5 trillion yen, </a:t>
            </a:r>
            <a:r>
              <a:rPr lang="en-US" sz="1600" dirty="0" err="1" smtClean="0"/>
              <a:t>Honma</a:t>
            </a:r>
            <a:r>
              <a:rPr lang="en-US" sz="1600" dirty="0" smtClean="0"/>
              <a:t> said. Consumer electronics will account for the remaining 1.5 trillion yen, he said.</a:t>
            </a:r>
          </a:p>
          <a:p>
            <a:pPr marL="0" indent="0">
              <a:buNone/>
            </a:pPr>
            <a:r>
              <a:rPr lang="en-US" sz="1600" dirty="0" smtClean="0"/>
              <a:t>Global shipments of the power cells will probably total 1.5 trillion yen in the year ending March 2011, </a:t>
            </a:r>
            <a:r>
              <a:rPr lang="en-US" sz="1600" dirty="0" err="1" smtClean="0"/>
              <a:t>Honma</a:t>
            </a:r>
            <a:r>
              <a:rPr lang="en-US" sz="1600" dirty="0" smtClean="0"/>
              <a:t> said.</a:t>
            </a:r>
          </a:p>
          <a:p>
            <a:pPr>
              <a:buNone/>
            </a:pPr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84E7EE-6E84-4A2F-9C63-5C0BA41A9818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1"/>
          </p:nvPr>
        </p:nvSpPr>
        <p:spPr/>
        <p:txBody>
          <a:bodyPr/>
          <a:lstStyle/>
          <a:p>
            <a:r>
              <a:rPr lang="en-US" sz="1800" dirty="0" smtClean="0"/>
              <a:t>http://www.businessweek.com/news/2010-11-17/sanyo-says-lithium-ion-battery-market-may-triple-in-10-years.html</a:t>
            </a:r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anyo Says Lithium-ion Battery Market May Triple in 10 Years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 bwMode="auto">
          <a:xfrm>
            <a:off x="541867" y="4188178"/>
            <a:ext cx="6039555" cy="959555"/>
          </a:xfrm>
          <a:prstGeom prst="rect">
            <a:avLst/>
          </a:prstGeom>
          <a:noFill/>
          <a:ln w="12700" cap="sq" algn="ctr">
            <a:solidFill>
              <a:srgbClr val="FF0000"/>
            </a:solidFill>
            <a:prstDash val="sysDash"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 bwMode="auto">
          <a:xfrm>
            <a:off x="6746688" y="4149101"/>
            <a:ext cx="2397312" cy="840230"/>
          </a:xfrm>
          <a:prstGeom prst="rect">
            <a:avLst/>
          </a:prstGeom>
          <a:noFill/>
          <a:ln w="12700" cap="sq" algn="ctr">
            <a:noFill/>
            <a:miter lim="800000"/>
            <a:headEnd/>
            <a:tailEnd/>
          </a:ln>
          <a:effectLst/>
        </p:spPr>
        <p:txBody>
          <a:bodyPr wrap="square" rtlCol="0">
            <a:spAutoFit/>
          </a:bodyPr>
          <a:lstStyle/>
          <a:p>
            <a:pPr algn="l"/>
            <a:r>
              <a:rPr lang="en-US" b="1" dirty="0" smtClean="0">
                <a:solidFill>
                  <a:srgbClr val="FF0000"/>
                </a:solidFill>
                <a:latin typeface="Calibri" pitchFamily="34" charset="0"/>
              </a:rPr>
              <a:t>Sanyo predicts grid energy storage will exceed transportation</a:t>
            </a:r>
            <a:endParaRPr lang="en-US" b="1" dirty="0">
              <a:solidFill>
                <a:srgbClr val="FF0000"/>
              </a:solidFill>
              <a:latin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nergy storage is the key</a:t>
            </a:r>
            <a:endParaRPr lang="en-US" dirty="0"/>
          </a:p>
        </p:txBody>
      </p:sp>
      <p:pic>
        <p:nvPicPr>
          <p:cNvPr id="8" name="Content Placeholder 7" descr="Fotolia_11607329_XS.jpg"/>
          <p:cNvPicPr>
            <a:picLocks noGrp="1" noChangeAspect="1"/>
          </p:cNvPicPr>
          <p:nvPr>
            <p:ph idx="1"/>
          </p:nvPr>
        </p:nvPicPr>
        <p:blipFill>
          <a:blip r:embed="rId3" cstate="print"/>
          <a:srcRect l="2063" t="2093" r="2063" b="2093"/>
          <a:stretch>
            <a:fillRect/>
          </a:stretch>
        </p:blipFill>
        <p:spPr>
          <a:xfrm rot="18218638">
            <a:off x="2727123" y="1763354"/>
            <a:ext cx="3958716" cy="3899560"/>
          </a:xfrm>
        </p:spPr>
      </p:pic>
      <p:sp>
        <p:nvSpPr>
          <p:cNvPr id="13" name="TextBox 12"/>
          <p:cNvSpPr txBox="1"/>
          <p:nvPr/>
        </p:nvSpPr>
        <p:spPr>
          <a:xfrm>
            <a:off x="4267200" y="4953000"/>
            <a:ext cx="1127103" cy="590931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>
                <a:solidFill>
                  <a:prstClr val="white"/>
                </a:solidFill>
                <a:latin typeface="Calibri"/>
              </a:rPr>
              <a:t>Battery</a:t>
            </a:r>
          </a:p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>
                <a:solidFill>
                  <a:prstClr val="white"/>
                </a:solidFill>
                <a:latin typeface="Calibri"/>
              </a:rPr>
              <a:t> Industry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562600" y="2819400"/>
            <a:ext cx="1127103" cy="590931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 smtClean="0">
                <a:solidFill>
                  <a:prstClr val="white"/>
                </a:solidFill>
                <a:latin typeface="Calibri"/>
              </a:rPr>
              <a:t>Auto</a:t>
            </a:r>
            <a:endParaRPr lang="en-US" sz="2000" b="1" dirty="0">
              <a:solidFill>
                <a:prstClr val="white"/>
              </a:solidFill>
              <a:latin typeface="Calibri"/>
            </a:endParaRPr>
          </a:p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>
                <a:solidFill>
                  <a:prstClr val="white"/>
                </a:solidFill>
                <a:latin typeface="Calibri"/>
              </a:rPr>
              <a:t> Industry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200400" y="2819400"/>
            <a:ext cx="1127103" cy="590931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 smtClean="0">
                <a:solidFill>
                  <a:prstClr val="white"/>
                </a:solidFill>
                <a:latin typeface="Calibri"/>
              </a:rPr>
              <a:t>Power</a:t>
            </a:r>
            <a:endParaRPr lang="en-US" sz="2000" b="1" dirty="0">
              <a:solidFill>
                <a:prstClr val="white"/>
              </a:solidFill>
              <a:latin typeface="Calibri"/>
            </a:endParaRPr>
          </a:p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>
                <a:solidFill>
                  <a:prstClr val="white"/>
                </a:solidFill>
                <a:latin typeface="Calibri"/>
              </a:rPr>
              <a:t> Industry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181600" y="4114800"/>
            <a:ext cx="623889" cy="3447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 smtClean="0">
                <a:solidFill>
                  <a:srgbClr val="000000"/>
                </a:solidFill>
                <a:latin typeface="Calibri"/>
              </a:rPr>
              <a:t>HEV</a:t>
            </a:r>
            <a:endParaRPr lang="en-US" sz="2000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495800" y="3505200"/>
            <a:ext cx="760144" cy="590931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 smtClean="0">
                <a:solidFill>
                  <a:srgbClr val="000000"/>
                </a:solidFill>
                <a:latin typeface="Calibri"/>
              </a:rPr>
              <a:t>EV</a:t>
            </a:r>
          </a:p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 smtClean="0">
                <a:solidFill>
                  <a:srgbClr val="000000"/>
                </a:solidFill>
                <a:latin typeface="Calibri"/>
              </a:rPr>
              <a:t>PHEV</a:t>
            </a:r>
            <a:endParaRPr lang="en-US" sz="2000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705430" y="3790242"/>
            <a:ext cx="991298" cy="83715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 smtClean="0">
                <a:solidFill>
                  <a:srgbClr val="000000"/>
                </a:solidFill>
                <a:latin typeface="Calibri"/>
              </a:rPr>
              <a:t>Grid</a:t>
            </a:r>
            <a:br>
              <a:rPr lang="en-US" sz="2000" b="1" dirty="0" smtClean="0">
                <a:solidFill>
                  <a:srgbClr val="000000"/>
                </a:solidFill>
                <a:latin typeface="Calibri"/>
              </a:rPr>
            </a:br>
            <a:r>
              <a:rPr lang="en-US" sz="2000" b="1" dirty="0" smtClean="0">
                <a:solidFill>
                  <a:srgbClr val="000000"/>
                </a:solidFill>
                <a:latin typeface="Calibri"/>
              </a:rPr>
              <a:t>Energy</a:t>
            </a:r>
            <a:br>
              <a:rPr lang="en-US" sz="2000" b="1" dirty="0" smtClean="0">
                <a:solidFill>
                  <a:srgbClr val="000000"/>
                </a:solidFill>
                <a:latin typeface="Calibri"/>
              </a:rPr>
            </a:br>
            <a:r>
              <a:rPr lang="en-US" sz="2000" b="1" dirty="0" smtClean="0">
                <a:solidFill>
                  <a:srgbClr val="000000"/>
                </a:solidFill>
                <a:latin typeface="Calibri"/>
              </a:rPr>
              <a:t>Storage</a:t>
            </a:r>
            <a:endParaRPr lang="en-US" sz="2000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1" name="Content Placeholder 1"/>
          <p:cNvSpPr txBox="1">
            <a:spLocks/>
          </p:cNvSpPr>
          <p:nvPr/>
        </p:nvSpPr>
        <p:spPr bwMode="auto">
          <a:xfrm>
            <a:off x="457200" y="13716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indent="-342900" algn="l">
              <a:spcBef>
                <a:spcPct val="0"/>
              </a:spcBef>
              <a:spcAft>
                <a:spcPts val="1200"/>
              </a:spcAft>
              <a:buFont typeface="Arial" pitchFamily="34" charset="0"/>
              <a:buChar char="•"/>
              <a:defRPr/>
            </a:pPr>
            <a:r>
              <a:rPr lang="en-US" sz="2800" dirty="0" smtClean="0">
                <a:solidFill>
                  <a:srgbClr val="000000"/>
                </a:solidFill>
                <a:latin typeface="Calibri" pitchFamily="34" charset="0"/>
              </a:rPr>
              <a:t>Advances in battery technology are enabling new applications</a:t>
            </a:r>
          </a:p>
        </p:txBody>
      </p:sp>
      <p:sp>
        <p:nvSpPr>
          <p:cNvPr id="22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151813" y="6557963"/>
            <a:ext cx="803275" cy="223837"/>
          </a:xfrm>
        </p:spPr>
        <p:txBody>
          <a:bodyPr/>
          <a:lstStyle/>
          <a:p>
            <a:fld id="{1E84E7EE-6E84-4A2F-9C63-5C0BA41A9818}" type="slidenum">
              <a:rPr lang="en-US" smtClean="0">
                <a:solidFill>
                  <a:srgbClr val="000000"/>
                </a:solidFill>
              </a:rPr>
              <a:pPr/>
              <a:t>9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10"/>
  <p:tag name="MMPROD_UIDATA" val="&lt;database version=&quot;7.0&quot;&gt;&lt;object type=&quot;1&quot; unique_id=&quot;10001&quot;&gt;&lt;object type=&quot;8&quot; unique_id=&quot;10222&quot;&gt;&lt;/object&gt;&lt;object type=&quot;2&quot; unique_id=&quot;10223&quot;&gt;&lt;object type=&quot;3&quot; unique_id=&quot;10224&quot;&gt;&lt;property id=&quot;20148&quot; value=&quot;5&quot;/&gt;&lt;property id=&quot;20300&quot; value=&quot;Slide 1 - &amp;quot;Presentation Title Arial Bold 32pt&amp;quot;&quot;/&gt;&lt;property id=&quot;20307&quot; value=&quot;353&quot;/&gt;&lt;/object&gt;&lt;object type=&quot;3&quot; unique_id=&quot;10225&quot;&gt;&lt;property id=&quot;20148&quot; value=&quot;5&quot;/&gt;&lt;property id=&quot;20300&quot; value=&quot;Slide 4 - &amp;quot;Section Divider 32pt Bold&amp;quot;&quot;/&gt;&lt;property id=&quot;20307&quot; value=&quot;462&quot;/&gt;&lt;/object&gt;&lt;object type=&quot;3&quot; unique_id=&quot;10226&quot;&gt;&lt;property id=&quot;20148&quot; value=&quot;5&quot;/&gt;&lt;property id=&quot;20300&quot; value=&quot;Slide 5 - &amp;quot;Title and Content Layout: &amp;#x0D;&amp;#x0A;Slide Title Arial 32 pt Bold&amp;quot;&quot;/&gt;&lt;property id=&quot;20307&quot; value=&quot;454&quot;/&gt;&lt;/object&gt;&lt;object type=&quot;3&quot; unique_id=&quot;10227&quot;&gt;&lt;property id=&quot;20148&quot; value=&quot;5&quot;/&gt;&lt;property id=&quot;20300&quot; value=&quot;Slide 3 - &amp;quot;Master Layouts: Footer and Date&amp;quot;&quot;/&gt;&lt;property id=&quot;20307&quot; value=&quot;459&quot;/&gt;&lt;/object&gt;&lt;object type=&quot;3&quot; unique_id=&quot;10229&quot;&gt;&lt;property id=&quot;20148&quot; value=&quot;5&quot;/&gt;&lt;property id=&quot;20300&quot; value=&quot;Slide 8 - &amp;quot;Default Settings – Guidelines&amp;quot;&quot;/&gt;&lt;property id=&quot;20307&quot; value=&quot;456&quot;/&gt;&lt;/object&gt;&lt;object type=&quot;3&quot; unique_id=&quot;10230&quot;&gt;&lt;property id=&quot;20148&quot; value=&quot;5&quot;/&gt;&lt;property id=&quot;20300&quot; value=&quot;Slide 9 - &amp;quot;Auto Default Settings&amp;quot;&quot;/&gt;&lt;property id=&quot;20307&quot; value=&quot;460&quot;/&gt;&lt;/object&gt;&lt;object type=&quot;3&quot; unique_id=&quot;10233&quot;&gt;&lt;property id=&quot;20148&quot; value=&quot;5&quot;/&gt;&lt;property id=&quot;20300&quot; value=&quot;Slide 14 - &amp;quot;Sample Pie Chart&amp;quot;&quot;/&gt;&lt;property id=&quot;20307&quot; value=&quot;465&quot;/&gt;&lt;/object&gt;&lt;object type=&quot;3&quot; unique_id=&quot;10318&quot;&gt;&lt;property id=&quot;20148&quot; value=&quot;5&quot;/&gt;&lt;property id=&quot;20300&quot; value=&quot;Slide 7 - &amp;quot;Color Scheme&amp;quot;&quot;/&gt;&lt;property id=&quot;20307&quot; value=&quot;466&quot;/&gt;&lt;/object&gt;&lt;object type=&quot;3&quot; unique_id=&quot;10423&quot;&gt;&lt;property id=&quot;20148&quot; value=&quot;5&quot;/&gt;&lt;property id=&quot;20300&quot; value=&quot;Slide 10 - &amp;quot;Sample Column Chart&amp;quot;&quot;/&gt;&lt;property id=&quot;20307&quot; value=&quot;467&quot;/&gt;&lt;/object&gt;&lt;object type=&quot;3&quot; unique_id=&quot;10424&quot;&gt;&lt;property id=&quot;20148&quot; value=&quot;5&quot;/&gt;&lt;property id=&quot;20300&quot; value=&quot;Slide 12 - &amp;quot;Sample Line Chart&amp;quot;&quot;/&gt;&lt;property id=&quot;20307&quot; value=&quot;468&quot;/&gt;&lt;/object&gt;&lt;object type=&quot;3&quot; unique_id=&quot;22526&quot;&gt;&lt;property id=&quot;20148&quot; value=&quot;5&quot;/&gt;&lt;property id=&quot;20300&quot; value=&quot;Slide 2 - &amp;quot;Important PowerPoint 2007 changes&amp;#x0D;&amp;#x0A;&amp;quot;&quot;/&gt;&lt;property id=&quot;20307&quot; value=&quot;474&quot;/&gt;&lt;/object&gt;&lt;object type=&quot;3&quot; unique_id=&quot;22527&quot;&gt;&lt;property id=&quot;20148&quot; value=&quot;5&quot;/&gt;&lt;property id=&quot;20300&quot; value=&quot;Slide 6 - &amp;quot;Two Content Layout: &amp;#x0D;&amp;#x0A;Slide Title Arial 32 pt Bold&amp;quot;&quot;/&gt;&lt;property id=&quot;20307&quot; value=&quot;471&quot;/&gt;&lt;/object&gt;&lt;object type=&quot;3&quot; unique_id=&quot;22528&quot;&gt;&lt;property id=&quot;20148&quot; value=&quot;5&quot;/&gt;&lt;property id=&quot;20300&quot; value=&quot;Slide 11 - &amp;quot;Sample Column Chart: &amp;#x0D;&amp;#x0A;Two Content Layout&amp;quot;&quot;/&gt;&lt;property id=&quot;20307&quot; value=&quot;470&quot;/&gt;&lt;/object&gt;&lt;object type=&quot;3&quot; unique_id=&quot;22529&quot;&gt;&lt;property id=&quot;20148&quot; value=&quot;5&quot;/&gt;&lt;property id=&quot;20300&quot; value=&quot;Slide 13 - &amp;quot;Sample Line Chart:&amp;#x0D;&amp;#x0A;Two Content Layout&amp;quot;&quot;/&gt;&lt;property id=&quot;20307&quot; value=&quot;472&quot;/&gt;&lt;/object&gt;&lt;object type=&quot;3&quot; unique_id=&quot;22530&quot;&gt;&lt;property id=&quot;20148&quot; value=&quot;5&quot;/&gt;&lt;property id=&quot;20300&quot; value=&quot;Slide 15 - &amp;quot;Sample Pie Chart:&amp;#x0D;&amp;#x0A;Two Content Layout&amp;quot;&quot;/&gt;&lt;property id=&quot;20307&quot; value=&quot;473&quot;/&gt;&lt;/object&gt;&lt;/object&gt;&lt;/object&gt;&lt;/database&gt;"/>
  <p:tag name="SECTOMILLISECCONVERTED" val="1"/>
  <p:tag name="THINKCELLUNDODONOTDELETE" val="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eBQm1py0aqHD60._jh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3WB2xpw3EGyvzjVSsFKq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WV6fthHY0meKFbJQ9p9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Y641H6nnUKJ0x3mIo0o3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3OkcQP4UOvhmBKPKFnp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UfGtiBuUeTzagjNxT10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pDjeAJ1U.l6kyxT4i9O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ugtjtIS0eQMAEvxICoh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5IFc4amp0i0MkqzDeUNd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BvuyVrQkm0SRuwIdGL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o6bJ3qy0iHF94NtjQLH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DmtC3OXkGfHpMIWXMIH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6.TyD94HkSJn0K9eNyUl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uCEJQ77Ea77N2eMuFE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hYdtWTKUe.sP.53cZei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xsaqOoEkeZFIAuwEd6Y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fzcVsTpkKl.hlvW.jSa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DnnZC16USTsOPZ.9npl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0tcOfWFDkCHjWHp0Encb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8uBZ84aHk6aeQRlrG6CL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yJBWFi_UqQIHVNHlLdq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FnUZPtrkG1eykv9vkOP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o6bJ3qy0iHF94NtjQLH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CeFp1zQ0C.R1Nshz6ji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7BFtQ6sEGtTR25BDCA3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Ly51fds0.AiaOHOrcAV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GHXl9ThDEyFYOw.rAXf1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VdeCJ_uEOBJDIWld.zU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NfQcqFke.TLTUxJObC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J5qcLWk.h0fIiwihfu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j1_4qvtkWi24YBpfIZC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Wjyin5MEe6v_N56k48S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WVdQwmDEGwQL1bParUh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CEMGVUV0OD8ZV37HFpv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J7MHJ7CE2oU2M3udbCMw"/>
</p:tagLst>
</file>

<file path=ppt/theme/theme1.xml><?xml version="1.0" encoding="utf-8"?>
<a:theme xmlns:a="http://schemas.openxmlformats.org/drawingml/2006/main" name="blank">
  <a:themeElements>
    <a:clrScheme name="A123">
      <a:dk1>
        <a:srgbClr val="000000"/>
      </a:dk1>
      <a:lt1>
        <a:sysClr val="window" lastClr="FFFFFF"/>
      </a:lt1>
      <a:dk2>
        <a:srgbClr val="535353"/>
      </a:dk2>
      <a:lt2>
        <a:srgbClr val="DCDCDC"/>
      </a:lt2>
      <a:accent1>
        <a:srgbClr val="EE9100"/>
      </a:accent1>
      <a:accent2>
        <a:srgbClr val="89B426"/>
      </a:accent2>
      <a:accent3>
        <a:srgbClr val="3A88D0"/>
      </a:accent3>
      <a:accent4>
        <a:srgbClr val="A5A5A5"/>
      </a:accent4>
      <a:accent5>
        <a:srgbClr val="535353"/>
      </a:accent5>
      <a:accent6>
        <a:srgbClr val="205688"/>
      </a:accent6>
      <a:hlink>
        <a:srgbClr val="3A88D0"/>
      </a:hlink>
      <a:folHlink>
        <a:srgbClr val="A5A5A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sq" algn="ctr">
          <a:solidFill>
            <a:schemeClr val="tx1"/>
          </a:solidFill>
          <a:miter lim="800000"/>
          <a:headEnd/>
          <a:tailEnd/>
        </a:ln>
        <a:effectLst/>
      </a:spPr>
      <a:bodyPr wrap="none" anchor="ctr"/>
      <a:lstStyle>
        <a:defPPr>
          <a:defRPr/>
        </a:defPPr>
      </a:lstStyle>
    </a:spDef>
    <a:lnDef>
      <a:spPr bwMode="auto">
        <a:solidFill>
          <a:schemeClr val="accent2"/>
        </a:solidFill>
        <a:ln w="12700" cap="sq" cmpd="sng" algn="ctr">
          <a:solidFill>
            <a:schemeClr val="accent4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 bwMode="auto">
        <a:noFill/>
        <a:ln w="12700" cap="sq" algn="ctr">
          <a:noFill/>
          <a:miter lim="800000"/>
          <a:headEnd/>
          <a:tailEnd/>
        </a:ln>
        <a:effectLst/>
      </a:spPr>
      <a:bodyPr>
        <a:spAutoFit/>
      </a:bodyPr>
      <a:lstStyle>
        <a:defPPr>
          <a:defRPr b="1" dirty="0" err="1">
            <a:solidFill>
              <a:srgbClr val="000000"/>
            </a:solidFill>
            <a:latin typeface="Calibri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A123 Theme">
  <a:themeElements>
    <a:clrScheme name="A123">
      <a:dk1>
        <a:srgbClr val="000000"/>
      </a:dk1>
      <a:lt1>
        <a:sysClr val="window" lastClr="FFFFFF"/>
      </a:lt1>
      <a:dk2>
        <a:srgbClr val="535353"/>
      </a:dk2>
      <a:lt2>
        <a:srgbClr val="DCDCDC"/>
      </a:lt2>
      <a:accent1>
        <a:srgbClr val="EE9100"/>
      </a:accent1>
      <a:accent2>
        <a:srgbClr val="89B426"/>
      </a:accent2>
      <a:accent3>
        <a:srgbClr val="3A88D0"/>
      </a:accent3>
      <a:accent4>
        <a:srgbClr val="A5A5A5"/>
      </a:accent4>
      <a:accent5>
        <a:srgbClr val="535353"/>
      </a:accent5>
      <a:accent6>
        <a:srgbClr val="205688"/>
      </a:accent6>
      <a:hlink>
        <a:srgbClr val="3A88D0"/>
      </a:hlink>
      <a:folHlink>
        <a:srgbClr val="A5A5A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sq" algn="ctr">
          <a:solidFill>
            <a:schemeClr val="tx1"/>
          </a:solidFill>
          <a:miter lim="800000"/>
          <a:headEnd/>
          <a:tailEnd/>
        </a:ln>
        <a:effectLst/>
      </a:spPr>
      <a:bodyPr wrap="none" anchor="ctr"/>
      <a:lstStyle>
        <a:defPPr>
          <a:defRPr/>
        </a:defPPr>
      </a:lstStyle>
    </a:spDef>
    <a:lnDef>
      <a:spPr bwMode="auto">
        <a:solidFill>
          <a:schemeClr val="accent2"/>
        </a:solidFill>
        <a:ln w="12700" cap="sq" cmpd="sng" algn="ctr">
          <a:solidFill>
            <a:schemeClr val="accent4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 bwMode="auto">
        <a:noFill/>
        <a:ln w="12700" cap="sq" algn="ctr">
          <a:noFill/>
          <a:miter lim="800000"/>
          <a:headEnd/>
          <a:tailEnd/>
        </a:ln>
        <a:effectLst/>
      </a:spPr>
      <a:bodyPr>
        <a:spAutoFit/>
      </a:bodyPr>
      <a:lstStyle>
        <a:defPPr>
          <a:defRPr b="1" dirty="0" err="1">
            <a:solidFill>
              <a:srgbClr val="000000"/>
            </a:solidFill>
            <a:latin typeface="Calibri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blank">
  <a:themeElements>
    <a:clrScheme name="A123">
      <a:dk1>
        <a:srgbClr val="000000"/>
      </a:dk1>
      <a:lt1>
        <a:sysClr val="window" lastClr="FFFFFF"/>
      </a:lt1>
      <a:dk2>
        <a:srgbClr val="535353"/>
      </a:dk2>
      <a:lt2>
        <a:srgbClr val="DCDCDC"/>
      </a:lt2>
      <a:accent1>
        <a:srgbClr val="EE9100"/>
      </a:accent1>
      <a:accent2>
        <a:srgbClr val="89B426"/>
      </a:accent2>
      <a:accent3>
        <a:srgbClr val="3A88D0"/>
      </a:accent3>
      <a:accent4>
        <a:srgbClr val="A5A5A5"/>
      </a:accent4>
      <a:accent5>
        <a:srgbClr val="535353"/>
      </a:accent5>
      <a:accent6>
        <a:srgbClr val="205688"/>
      </a:accent6>
      <a:hlink>
        <a:srgbClr val="3A88D0"/>
      </a:hlink>
      <a:folHlink>
        <a:srgbClr val="A5A5A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sq" algn="ctr">
          <a:solidFill>
            <a:schemeClr val="tx1"/>
          </a:solidFill>
          <a:miter lim="800000"/>
          <a:headEnd/>
          <a:tailEnd/>
        </a:ln>
        <a:effectLst/>
      </a:spPr>
      <a:bodyPr wrap="none" anchor="ctr"/>
      <a:lstStyle>
        <a:defPPr>
          <a:defRPr/>
        </a:defPPr>
      </a:lstStyle>
    </a:spDef>
    <a:lnDef>
      <a:spPr bwMode="auto">
        <a:solidFill>
          <a:schemeClr val="accent2"/>
        </a:solidFill>
        <a:ln w="12700" cap="sq" cmpd="sng" algn="ctr">
          <a:solidFill>
            <a:schemeClr val="accent4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 bwMode="auto">
        <a:noFill/>
        <a:ln w="12700" cap="sq" algn="ctr">
          <a:noFill/>
          <a:miter lim="800000"/>
          <a:headEnd/>
          <a:tailEnd/>
        </a:ln>
        <a:effectLst/>
      </a:spPr>
      <a:bodyPr>
        <a:spAutoFit/>
      </a:bodyPr>
      <a:lstStyle>
        <a:defPPr>
          <a:defRPr b="1" dirty="0" err="1">
            <a:solidFill>
              <a:srgbClr val="000000"/>
            </a:solidFill>
            <a:latin typeface="Calibri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2_blank">
  <a:themeElements>
    <a:clrScheme name="A123">
      <a:dk1>
        <a:srgbClr val="000000"/>
      </a:dk1>
      <a:lt1>
        <a:sysClr val="window" lastClr="FFFFFF"/>
      </a:lt1>
      <a:dk2>
        <a:srgbClr val="535353"/>
      </a:dk2>
      <a:lt2>
        <a:srgbClr val="DCDCDC"/>
      </a:lt2>
      <a:accent1>
        <a:srgbClr val="EE9100"/>
      </a:accent1>
      <a:accent2>
        <a:srgbClr val="89B426"/>
      </a:accent2>
      <a:accent3>
        <a:srgbClr val="3A88D0"/>
      </a:accent3>
      <a:accent4>
        <a:srgbClr val="A5A5A5"/>
      </a:accent4>
      <a:accent5>
        <a:srgbClr val="535353"/>
      </a:accent5>
      <a:accent6>
        <a:srgbClr val="205688"/>
      </a:accent6>
      <a:hlink>
        <a:srgbClr val="3A88D0"/>
      </a:hlink>
      <a:folHlink>
        <a:srgbClr val="A5A5A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sq" algn="ctr">
          <a:solidFill>
            <a:schemeClr val="tx1"/>
          </a:solidFill>
          <a:miter lim="800000"/>
          <a:headEnd/>
          <a:tailEnd/>
        </a:ln>
        <a:effectLst/>
      </a:spPr>
      <a:bodyPr wrap="none" anchor="ctr"/>
      <a:lstStyle>
        <a:defPPr>
          <a:defRPr/>
        </a:defPPr>
      </a:lstStyle>
    </a:spDef>
    <a:lnDef>
      <a:spPr bwMode="auto">
        <a:solidFill>
          <a:schemeClr val="accent2"/>
        </a:solidFill>
        <a:ln w="12700" cap="sq" cmpd="sng" algn="ctr">
          <a:solidFill>
            <a:schemeClr val="accent4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 bwMode="auto">
        <a:noFill/>
        <a:ln w="12700" cap="sq" algn="ctr">
          <a:noFill/>
          <a:miter lim="800000"/>
          <a:headEnd/>
          <a:tailEnd/>
        </a:ln>
        <a:effectLst/>
      </a:spPr>
      <a:bodyPr>
        <a:spAutoFit/>
      </a:bodyPr>
      <a:lstStyle>
        <a:defPPr>
          <a:defRPr b="1" dirty="0" err="1">
            <a:solidFill>
              <a:srgbClr val="000000"/>
            </a:solidFill>
            <a:latin typeface="Calibri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04</TotalTime>
  <Words>269</Words>
  <Application>Microsoft Office PowerPoint</Application>
  <PresentationFormat>On-screen Show (4:3)</PresentationFormat>
  <Paragraphs>96</Paragraphs>
  <Slides>11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6" baseType="lpstr">
      <vt:lpstr>blank</vt:lpstr>
      <vt:lpstr>A123 Theme</vt:lpstr>
      <vt:lpstr>1_blank</vt:lpstr>
      <vt:lpstr>2_blank</vt:lpstr>
      <vt:lpstr>think-cell Slide</vt:lpstr>
      <vt:lpstr>Grid Energy Storage  New England Electricity Restructuring Roundtable</vt:lpstr>
      <vt:lpstr>Sandia Energy Storage Report</vt:lpstr>
      <vt:lpstr>Total USA Storage Market Potential = &gt;$22B/year</vt:lpstr>
      <vt:lpstr>Requirements for Utility Applications</vt:lpstr>
      <vt:lpstr>Energy Storage Technology Comparison</vt:lpstr>
      <vt:lpstr>EPRI Grid Energy Storage Market Size</vt:lpstr>
      <vt:lpstr>A123 is Well-Positioned in Grid Energy Storage</vt:lpstr>
      <vt:lpstr>Sanyo Says Lithium-ion Battery Market May Triple in 10 Years</vt:lpstr>
      <vt:lpstr>Energy storage is the key</vt:lpstr>
      <vt:lpstr>Energy Ecosystem</vt:lpstr>
      <vt:lpstr>Synergies Between Grid and Transportation</vt:lpstr>
    </vt:vector>
  </TitlesOfParts>
  <Company>A123Systems, Inc.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w England Electricity Restructuring Roundtable</dc:title>
  <dc:creator>Chu, Andy</dc:creator>
  <cp:lastModifiedBy>Chu, Andy</cp:lastModifiedBy>
  <cp:revision>5</cp:revision>
  <cp:lastPrinted>2002-03-19T21:05:02Z</cp:lastPrinted>
  <dcterms:created xsi:type="dcterms:W3CDTF">2011-04-12T13:08:13Z</dcterms:created>
  <dcterms:modified xsi:type="dcterms:W3CDTF">2011-04-12T18:34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3" name="_NewReviewCycle">
    <vt:lpwstr/>
  </property>
</Properties>
</file>